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8.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9.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0.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Ex1.xml" ContentType="application/vnd.ms-office.chartex+xml"/>
  <Override PartName="/ppt/charts/style7.xml" ContentType="application/vnd.ms-office.chartstyle+xml"/>
  <Override PartName="/ppt/charts/colors7.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10.xml" ContentType="application/vnd.openxmlformats-officedocument.presentationml.notesSlide+xml"/>
  <Override PartName="/ppt/tags/tag268.xml" ContentType="application/vnd.openxmlformats-officedocument.presentationml.tags+xml"/>
  <Override PartName="/ppt/notesSlides/notesSlide11.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2.xml" ContentType="application/vnd.openxmlformats-officedocument.drawingml.chartshapes+xml"/>
  <Override PartName="/ppt/notesSlides/notesSlide12.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13.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14.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notesSlides/notesSlide15.xml" ContentType="application/vnd.openxmlformats-officedocument.presentationml.notesSlide+xml"/>
  <Override PartName="/ppt/tags/tag277.xml" ContentType="application/vnd.openxmlformats-officedocument.presentationml.tags+xml"/>
  <Override PartName="/ppt/notesSlides/notesSlide16.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17.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18.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notesSlides/notesSlide19.xml" ContentType="application/vnd.openxmlformats-officedocument.presentationml.notesSlide+xml"/>
  <Override PartName="/ppt/tags/tag298.xml" ContentType="application/vnd.openxmlformats-officedocument.presentationml.tags+xml"/>
  <Override PartName="/ppt/notesSlides/notesSlide20.xml" ContentType="application/vnd.openxmlformats-officedocument.presentationml.notesSl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48" r:id="rId4"/>
    <p:sldMasterId id="2147483697" r:id="rId5"/>
    <p:sldMasterId id="2147483714" r:id="rId6"/>
    <p:sldMasterId id="2147483730" r:id="rId7"/>
    <p:sldMasterId id="2147483745" r:id="rId8"/>
    <p:sldMasterId id="2147483762" r:id="rId9"/>
    <p:sldMasterId id="2147483775" r:id="rId10"/>
    <p:sldMasterId id="2147483790" r:id="rId11"/>
    <p:sldMasterId id="2147483806" r:id="rId12"/>
    <p:sldMasterId id="2147483826" r:id="rId13"/>
  </p:sldMasterIdLst>
  <p:notesMasterIdLst>
    <p:notesMasterId r:id="rId40"/>
  </p:notesMasterIdLst>
  <p:sldIdLst>
    <p:sldId id="256" r:id="rId14"/>
    <p:sldId id="2147375782" r:id="rId15"/>
    <p:sldId id="2147375787" r:id="rId16"/>
    <p:sldId id="2147375816" r:id="rId17"/>
    <p:sldId id="2147375808" r:id="rId18"/>
    <p:sldId id="2147375814" r:id="rId19"/>
    <p:sldId id="2147375794" r:id="rId20"/>
    <p:sldId id="2147375788" r:id="rId21"/>
    <p:sldId id="2147473760" r:id="rId22"/>
    <p:sldId id="2147473596" r:id="rId23"/>
    <p:sldId id="2147473598" r:id="rId24"/>
    <p:sldId id="2147473759" r:id="rId25"/>
    <p:sldId id="2147473448" r:id="rId26"/>
    <p:sldId id="2147473318" r:id="rId27"/>
    <p:sldId id="2147375786" r:id="rId28"/>
    <p:sldId id="2147473590" r:id="rId29"/>
    <p:sldId id="2147376042" r:id="rId30"/>
    <p:sldId id="2147473310" r:id="rId31"/>
    <p:sldId id="2147473276" r:id="rId32"/>
    <p:sldId id="2147473309" r:id="rId33"/>
    <p:sldId id="2147473306" r:id="rId34"/>
    <p:sldId id="2147473294" r:id="rId35"/>
    <p:sldId id="2147473296" r:id="rId36"/>
    <p:sldId id="2147473308" r:id="rId37"/>
    <p:sldId id="2147473307" r:id="rId38"/>
    <p:sldId id="257" r:id="rId39"/>
  </p:sldIdLst>
  <p:sldSz cx="12192000" cy="6858000"/>
  <p:notesSz cx="6858000" cy="9144000"/>
  <p:embeddedFontLst>
    <p:embeddedFont>
      <p:font typeface="Abadi" panose="020B0604020104020204" pitchFamily="34" charset="0"/>
      <p:regular r:id="rId41"/>
    </p:embeddedFont>
    <p:embeddedFont>
      <p:font typeface="Arial Narrow" panose="020B0606020202030204" pitchFamily="34" charset="0"/>
      <p:regular r:id="rId42"/>
      <p:bold r:id="rId43"/>
      <p:italic r:id="rId44"/>
      <p:boldItalic r:id="rId45"/>
    </p:embeddedFont>
    <p:embeddedFont>
      <p:font typeface="Arial Nova" panose="020B0504020202020204" pitchFamily="34" charset="0"/>
      <p:regular r:id="rId46"/>
      <p:bold r:id="rId47"/>
      <p:italic r:id="rId48"/>
      <p:boldItalic r:id="rId49"/>
    </p:embeddedFont>
    <p:embeddedFont>
      <p:font typeface="Calibri" panose="020F0502020204030204" pitchFamily="34" charset="0"/>
      <p:regular r:id="rId50"/>
      <p:bold r:id="rId51"/>
      <p:italic r:id="rId52"/>
      <p:boldItalic r:id="rId53"/>
    </p:embeddedFont>
    <p:embeddedFont>
      <p:font typeface="Calibri Light" panose="020F0302020204030204" pitchFamily="34" charset="0"/>
      <p:regular r:id="rId54"/>
      <p:italic r:id="rId55"/>
    </p:embeddedFont>
    <p:embeddedFont>
      <p:font typeface="Corbel" panose="020B0503020204020204" pitchFamily="34" charset="0"/>
      <p:regular r:id="rId56"/>
      <p:bold r:id="rId57"/>
      <p:italic r:id="rId58"/>
      <p:boldItalic r:id="rId59"/>
    </p:embeddedFont>
    <p:embeddedFont>
      <p:font typeface="Ebrima" panose="02000000000000000000" pitchFamily="2" charset="0"/>
      <p:regular r:id="rId60"/>
      <p:bold r:id="rId61"/>
    </p:embeddedFont>
    <p:embeddedFont>
      <p:font typeface="Georgia" panose="02040502050405020303" pitchFamily="18" charset="0"/>
      <p:regular r:id="rId62"/>
      <p:bold r:id="rId63"/>
      <p:italic r:id="rId64"/>
      <p:boldItalic r:id="rId65"/>
    </p:embeddedFont>
    <p:embeddedFont>
      <p:font typeface="Helvetica" panose="020B0604020202020204" pitchFamily="34" charset="0"/>
      <p:regular r:id="rId66"/>
      <p:bold r:id="rId67"/>
      <p:italic r:id="rId68"/>
      <p:boldItalic r:id="rId69"/>
    </p:embeddedFont>
    <p:embeddedFont>
      <p:font typeface="Leelawadee" panose="020B0502040204020203" pitchFamily="34" charset="-34"/>
      <p:regular r:id="rId70"/>
      <p:bold r:id="rId71"/>
    </p:embeddedFont>
    <p:embeddedFont>
      <p:font typeface="Open Sans" panose="020B0606030504020204" pitchFamily="34" charset="0"/>
      <p:regular r:id="rId72"/>
      <p:bold r:id="rId73"/>
      <p:italic r:id="rId74"/>
      <p:boldItalic r:id="rId75"/>
    </p:embeddedFont>
    <p:embeddedFont>
      <p:font typeface="Roboto" panose="02000000000000000000" pitchFamily="2" charset="0"/>
      <p:regular r:id="rId76"/>
      <p:bold r:id="rId77"/>
      <p:italic r:id="rId78"/>
      <p:boldItalic r:id="rId79"/>
    </p:embeddedFont>
    <p:embeddedFont>
      <p:font typeface="Segoe Condensed" panose="020B0604020202020204" charset="0"/>
      <p:regular r:id="rId80"/>
      <p:bold r:id="rId81"/>
    </p:embeddedFont>
    <p:embeddedFont>
      <p:font typeface="Segoe UI" panose="020B0502040204020203" pitchFamily="34" charset="0"/>
      <p:regular r:id="rId82"/>
      <p:bold r:id="rId83"/>
      <p:italic r:id="rId84"/>
      <p:boldItalic r:id="rId85"/>
    </p:embeddedFont>
    <p:embeddedFont>
      <p:font typeface="Trebuchet MS" panose="020B0603020202020204" pitchFamily="34" charset="0"/>
      <p:regular r:id="rId86"/>
      <p:bold r:id="rId87"/>
      <p:italic r:id="rId88"/>
      <p:boldItalic r:id="rId8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NDMARK, Sandra" initials="LS" lastIdx="4" clrIdx="0">
    <p:extLst>
      <p:ext uri="{19B8F6BF-5375-455C-9EA6-DF929625EA0E}">
        <p15:presenceInfo xmlns:p15="http://schemas.microsoft.com/office/powerpoint/2012/main" userId="S::lindmarks@who.int::8dd7256b-7d3f-41eb-98cc-417b1a3548d9" providerId="AD"/>
      </p:ext>
    </p:extLst>
  </p:cmAuthor>
  <p:cmAuthor id="2" name="SCHMIDT, Tanja" initials="ST" lastIdx="3" clrIdx="1">
    <p:extLst>
      <p:ext uri="{19B8F6BF-5375-455C-9EA6-DF929625EA0E}">
        <p15:presenceInfo xmlns:p15="http://schemas.microsoft.com/office/powerpoint/2012/main" userId="S::schmidtt@who.int::0a137e40-dac3-493e-b54c-a3cd32a902e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72B7"/>
    <a:srgbClr val="002B6C"/>
    <a:srgbClr val="038CD2"/>
    <a:srgbClr val="DDEFF9"/>
    <a:srgbClr val="666699"/>
    <a:srgbClr val="79B5E3"/>
    <a:srgbClr val="F8F8F8"/>
    <a:srgbClr val="009ADE"/>
    <a:srgbClr val="00205C"/>
    <a:srgbClr val="C9DDF3"/>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667" autoAdjust="0"/>
  </p:normalViewPr>
  <p:slideViewPr>
    <p:cSldViewPr snapToGrid="0">
      <p:cViewPr>
        <p:scale>
          <a:sx n="62" d="100"/>
          <a:sy n="62" d="100"/>
        </p:scale>
        <p:origin x="804" y="2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font" Target="fonts/font2.fntdata"/><Relationship Id="rId47" Type="http://schemas.openxmlformats.org/officeDocument/2006/relationships/font" Target="fonts/font7.fntdata"/><Relationship Id="rId63" Type="http://schemas.openxmlformats.org/officeDocument/2006/relationships/font" Target="fonts/font23.fntdata"/><Relationship Id="rId68" Type="http://schemas.openxmlformats.org/officeDocument/2006/relationships/font" Target="fonts/font28.fntdata"/><Relationship Id="rId84" Type="http://schemas.openxmlformats.org/officeDocument/2006/relationships/font" Target="fonts/font44.fntdata"/><Relationship Id="rId89" Type="http://schemas.openxmlformats.org/officeDocument/2006/relationships/font" Target="fonts/font49.fntdata"/><Relationship Id="rId16" Type="http://schemas.openxmlformats.org/officeDocument/2006/relationships/slide" Target="slides/slide3.xml"/><Relationship Id="rId11" Type="http://schemas.openxmlformats.org/officeDocument/2006/relationships/slideMaster" Target="slideMasters/slideMaster8.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font" Target="fonts/font13.fntdata"/><Relationship Id="rId58" Type="http://schemas.openxmlformats.org/officeDocument/2006/relationships/font" Target="fonts/font18.fntdata"/><Relationship Id="rId74" Type="http://schemas.openxmlformats.org/officeDocument/2006/relationships/font" Target="fonts/font34.fntdata"/><Relationship Id="rId79" Type="http://schemas.openxmlformats.org/officeDocument/2006/relationships/font" Target="fonts/font39.fntdata"/><Relationship Id="rId5" Type="http://schemas.openxmlformats.org/officeDocument/2006/relationships/slideMaster" Target="slideMasters/slideMaster2.xml"/><Relationship Id="rId90" Type="http://schemas.openxmlformats.org/officeDocument/2006/relationships/commentAuthors" Target="commentAuthors.xml"/><Relationship Id="rId22" Type="http://schemas.openxmlformats.org/officeDocument/2006/relationships/slide" Target="slides/slide9.xml"/><Relationship Id="rId27" Type="http://schemas.openxmlformats.org/officeDocument/2006/relationships/slide" Target="slides/slide14.xml"/><Relationship Id="rId43" Type="http://schemas.openxmlformats.org/officeDocument/2006/relationships/font" Target="fonts/font3.fntdata"/><Relationship Id="rId48" Type="http://schemas.openxmlformats.org/officeDocument/2006/relationships/font" Target="fonts/font8.fntdata"/><Relationship Id="rId64" Type="http://schemas.openxmlformats.org/officeDocument/2006/relationships/font" Target="fonts/font24.fntdata"/><Relationship Id="rId69" Type="http://schemas.openxmlformats.org/officeDocument/2006/relationships/font" Target="fonts/font29.fntdata"/><Relationship Id="rId8" Type="http://schemas.openxmlformats.org/officeDocument/2006/relationships/slideMaster" Target="slideMasters/slideMaster5.xml"/><Relationship Id="rId51" Type="http://schemas.openxmlformats.org/officeDocument/2006/relationships/font" Target="fonts/font11.fntdata"/><Relationship Id="rId72" Type="http://schemas.openxmlformats.org/officeDocument/2006/relationships/font" Target="fonts/font32.fntdata"/><Relationship Id="rId80" Type="http://schemas.openxmlformats.org/officeDocument/2006/relationships/font" Target="fonts/font40.fntdata"/><Relationship Id="rId85" Type="http://schemas.openxmlformats.org/officeDocument/2006/relationships/font" Target="fonts/font45.fntdata"/><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font" Target="fonts/font6.fntdata"/><Relationship Id="rId59" Type="http://schemas.openxmlformats.org/officeDocument/2006/relationships/font" Target="fonts/font19.fntdata"/><Relationship Id="rId67" Type="http://schemas.openxmlformats.org/officeDocument/2006/relationships/font" Target="fonts/font27.fntdata"/><Relationship Id="rId20" Type="http://schemas.openxmlformats.org/officeDocument/2006/relationships/slide" Target="slides/slide7.xml"/><Relationship Id="rId41" Type="http://schemas.openxmlformats.org/officeDocument/2006/relationships/font" Target="fonts/font1.fntdata"/><Relationship Id="rId54" Type="http://schemas.openxmlformats.org/officeDocument/2006/relationships/font" Target="fonts/font14.fntdata"/><Relationship Id="rId62" Type="http://schemas.openxmlformats.org/officeDocument/2006/relationships/font" Target="fonts/font22.fntdata"/><Relationship Id="rId70" Type="http://schemas.openxmlformats.org/officeDocument/2006/relationships/font" Target="fonts/font30.fntdata"/><Relationship Id="rId75" Type="http://schemas.openxmlformats.org/officeDocument/2006/relationships/font" Target="fonts/font35.fntdata"/><Relationship Id="rId83" Type="http://schemas.openxmlformats.org/officeDocument/2006/relationships/font" Target="fonts/font43.fntdata"/><Relationship Id="rId88" Type="http://schemas.openxmlformats.org/officeDocument/2006/relationships/font" Target="fonts/font48.fntdata"/><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font" Target="fonts/font9.fntdata"/><Relationship Id="rId57" Type="http://schemas.openxmlformats.org/officeDocument/2006/relationships/font" Target="fonts/font17.fntdata"/><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font" Target="fonts/font4.fntdata"/><Relationship Id="rId52" Type="http://schemas.openxmlformats.org/officeDocument/2006/relationships/font" Target="fonts/font12.fntdata"/><Relationship Id="rId60" Type="http://schemas.openxmlformats.org/officeDocument/2006/relationships/font" Target="fonts/font20.fntdata"/><Relationship Id="rId65" Type="http://schemas.openxmlformats.org/officeDocument/2006/relationships/font" Target="fonts/font25.fntdata"/><Relationship Id="rId73" Type="http://schemas.openxmlformats.org/officeDocument/2006/relationships/font" Target="fonts/font33.fntdata"/><Relationship Id="rId78" Type="http://schemas.openxmlformats.org/officeDocument/2006/relationships/font" Target="fonts/font38.fntdata"/><Relationship Id="rId81" Type="http://schemas.openxmlformats.org/officeDocument/2006/relationships/font" Target="fonts/font41.fntdata"/><Relationship Id="rId86" Type="http://schemas.openxmlformats.org/officeDocument/2006/relationships/font" Target="fonts/font46.fntdata"/><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font" Target="fonts/font10.fntdata"/><Relationship Id="rId55" Type="http://schemas.openxmlformats.org/officeDocument/2006/relationships/font" Target="fonts/font15.fntdata"/><Relationship Id="rId76" Type="http://schemas.openxmlformats.org/officeDocument/2006/relationships/font" Target="fonts/font36.fntdata"/><Relationship Id="rId7" Type="http://schemas.openxmlformats.org/officeDocument/2006/relationships/slideMaster" Target="slideMasters/slideMaster4.xml"/><Relationship Id="rId71" Type="http://schemas.openxmlformats.org/officeDocument/2006/relationships/font" Target="fonts/font31.fntdata"/><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notesMaster" Target="notesMasters/notesMaster1.xml"/><Relationship Id="rId45" Type="http://schemas.openxmlformats.org/officeDocument/2006/relationships/font" Target="fonts/font5.fntdata"/><Relationship Id="rId66" Type="http://schemas.openxmlformats.org/officeDocument/2006/relationships/font" Target="fonts/font26.fntdata"/><Relationship Id="rId87" Type="http://schemas.openxmlformats.org/officeDocument/2006/relationships/font" Target="fonts/font47.fntdata"/><Relationship Id="rId61" Type="http://schemas.openxmlformats.org/officeDocument/2006/relationships/font" Target="fonts/font21.fntdata"/><Relationship Id="rId82" Type="http://schemas.openxmlformats.org/officeDocument/2006/relationships/font" Target="fonts/font42.fntdata"/><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font" Target="fonts/font16.fntdata"/><Relationship Id="rId77" Type="http://schemas.openxmlformats.org/officeDocument/2006/relationships/font" Target="fonts/font37.fntdata"/></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1.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2.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https://worldhealthorg.sharepoint.com/sites/EuroCPI/Shared%20Documents/CME/IHRMEF/1.%20IHRMEF/4.%20JEE%20and%20JEE%20orientation%20workshop/EURO_JEE%20monitoring%20map.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ru-RU" sz="1600" b="1" dirty="0">
                <a:solidFill>
                  <a:schemeClr val="tx1"/>
                </a:solidFill>
              </a:rPr>
              <a:t>Основной потенциал ММСП в среднем </a:t>
            </a:r>
          </a:p>
          <a:p>
            <a:pPr>
              <a:defRPr sz="1600" b="1">
                <a:solidFill>
                  <a:schemeClr val="tx1"/>
                </a:solidFill>
              </a:defRPr>
            </a:pPr>
            <a:r>
              <a:rPr lang="ru-RU" sz="1600" b="1" dirty="0">
                <a:solidFill>
                  <a:schemeClr val="tx1"/>
                </a:solidFill>
              </a:rPr>
              <a:t>в</a:t>
            </a:r>
            <a:r>
              <a:rPr lang="ru-RU" sz="1600" b="1" baseline="0" dirty="0">
                <a:solidFill>
                  <a:schemeClr val="tx1"/>
                </a:solidFill>
              </a:rPr>
              <a:t> отчетах за</a:t>
            </a:r>
            <a:r>
              <a:rPr lang="sv-SE" sz="1600" b="1" dirty="0">
                <a:solidFill>
                  <a:schemeClr val="tx1"/>
                </a:solidFill>
              </a:rPr>
              <a:t> </a:t>
            </a:r>
            <a:r>
              <a:rPr lang="sv-SE" sz="1600" b="1" baseline="0" dirty="0">
                <a:solidFill>
                  <a:schemeClr val="tx1"/>
                </a:solidFill>
              </a:rPr>
              <a:t>2021</a:t>
            </a:r>
            <a:endParaRPr lang="sv-SE" sz="1600" b="1" dirty="0">
              <a:solidFill>
                <a:schemeClr val="tx1"/>
              </a:solidFill>
            </a:endParaRPr>
          </a:p>
        </c:rich>
      </c:tx>
      <c:layout>
        <c:manualLayout>
          <c:xMode val="edge"/>
          <c:yMode val="edge"/>
          <c:x val="0.11072121164824322"/>
          <c:y val="0"/>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ru-KZ"/>
        </a:p>
      </c:txPr>
    </c:title>
    <c:autoTitleDeleted val="0"/>
    <c:plotArea>
      <c:layout>
        <c:manualLayout>
          <c:layoutTarget val="inner"/>
          <c:xMode val="edge"/>
          <c:yMode val="edge"/>
          <c:x val="0.10279999315490994"/>
          <c:y val="0.20975180191351908"/>
          <c:w val="0.89576072466384549"/>
          <c:h val="0.55439216761701648"/>
        </c:manualLayout>
      </c:layout>
      <c:barChart>
        <c:barDir val="col"/>
        <c:grouping val="clustered"/>
        <c:varyColors val="0"/>
        <c:ser>
          <c:idx val="0"/>
          <c:order val="0"/>
          <c:tx>
            <c:strRef>
              <c:f>Blad1!$B$1</c:f>
              <c:strCache>
                <c:ptCount val="1"/>
                <c:pt idx="0">
                  <c:v>Среднее по региону на основе 47 отчетов</c:v>
                </c:pt>
              </c:strCache>
            </c:strRef>
          </c:tx>
          <c:spPr>
            <a:solidFill>
              <a:schemeClr val="accent1"/>
            </a:solidFill>
            <a:ln>
              <a:noFill/>
            </a:ln>
            <a:effectLst/>
          </c:spPr>
          <c:invertIfNegative val="0"/>
          <c:dLbls>
            <c:dLbl>
              <c:idx val="1"/>
              <c:tx>
                <c:rich>
                  <a:bodyPr/>
                  <a:lstStyle/>
                  <a:p>
                    <a:fld id="{A826C616-A78D-4E89-B8FC-13AC0FA2B2C5}"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A04-446D-935F-6F6E311FE905}"/>
                </c:ext>
              </c:extLst>
            </c:dLbl>
            <c:dLbl>
              <c:idx val="2"/>
              <c:layout>
                <c:manualLayout>
                  <c:x val="4.3395203104499664E-3"/>
                  <c:y val="0"/>
                </c:manualLayout>
              </c:layout>
              <c:tx>
                <c:rich>
                  <a:bodyPr/>
                  <a:lstStyle/>
                  <a:p>
                    <a:fld id="{4BE7BD53-111A-4EAE-A786-43D9E50D76A7}"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A04-446D-935F-6F6E311FE905}"/>
                </c:ext>
              </c:extLst>
            </c:dLbl>
            <c:dLbl>
              <c:idx val="3"/>
              <c:tx>
                <c:rich>
                  <a:bodyPr/>
                  <a:lstStyle/>
                  <a:p>
                    <a:fld id="{52ED9CC3-860B-4856-8E13-1C312325D6A3}"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A04-446D-935F-6F6E311FE905}"/>
                </c:ext>
              </c:extLst>
            </c:dLbl>
            <c:dLbl>
              <c:idx val="4"/>
              <c:layout>
                <c:manualLayout>
                  <c:x val="7.6964052827831388E-3"/>
                  <c:y val="-3.2424568836210738E-3"/>
                </c:manualLayout>
              </c:layout>
              <c:tx>
                <c:rich>
                  <a:bodyPr/>
                  <a:lstStyle/>
                  <a:p>
                    <a:fld id="{859408B4-426B-4371-AB92-2CC714BDA368}"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AA04-446D-935F-6F6E311FE905}"/>
                </c:ext>
              </c:extLst>
            </c:dLbl>
            <c:dLbl>
              <c:idx val="5"/>
              <c:layout>
                <c:manualLayout>
                  <c:x val="8.6790406208998531E-3"/>
                  <c:y val="0"/>
                </c:manualLayout>
              </c:layout>
              <c:tx>
                <c:rich>
                  <a:bodyPr/>
                  <a:lstStyle/>
                  <a:p>
                    <a:fld id="{8D46F058-A29C-497A-9894-49199A9E0502}"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AA04-446D-935F-6F6E311FE905}"/>
                </c:ext>
              </c:extLst>
            </c:dLbl>
            <c:dLbl>
              <c:idx val="6"/>
              <c:tx>
                <c:rich>
                  <a:bodyPr/>
                  <a:lstStyle/>
                  <a:p>
                    <a:fld id="{967272C9-8096-4D71-AE4A-7CA354CEA582}"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AA04-446D-935F-6F6E311FE905}"/>
                </c:ext>
              </c:extLst>
            </c:dLbl>
            <c:dLbl>
              <c:idx val="7"/>
              <c:tx>
                <c:rich>
                  <a:bodyPr/>
                  <a:lstStyle/>
                  <a:p>
                    <a:fld id="{7AB2F308-EBC8-4753-875D-979CA1CD1D35}"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AA04-446D-935F-6F6E311FE905}"/>
                </c:ext>
              </c:extLst>
            </c:dLbl>
            <c:dLbl>
              <c:idx val="8"/>
              <c:tx>
                <c:rich>
                  <a:bodyPr/>
                  <a:lstStyle/>
                  <a:p>
                    <a:fld id="{3067E370-DE43-4257-8D98-5ECF66ABB5B7}"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AA04-446D-935F-6F6E311FE905}"/>
                </c:ext>
              </c:extLst>
            </c:dLbl>
            <c:dLbl>
              <c:idx val="9"/>
              <c:tx>
                <c:rich>
                  <a:bodyPr/>
                  <a:lstStyle/>
                  <a:p>
                    <a:fld id="{E58C922B-B901-4C95-94D9-E6431131599A}"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AA04-446D-935F-6F6E311FE905}"/>
                </c:ext>
              </c:extLst>
            </c:dLbl>
            <c:dLbl>
              <c:idx val="10"/>
              <c:tx>
                <c:rich>
                  <a:bodyPr/>
                  <a:lstStyle/>
                  <a:p>
                    <a:fld id="{B0FB078B-71E5-4EA9-A7B0-0ADB17FD2FF5}"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AA04-446D-935F-6F6E311FE905}"/>
                </c:ext>
              </c:extLst>
            </c:dLbl>
            <c:dLbl>
              <c:idx val="11"/>
              <c:tx>
                <c:rich>
                  <a:bodyPr/>
                  <a:lstStyle/>
                  <a:p>
                    <a:fld id="{60305D7A-1B7F-41E5-AD51-BB3DAFEC30DA}"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AA04-446D-935F-6F6E311FE905}"/>
                </c:ext>
              </c:extLst>
            </c:dLbl>
            <c:dLbl>
              <c:idx val="12"/>
              <c:tx>
                <c:rich>
                  <a:bodyPr/>
                  <a:lstStyle/>
                  <a:p>
                    <a:fld id="{33E080F1-1D32-4BF6-B868-50E777388BFB}"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AA04-446D-935F-6F6E311FE905}"/>
                </c:ext>
              </c:extLst>
            </c:dLbl>
            <c:dLbl>
              <c:idx val="13"/>
              <c:tx>
                <c:rich>
                  <a:bodyPr/>
                  <a:lstStyle/>
                  <a:p>
                    <a:fld id="{726387CD-E2DF-455D-8B60-EE11984DC8AD}"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AA04-446D-935F-6F6E311FE905}"/>
                </c:ext>
              </c:extLst>
            </c:dLbl>
            <c:dLbl>
              <c:idx val="14"/>
              <c:tx>
                <c:rich>
                  <a:bodyPr/>
                  <a:lstStyle/>
                  <a:p>
                    <a:fld id="{99F0AAAA-BB7B-4803-9C3B-2E7CD9B7954A}" type="VALUE">
                      <a:rPr lang="en-US" smtClean="0"/>
                      <a:pPr/>
                      <a:t>[ЗНАЧЕНИЕ]</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6D8-4912-854E-CBC10666B1E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K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lad1!$A$2:$A$16</c:f>
              <c:strCache>
                <c:ptCount val="15"/>
                <c:pt idx="0">
                  <c:v>C.1</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strCache>
            </c:strRef>
          </c:cat>
          <c:val>
            <c:numRef>
              <c:f>Blad1!$B$2:$B$16</c:f>
              <c:numCache>
                <c:formatCode>General</c:formatCode>
                <c:ptCount val="15"/>
                <c:pt idx="0">
                  <c:v>63</c:v>
                </c:pt>
                <c:pt idx="1">
                  <c:v>77</c:v>
                </c:pt>
                <c:pt idx="2">
                  <c:v>75</c:v>
                </c:pt>
                <c:pt idx="3">
                  <c:v>81</c:v>
                </c:pt>
                <c:pt idx="4">
                  <c:v>86</c:v>
                </c:pt>
                <c:pt idx="5">
                  <c:v>67</c:v>
                </c:pt>
                <c:pt idx="6">
                  <c:v>78</c:v>
                </c:pt>
                <c:pt idx="7">
                  <c:v>80</c:v>
                </c:pt>
                <c:pt idx="8">
                  <c:v>73</c:v>
                </c:pt>
                <c:pt idx="9">
                  <c:v>69</c:v>
                </c:pt>
                <c:pt idx="10">
                  <c:v>65</c:v>
                </c:pt>
                <c:pt idx="11">
                  <c:v>77</c:v>
                </c:pt>
                <c:pt idx="12">
                  <c:v>79</c:v>
                </c:pt>
                <c:pt idx="13">
                  <c:v>72</c:v>
                </c:pt>
                <c:pt idx="14">
                  <c:v>75</c:v>
                </c:pt>
              </c:numCache>
            </c:numRef>
          </c:val>
          <c:extLst>
            <c:ext xmlns:c16="http://schemas.microsoft.com/office/drawing/2014/chart" uri="{C3380CC4-5D6E-409C-BE32-E72D297353CC}">
              <c16:uniqueId val="{0000000D-AA04-446D-935F-6F6E311FE905}"/>
            </c:ext>
          </c:extLst>
        </c:ser>
        <c:dLbls>
          <c:showLegendKey val="0"/>
          <c:showVal val="0"/>
          <c:showCatName val="0"/>
          <c:showSerName val="0"/>
          <c:showPercent val="0"/>
          <c:showBubbleSize val="0"/>
        </c:dLbls>
        <c:gapWidth val="150"/>
        <c:axId val="452724856"/>
        <c:axId val="452724216"/>
      </c:barChart>
      <c:lineChart>
        <c:grouping val="standard"/>
        <c:varyColors val="0"/>
        <c:ser>
          <c:idx val="1"/>
          <c:order val="1"/>
          <c:tx>
            <c:strRef>
              <c:f>Blad1!$C$1</c:f>
              <c:strCache>
                <c:ptCount val="1"/>
                <c:pt idx="0">
                  <c:v>Среднее мировое значение на основе 179 отчетов</c:v>
                </c:pt>
              </c:strCache>
            </c:strRef>
          </c:tx>
          <c:spPr>
            <a:ln w="28575" cap="rnd">
              <a:solidFill>
                <a:schemeClr val="accent2"/>
              </a:solidFill>
              <a:round/>
            </a:ln>
            <a:effectLst/>
          </c:spPr>
          <c:marker>
            <c:symbol val="none"/>
          </c:marker>
          <c:dLbls>
            <c:dLbl>
              <c:idx val="1"/>
              <c:layout>
                <c:manualLayout>
                  <c:x val="-2.3643249796332949E-2"/>
                  <c:y val="6.4849137672421411E-2"/>
                </c:manualLayout>
              </c:layout>
              <c:tx>
                <c:rich>
                  <a:bodyPr/>
                  <a:lstStyle/>
                  <a:p>
                    <a:fld id="{FF50C41E-C103-4B19-8DB0-CF9C849DFEDA}" type="VALUE">
                      <a:rPr lang="en-US" smtClean="0"/>
                      <a:pPr/>
                      <a:t>[ЗНАЧЕНИЕ]</a:t>
                    </a:fld>
                    <a:endParaRPr lang="en-US"/>
                  </a:p>
                  <a:p>
                    <a:r>
                      <a:rPr lang="en-US"/>
                      <a:t>%</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AA04-446D-935F-6F6E311FE905}"/>
                </c:ext>
              </c:extLst>
            </c:dLbl>
            <c:dLbl>
              <c:idx val="2"/>
              <c:layout>
                <c:manualLayout>
                  <c:x val="-2.3643249796332949E-2"/>
                  <c:y val="4.2151939487073901E-2"/>
                </c:manualLayout>
              </c:layout>
              <c:tx>
                <c:rich>
                  <a:bodyPr/>
                  <a:lstStyle/>
                  <a:p>
                    <a:br>
                      <a:rPr lang="en-US"/>
                    </a:br>
                    <a:fld id="{2FB7D8F4-86AC-48A1-9016-3C13B7B1744F}" type="VALUE">
                      <a:rPr lang="en-US" smtClean="0"/>
                      <a:pPr/>
                      <a:t>[ЗНАЧЕНИЕ]</a:t>
                    </a:fld>
                    <a:br>
                      <a:rPr lang="en-US"/>
                    </a:br>
                    <a:r>
                      <a:rPr lang="en-US"/>
                      <a:t>%</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AA04-446D-935F-6F6E311FE905}"/>
                </c:ext>
              </c:extLst>
            </c:dLbl>
            <c:dLbl>
              <c:idx val="3"/>
              <c:layout>
                <c:manualLayout>
                  <c:x val="-2.2067033143244087E-2"/>
                  <c:y val="3.566702571983181E-2"/>
                </c:manualLayout>
              </c:layout>
              <c:tx>
                <c:rich>
                  <a:bodyPr/>
                  <a:lstStyle/>
                  <a:p>
                    <a:br>
                      <a:rPr lang="en-US"/>
                    </a:br>
                    <a:fld id="{8A4783F1-BAD5-4EDD-93F0-2396EAF0E6C8}" type="VALUE">
                      <a:rPr lang="en-US" smtClean="0"/>
                      <a:pPr/>
                      <a:t>[ЗНАЧЕНИЕ]</a:t>
                    </a:fld>
                    <a:br>
                      <a:rPr lang="en-US"/>
                    </a:br>
                    <a:r>
                      <a:rPr lang="en-US"/>
                      <a:t>%</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AA04-446D-935F-6F6E311FE905}"/>
                </c:ext>
              </c:extLst>
            </c:dLbl>
            <c:dLbl>
              <c:idx val="4"/>
              <c:tx>
                <c:rich>
                  <a:bodyPr/>
                  <a:lstStyle/>
                  <a:p>
                    <a:fld id="{69C0C815-92FA-4938-BDE9-5EAD25ADB7A2}"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AA04-446D-935F-6F6E311FE905}"/>
                </c:ext>
              </c:extLst>
            </c:dLbl>
            <c:dLbl>
              <c:idx val="5"/>
              <c:tx>
                <c:rich>
                  <a:bodyPr/>
                  <a:lstStyle/>
                  <a:p>
                    <a:fld id="{50420200-5978-4E75-9DD9-C0B4198B0140}"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AA04-446D-935F-6F6E311FE905}"/>
                </c:ext>
              </c:extLst>
            </c:dLbl>
            <c:dLbl>
              <c:idx val="6"/>
              <c:tx>
                <c:rich>
                  <a:bodyPr/>
                  <a:lstStyle/>
                  <a:p>
                    <a:fld id="{8C6EDB94-6CD6-4910-A9D2-27EAE8C9D720}"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AA04-446D-935F-6F6E311FE905}"/>
                </c:ext>
              </c:extLst>
            </c:dLbl>
            <c:dLbl>
              <c:idx val="7"/>
              <c:tx>
                <c:rich>
                  <a:bodyPr/>
                  <a:lstStyle/>
                  <a:p>
                    <a:fld id="{04DBE3B1-2D83-4FB9-8120-2BF693DB6CFB}"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AA04-446D-935F-6F6E311FE905}"/>
                </c:ext>
              </c:extLst>
            </c:dLbl>
            <c:dLbl>
              <c:idx val="8"/>
              <c:layout>
                <c:manualLayout>
                  <c:x val="-1.8629819328892405E-2"/>
                  <c:y val="7.7818965206905774E-2"/>
                </c:manualLayout>
              </c:layout>
              <c:tx>
                <c:rich>
                  <a:bodyPr rot="0" spcFirstLastPara="1" vertOverflow="ellipsis" vert="horz" wrap="square" lIns="38100" tIns="19050" rIns="38100" bIns="19050" anchor="ctr" anchorCtr="1">
                    <a:noAutofit/>
                  </a:bodyPr>
                  <a:lstStyle/>
                  <a:p>
                    <a:pPr>
                      <a:defRPr sz="1200" b="0" i="0" u="none" strike="noStrike" kern="1200" baseline="0">
                        <a:solidFill>
                          <a:schemeClr val="tx1"/>
                        </a:solidFill>
                        <a:latin typeface="+mn-lt"/>
                        <a:ea typeface="+mn-ea"/>
                        <a:cs typeface="+mn-cs"/>
                      </a:defRPr>
                    </a:pPr>
                    <a:fld id="{1E253DDE-5121-4C87-9739-24023D9E257D}" type="VALUE">
                      <a:rPr lang="en-US" smtClean="0"/>
                      <a:pPr>
                        <a:defRPr sz="1200">
                          <a:solidFill>
                            <a:schemeClr val="tx1"/>
                          </a:solidFill>
                        </a:defRPr>
                      </a:pPr>
                      <a:t>[ЗНАЧЕНИЕ]</a:t>
                    </a:fld>
                    <a:br>
                      <a:rPr lang="en-US"/>
                    </a:br>
                    <a:r>
                      <a:rPr lang="en-US"/>
                      <a:t>%</a:t>
                    </a:r>
                  </a:p>
                </c:rich>
              </c:tx>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solidFill>
                      <a:latin typeface="+mn-lt"/>
                      <a:ea typeface="+mn-ea"/>
                      <a:cs typeface="+mn-cs"/>
                    </a:defRPr>
                  </a:pPr>
                  <a:endParaRPr lang="ru-KZ"/>
                </a:p>
              </c:txPr>
              <c:dLblPos val="r"/>
              <c:showLegendKey val="0"/>
              <c:showVal val="1"/>
              <c:showCatName val="0"/>
              <c:showSerName val="0"/>
              <c:showPercent val="0"/>
              <c:showBubbleSize val="0"/>
              <c:extLst>
                <c:ext xmlns:c15="http://schemas.microsoft.com/office/drawing/2012/chart" uri="{CE6537A1-D6FC-4f65-9D91-7224C49458BB}">
                  <c15:layout>
                    <c:manualLayout>
                      <c:w val="3.0329345867436661E-2"/>
                      <c:h val="0.11870634650936751"/>
                    </c:manualLayout>
                  </c15:layout>
                  <c15:dlblFieldTable/>
                  <c15:showDataLabelsRange val="0"/>
                </c:ext>
                <c:ext xmlns:c16="http://schemas.microsoft.com/office/drawing/2014/chart" uri="{C3380CC4-5D6E-409C-BE32-E72D297353CC}">
                  <c16:uniqueId val="{00000016-AA04-446D-935F-6F6E311FE905}"/>
                </c:ext>
              </c:extLst>
            </c:dLbl>
            <c:dLbl>
              <c:idx val="9"/>
              <c:tx>
                <c:rich>
                  <a:bodyPr/>
                  <a:lstStyle/>
                  <a:p>
                    <a:fld id="{500FE38E-5698-4F02-9245-C5FB32B5301C}"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AA04-446D-935F-6F6E311FE905}"/>
                </c:ext>
              </c:extLst>
            </c:dLbl>
            <c:dLbl>
              <c:idx val="10"/>
              <c:tx>
                <c:rich>
                  <a:bodyPr/>
                  <a:lstStyle/>
                  <a:p>
                    <a:fld id="{D294E5EE-5C16-4AF6-944C-E217522A8D2D}"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AA04-446D-935F-6F6E311FE905}"/>
                </c:ext>
              </c:extLst>
            </c:dLbl>
            <c:dLbl>
              <c:idx val="11"/>
              <c:tx>
                <c:rich>
                  <a:bodyPr/>
                  <a:lstStyle/>
                  <a:p>
                    <a:fld id="{A93500D8-504E-4E85-A509-FFC3B0A3C1C5}"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9-AA04-446D-935F-6F6E311FE905}"/>
                </c:ext>
              </c:extLst>
            </c:dLbl>
            <c:dLbl>
              <c:idx val="12"/>
              <c:tx>
                <c:rich>
                  <a:bodyPr/>
                  <a:lstStyle/>
                  <a:p>
                    <a:fld id="{A3062BD2-F3C0-4959-A158-B4BFC7205BAB}"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A-AA04-446D-935F-6F6E311FE905}"/>
                </c:ext>
              </c:extLst>
            </c:dLbl>
            <c:dLbl>
              <c:idx val="13"/>
              <c:tx>
                <c:rich>
                  <a:bodyPr/>
                  <a:lstStyle/>
                  <a:p>
                    <a:fld id="{CF316453-78D4-49C9-A433-D6971E4CF360}"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E-AA04-446D-935F-6F6E311FE905}"/>
                </c:ext>
              </c:extLst>
            </c:dLbl>
            <c:dLbl>
              <c:idx val="14"/>
              <c:tx>
                <c:rich>
                  <a:bodyPr/>
                  <a:lstStyle/>
                  <a:p>
                    <a:fld id="{B930D03B-7CF9-406B-A53B-910757F40322}" type="VALUE">
                      <a:rPr lang="en-US" smtClean="0"/>
                      <a:pPr/>
                      <a:t>[ЗНАЧЕНИЕ]</a:t>
                    </a:fld>
                    <a:br>
                      <a:rPr lang="en-US"/>
                    </a:br>
                    <a:r>
                      <a:rPr lang="en-US"/>
                      <a:t>%</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6D8-4912-854E-CBC10666B1E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ru-KZ"/>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lad1!$A$2:$A$16</c:f>
              <c:strCache>
                <c:ptCount val="15"/>
                <c:pt idx="0">
                  <c:v>C.1</c:v>
                </c:pt>
                <c:pt idx="1">
                  <c:v>C.2</c:v>
                </c:pt>
                <c:pt idx="2">
                  <c:v>C.3</c:v>
                </c:pt>
                <c:pt idx="3">
                  <c:v>C.4</c:v>
                </c:pt>
                <c:pt idx="4">
                  <c:v>C.5</c:v>
                </c:pt>
                <c:pt idx="5">
                  <c:v>C.6</c:v>
                </c:pt>
                <c:pt idx="6">
                  <c:v>C.7</c:v>
                </c:pt>
                <c:pt idx="7">
                  <c:v>C.8</c:v>
                </c:pt>
                <c:pt idx="8">
                  <c:v>C.9</c:v>
                </c:pt>
                <c:pt idx="9">
                  <c:v>C.10</c:v>
                </c:pt>
                <c:pt idx="10">
                  <c:v>C.11</c:v>
                </c:pt>
                <c:pt idx="11">
                  <c:v>C.12</c:v>
                </c:pt>
                <c:pt idx="12">
                  <c:v>C.13</c:v>
                </c:pt>
                <c:pt idx="13">
                  <c:v>C.14</c:v>
                </c:pt>
                <c:pt idx="14">
                  <c:v>C.15</c:v>
                </c:pt>
              </c:strCache>
            </c:strRef>
          </c:cat>
          <c:val>
            <c:numRef>
              <c:f>Blad1!$C$2:$C$16</c:f>
              <c:numCache>
                <c:formatCode>General</c:formatCode>
                <c:ptCount val="15"/>
                <c:pt idx="0">
                  <c:v>52</c:v>
                </c:pt>
                <c:pt idx="1">
                  <c:v>66</c:v>
                </c:pt>
                <c:pt idx="2">
                  <c:v>63</c:v>
                </c:pt>
                <c:pt idx="3">
                  <c:v>72</c:v>
                </c:pt>
                <c:pt idx="4">
                  <c:v>81</c:v>
                </c:pt>
                <c:pt idx="5">
                  <c:v>59</c:v>
                </c:pt>
                <c:pt idx="6">
                  <c:v>70</c:v>
                </c:pt>
                <c:pt idx="7">
                  <c:v>72</c:v>
                </c:pt>
                <c:pt idx="8">
                  <c:v>60</c:v>
                </c:pt>
                <c:pt idx="9">
                  <c:v>67</c:v>
                </c:pt>
                <c:pt idx="10">
                  <c:v>61</c:v>
                </c:pt>
                <c:pt idx="11">
                  <c:v>65</c:v>
                </c:pt>
                <c:pt idx="12">
                  <c:v>63</c:v>
                </c:pt>
                <c:pt idx="13">
                  <c:v>55</c:v>
                </c:pt>
                <c:pt idx="14">
                  <c:v>57</c:v>
                </c:pt>
              </c:numCache>
            </c:numRef>
          </c:val>
          <c:smooth val="0"/>
          <c:extLst>
            <c:ext xmlns:c16="http://schemas.microsoft.com/office/drawing/2014/chart" uri="{C3380CC4-5D6E-409C-BE32-E72D297353CC}">
              <c16:uniqueId val="{0000001B-AA04-446D-935F-6F6E311FE905}"/>
            </c:ext>
          </c:extLst>
        </c:ser>
        <c:dLbls>
          <c:showLegendKey val="0"/>
          <c:showVal val="0"/>
          <c:showCatName val="0"/>
          <c:showSerName val="0"/>
          <c:showPercent val="0"/>
          <c:showBubbleSize val="0"/>
        </c:dLbls>
        <c:marker val="1"/>
        <c:smooth val="0"/>
        <c:axId val="452724856"/>
        <c:axId val="452724216"/>
      </c:lineChart>
      <c:catAx>
        <c:axId val="4527248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ru-KZ"/>
          </a:p>
        </c:txPr>
        <c:crossAx val="452724216"/>
        <c:crosses val="autoZero"/>
        <c:auto val="1"/>
        <c:lblAlgn val="ctr"/>
        <c:lblOffset val="100"/>
        <c:noMultiLvlLbl val="0"/>
      </c:catAx>
      <c:valAx>
        <c:axId val="4527242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KZ"/>
          </a:p>
        </c:txPr>
        <c:crossAx val="452724856"/>
        <c:crosses val="autoZero"/>
        <c:crossBetween val="between"/>
        <c:majorUnit val="20"/>
        <c:minorUnit val="1"/>
      </c:valAx>
      <c:spPr>
        <a:noFill/>
        <a:ln>
          <a:noFill/>
        </a:ln>
        <a:effectLst/>
      </c:spPr>
    </c:plotArea>
    <c:legend>
      <c:legendPos val="t"/>
      <c:legendEntry>
        <c:idx val="0"/>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KZ"/>
          </a:p>
        </c:txPr>
      </c:legendEntry>
      <c:layout>
        <c:manualLayout>
          <c:xMode val="edge"/>
          <c:yMode val="edge"/>
          <c:x val="8.7743808592248701E-2"/>
          <c:y val="0.11776067247023897"/>
          <c:w val="0.80120204875203682"/>
          <c:h val="0.1129477941463696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K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6232929379921258"/>
          <c:y val="0.31256989673482471"/>
          <c:w val="0.27534141240157478"/>
          <c:h val="0.4573127044220075"/>
        </c:manualLayout>
      </c:layout>
      <c:doughnutChart>
        <c:varyColors val="1"/>
        <c:dLbls>
          <c:showLegendKey val="0"/>
          <c:showVal val="0"/>
          <c:showCatName val="0"/>
          <c:showSerName val="0"/>
          <c:showPercent val="0"/>
          <c:showBubbleSize val="0"/>
          <c:showLeaderLines val="0"/>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ru-K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ru-RU" b="1" dirty="0">
                <a:solidFill>
                  <a:schemeClr val="tx1"/>
                </a:solidFill>
              </a:rPr>
              <a:t>Весь</a:t>
            </a:r>
            <a:r>
              <a:rPr lang="ru-RU" b="1" baseline="0" dirty="0">
                <a:solidFill>
                  <a:schemeClr val="tx1"/>
                </a:solidFill>
              </a:rPr>
              <a:t> потенциал в           среднем  по миру</a:t>
            </a:r>
            <a:r>
              <a:rPr lang="en-US" b="1" dirty="0">
                <a:solidFill>
                  <a:schemeClr val="tx1"/>
                </a:solidFill>
              </a:rPr>
              <a:t> 2021</a:t>
            </a:r>
          </a:p>
        </c:rich>
      </c:tx>
      <c:layout>
        <c:manualLayout>
          <c:xMode val="edge"/>
          <c:yMode val="edge"/>
          <c:x val="0.25763979448709157"/>
          <c:y val="2.1958383400905206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ru-KZ"/>
        </a:p>
      </c:txPr>
    </c:title>
    <c:autoTitleDeleted val="0"/>
    <c:plotArea>
      <c:layout>
        <c:manualLayout>
          <c:layoutTarget val="inner"/>
          <c:xMode val="edge"/>
          <c:yMode val="edge"/>
          <c:x val="0.33577368708799943"/>
          <c:y val="0.31384567239743033"/>
          <c:w val="0.37113711018198603"/>
          <c:h val="0.61525168124894369"/>
        </c:manualLayout>
      </c:layout>
      <c:doughnutChart>
        <c:varyColors val="1"/>
        <c:ser>
          <c:idx val="0"/>
          <c:order val="0"/>
          <c:tx>
            <c:strRef>
              <c:f>Blad1!$B$1</c:f>
              <c:strCache>
                <c:ptCount val="1"/>
                <c:pt idx="0">
                  <c:v>All capacities Global averag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5A1-4D72-873D-10006ABA521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5A1-4D72-873D-10006ABA521B}"/>
              </c:ext>
            </c:extLst>
          </c:dPt>
          <c:dLbls>
            <c:dLbl>
              <c:idx val="0"/>
              <c:layout>
                <c:manualLayout>
                  <c:x val="-0.13311229268336403"/>
                  <c:y val="-0.12621972962582576"/>
                </c:manualLayout>
              </c:layout>
              <c:tx>
                <c:rich>
                  <a:bodyPr rot="0" spcFirstLastPara="1" vertOverflow="ellipsis" vert="horz" wrap="square" lIns="38100" tIns="19050" rIns="38100" bIns="19050" anchor="ctr" anchorCtr="0">
                    <a:noAutofit/>
                  </a:bodyPr>
                  <a:lstStyle/>
                  <a:p>
                    <a:pPr algn="ctr">
                      <a:defRPr lang="en-US" sz="2400" b="1" i="0" u="none" strike="noStrike" kern="1200" baseline="0">
                        <a:solidFill>
                          <a:schemeClr val="tx1"/>
                        </a:solidFill>
                        <a:latin typeface="+mn-lt"/>
                        <a:ea typeface="+mn-ea"/>
                        <a:cs typeface="+mn-cs"/>
                      </a:defRPr>
                    </a:pPr>
                    <a:r>
                      <a:rPr lang="en-US" sz="2400" b="1" i="0" u="none" strike="noStrike" kern="1200" baseline="0">
                        <a:solidFill>
                          <a:schemeClr val="tx1"/>
                        </a:solidFill>
                        <a:latin typeface="+mn-lt"/>
                        <a:ea typeface="+mn-ea"/>
                        <a:cs typeface="+mn-cs"/>
                      </a:rPr>
                      <a:t>64%</a:t>
                    </a:r>
                  </a:p>
                </c:rich>
              </c:tx>
              <c:spPr>
                <a:noFill/>
                <a:ln>
                  <a:noFill/>
                </a:ln>
                <a:effectLst/>
              </c:spPr>
              <c:txPr>
                <a:bodyPr rot="0" spcFirstLastPara="1" vertOverflow="ellipsis" vert="horz" wrap="square" lIns="38100" tIns="19050" rIns="38100" bIns="19050" anchor="ctr" anchorCtr="0">
                  <a:noAutofit/>
                </a:bodyPr>
                <a:lstStyle/>
                <a:p>
                  <a:pPr algn="ctr">
                    <a:defRPr lang="en-US" sz="2400" b="1" i="0" u="none" strike="noStrike" kern="1200" baseline="0">
                      <a:solidFill>
                        <a:schemeClr val="tx1"/>
                      </a:solidFill>
                      <a:latin typeface="+mn-lt"/>
                      <a:ea typeface="+mn-ea"/>
                      <a:cs typeface="+mn-cs"/>
                    </a:defRPr>
                  </a:pPr>
                  <a:endParaRPr lang="ru-KZ"/>
                </a:p>
              </c:txPr>
              <c:showLegendKey val="0"/>
              <c:showVal val="1"/>
              <c:showCatName val="0"/>
              <c:showSerName val="0"/>
              <c:showPercent val="0"/>
              <c:showBubbleSize val="0"/>
              <c:extLst>
                <c:ext xmlns:c15="http://schemas.microsoft.com/office/drawing/2012/chart" uri="{CE6537A1-D6FC-4f65-9D91-7224C49458BB}">
                  <c15:layout>
                    <c:manualLayout>
                      <c:w val="0.25203172429533266"/>
                      <c:h val="0.38128550435373854"/>
                    </c:manualLayout>
                  </c15:layout>
                  <c15:showDataLabelsRange val="0"/>
                </c:ext>
                <c:ext xmlns:c16="http://schemas.microsoft.com/office/drawing/2014/chart" uri="{C3380CC4-5D6E-409C-BE32-E72D297353CC}">
                  <c16:uniqueId val="{00000001-65A1-4D72-873D-10006ABA521B}"/>
                </c:ext>
              </c:extLst>
            </c:dLbl>
            <c:dLbl>
              <c:idx val="1"/>
              <c:delete val="1"/>
              <c:extLst>
                <c:ext xmlns:c15="http://schemas.microsoft.com/office/drawing/2012/chart" uri="{CE6537A1-D6FC-4f65-9D91-7224C49458BB}"/>
                <c:ext xmlns:c16="http://schemas.microsoft.com/office/drawing/2014/chart" uri="{C3380CC4-5D6E-409C-BE32-E72D297353CC}">
                  <c16:uniqueId val="{00000003-65A1-4D72-873D-10006ABA521B}"/>
                </c:ext>
              </c:extLst>
            </c:dLbl>
            <c:spPr>
              <a:noFill/>
              <a:ln>
                <a:noFill/>
              </a:ln>
              <a:effectLst/>
            </c:spPr>
            <c:txPr>
              <a:bodyPr rot="0" spcFirstLastPara="1" vertOverflow="ellipsis" vert="horz" wrap="square" lIns="38100" tIns="19050" rIns="38100" bIns="19050" anchor="ctr" anchorCtr="0">
                <a:spAutoFit/>
              </a:bodyPr>
              <a:lstStyle/>
              <a:p>
                <a:pPr algn="ctr">
                  <a:defRPr lang="en-US" sz="2400" b="1" i="0" u="none" strike="noStrike" kern="1200" baseline="0">
                    <a:solidFill>
                      <a:schemeClr val="tx1"/>
                    </a:solidFill>
                    <a:latin typeface="+mn-lt"/>
                    <a:ea typeface="+mn-ea"/>
                    <a:cs typeface="+mn-cs"/>
                  </a:defRPr>
                </a:pPr>
                <a:endParaRPr lang="ru-KZ"/>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Blad1!$A$2:$A$3</c:f>
              <c:numCache>
                <c:formatCode>General</c:formatCode>
                <c:ptCount val="2"/>
              </c:numCache>
            </c:numRef>
          </c:cat>
          <c:val>
            <c:numRef>
              <c:f>Blad1!$B$2:$B$3</c:f>
              <c:numCache>
                <c:formatCode>General</c:formatCode>
                <c:ptCount val="2"/>
                <c:pt idx="0">
                  <c:v>65</c:v>
                </c:pt>
                <c:pt idx="1">
                  <c:v>35</c:v>
                </c:pt>
              </c:numCache>
            </c:numRef>
          </c:val>
          <c:extLst>
            <c:ext xmlns:c16="http://schemas.microsoft.com/office/drawing/2014/chart" uri="{C3380CC4-5D6E-409C-BE32-E72D297353CC}">
              <c16:uniqueId val="{00000004-65A1-4D72-873D-10006ABA521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ru-RU" b="1" dirty="0">
                <a:solidFill>
                  <a:schemeClr val="tx1"/>
                </a:solidFill>
              </a:rPr>
              <a:t>Весь</a:t>
            </a:r>
            <a:r>
              <a:rPr lang="ru-RU" b="1" baseline="0" dirty="0">
                <a:solidFill>
                  <a:schemeClr val="tx1"/>
                </a:solidFill>
              </a:rPr>
              <a:t> потенциал по Европе</a:t>
            </a:r>
            <a:r>
              <a:rPr lang="ru-RU" b="1" dirty="0">
                <a:solidFill>
                  <a:schemeClr val="tx1"/>
                </a:solidFill>
              </a:rPr>
              <a:t> в среднем 2021</a:t>
            </a:r>
            <a:endParaRPr lang="en-US" b="1" dirty="0">
              <a:solidFill>
                <a:schemeClr val="tx1"/>
              </a:solidFill>
            </a:endParaRPr>
          </a:p>
        </c:rich>
      </c:tx>
      <c:layout>
        <c:manualLayout>
          <c:xMode val="edge"/>
          <c:yMode val="edge"/>
          <c:x val="7.0361177903887157E-2"/>
          <c:y val="4.9461762552382736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ru-KZ"/>
        </a:p>
      </c:txPr>
    </c:title>
    <c:autoTitleDeleted val="0"/>
    <c:plotArea>
      <c:layout>
        <c:manualLayout>
          <c:layoutTarget val="inner"/>
          <c:xMode val="edge"/>
          <c:yMode val="edge"/>
          <c:x val="0.33451320449204774"/>
          <c:y val="0.30794899700801764"/>
          <c:w val="0.38909576025438986"/>
          <c:h val="0.6625676260449187"/>
        </c:manualLayout>
      </c:layout>
      <c:doughnutChart>
        <c:varyColors val="1"/>
        <c:ser>
          <c:idx val="0"/>
          <c:order val="0"/>
          <c:tx>
            <c:strRef>
              <c:f>Blad1!$B$1</c:f>
              <c:strCache>
                <c:ptCount val="1"/>
                <c:pt idx="0">
                  <c:v>All capacities averag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B7C-4308-95DD-310542BEB1A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B7C-4308-95DD-310542BEB1AE}"/>
              </c:ext>
            </c:extLst>
          </c:dPt>
          <c:dLbls>
            <c:dLbl>
              <c:idx val="0"/>
              <c:layout>
                <c:manualLayout>
                  <c:x val="-9.5609280605448307E-2"/>
                  <c:y val="-0.15590410844199348"/>
                </c:manualLayout>
              </c:layout>
              <c:tx>
                <c:rich>
                  <a:bodyPr rot="0" spcFirstLastPara="1" vertOverflow="ellipsis" vert="horz" wrap="square" lIns="38100" tIns="19050" rIns="38100" bIns="19050" anchor="ctr" anchorCtr="1">
                    <a:noAutofit/>
                  </a:bodyPr>
                  <a:lstStyle/>
                  <a:p>
                    <a:pPr>
                      <a:defRPr sz="2400" b="1" i="0" u="none" strike="noStrike" kern="1200" baseline="0">
                        <a:solidFill>
                          <a:schemeClr val="tx1"/>
                        </a:solidFill>
                        <a:latin typeface="+mn-lt"/>
                        <a:ea typeface="+mn-ea"/>
                        <a:cs typeface="+mn-cs"/>
                      </a:defRPr>
                    </a:pPr>
                    <a:r>
                      <a:rPr lang="en-US" sz="2400">
                        <a:solidFill>
                          <a:schemeClr val="tx1"/>
                        </a:solidFill>
                      </a:rPr>
                      <a:t>74%</a:t>
                    </a:r>
                  </a:p>
                </c:rich>
              </c:tx>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tx1"/>
                      </a:solidFill>
                      <a:latin typeface="+mn-lt"/>
                      <a:ea typeface="+mn-ea"/>
                      <a:cs typeface="+mn-cs"/>
                    </a:defRPr>
                  </a:pPr>
                  <a:endParaRPr lang="ru-KZ"/>
                </a:p>
              </c:txPr>
              <c:showLegendKey val="0"/>
              <c:showVal val="1"/>
              <c:showCatName val="0"/>
              <c:showSerName val="0"/>
              <c:showPercent val="0"/>
              <c:showBubbleSize val="0"/>
              <c:extLst>
                <c:ext xmlns:c15="http://schemas.microsoft.com/office/drawing/2012/chart" uri="{CE6537A1-D6FC-4f65-9D91-7224C49458BB}">
                  <c15:layout>
                    <c:manualLayout>
                      <c:w val="0.23388296608992196"/>
                      <c:h val="0.42104907740803754"/>
                    </c:manualLayout>
                  </c15:layout>
                  <c15:showDataLabelsRange val="0"/>
                </c:ext>
                <c:ext xmlns:c16="http://schemas.microsoft.com/office/drawing/2014/chart" uri="{C3380CC4-5D6E-409C-BE32-E72D297353CC}">
                  <c16:uniqueId val="{00000001-3B7C-4308-95DD-310542BEB1AE}"/>
                </c:ext>
              </c:extLst>
            </c:dLbl>
            <c:dLbl>
              <c:idx val="1"/>
              <c:delete val="1"/>
              <c:extLst>
                <c:ext xmlns:c15="http://schemas.microsoft.com/office/drawing/2012/chart" uri="{CE6537A1-D6FC-4f65-9D91-7224C49458BB}"/>
                <c:ext xmlns:c16="http://schemas.microsoft.com/office/drawing/2014/chart" uri="{C3380CC4-5D6E-409C-BE32-E72D297353CC}">
                  <c16:uniqueId val="{00000003-3B7C-4308-95DD-310542BEB1AE}"/>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mn-lt"/>
                    <a:ea typeface="+mn-ea"/>
                    <a:cs typeface="+mn-cs"/>
                  </a:defRPr>
                </a:pPr>
                <a:endParaRPr lang="ru-KZ"/>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Blad1!$A$2:$A$3</c:f>
              <c:strCache>
                <c:ptCount val="2"/>
                <c:pt idx="0">
                  <c:v>Kv 1</c:v>
                </c:pt>
                <c:pt idx="1">
                  <c:v>Kv 2</c:v>
                </c:pt>
              </c:strCache>
            </c:strRef>
          </c:cat>
          <c:val>
            <c:numRef>
              <c:f>Blad1!$B$2:$B$3</c:f>
              <c:numCache>
                <c:formatCode>General</c:formatCode>
                <c:ptCount val="2"/>
                <c:pt idx="0">
                  <c:v>74</c:v>
                </c:pt>
                <c:pt idx="1">
                  <c:v>26</c:v>
                </c:pt>
              </c:numCache>
            </c:numRef>
          </c:val>
          <c:extLst>
            <c:ext xmlns:c16="http://schemas.microsoft.com/office/drawing/2014/chart" uri="{C3380CC4-5D6E-409C-BE32-E72D297353CC}">
              <c16:uniqueId val="{00000004-3B7C-4308-95DD-310542BEB1AE}"/>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ru-RU" dirty="0"/>
              <a:t>Основные заявленные сильные стороны</a:t>
            </a:r>
            <a:endParaRPr lang="en-US" dirty="0"/>
          </a:p>
        </c:rich>
      </c:tx>
      <c:layout>
        <c:manualLayout>
          <c:xMode val="edge"/>
          <c:yMode val="edge"/>
          <c:x val="0.22415212608758231"/>
          <c:y val="6.6473453014168599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ru-KZ"/>
        </a:p>
      </c:txPr>
    </c:title>
    <c:autoTitleDeleted val="0"/>
    <c:plotArea>
      <c:layout>
        <c:manualLayout>
          <c:layoutTarget val="inner"/>
          <c:xMode val="edge"/>
          <c:yMode val="edge"/>
          <c:x val="2.0987617036069373E-2"/>
          <c:y val="0.34301019626564444"/>
          <c:w val="0.97963496363416369"/>
          <c:h val="0.51078874946152819"/>
        </c:manualLayout>
      </c:layout>
      <c:barChart>
        <c:barDir val="col"/>
        <c:grouping val="clustered"/>
        <c:varyColors val="0"/>
        <c:ser>
          <c:idx val="0"/>
          <c:order val="0"/>
          <c:tx>
            <c:strRef>
              <c:f>Sheet1!$B$1</c:f>
              <c:strCache>
                <c:ptCount val="1"/>
                <c:pt idx="0">
                  <c:v>Основные заявленные сильные стороны</c:v>
                </c:pt>
              </c:strCache>
            </c:strRef>
          </c:tx>
          <c:spPr>
            <a:solidFill>
              <a:schemeClr val="accent1"/>
            </a:solidFill>
            <a:ln>
              <a:noFill/>
            </a:ln>
            <a:effectLst/>
          </c:spPr>
          <c:invertIfNegative val="0"/>
          <c:dLbls>
            <c:dLbl>
              <c:idx val="0"/>
              <c:tx>
                <c:rich>
                  <a:bodyPr/>
                  <a:lstStyle/>
                  <a:p>
                    <a:fld id="{0EC92436-6CFC-4817-B6EA-1DBA2CAF0CF0}" type="VALUE">
                      <a:rPr lang="en-US" smtClean="0"/>
                      <a:pPr/>
                      <a:t>[ЗНАЧЕНИЕ]</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E1E-468A-963F-653BFD21CC36}"/>
                </c:ext>
              </c:extLst>
            </c:dLbl>
            <c:dLbl>
              <c:idx val="1"/>
              <c:tx>
                <c:rich>
                  <a:bodyPr/>
                  <a:lstStyle/>
                  <a:p>
                    <a:fld id="{58E255AD-0090-463F-897A-87F0649FEC0B}" type="VALUE">
                      <a:rPr lang="en-US" smtClean="0"/>
                      <a:pPr/>
                      <a:t>[ЗНАЧЕНИЕ]</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E1E-468A-963F-653BFD21CC36}"/>
                </c:ext>
              </c:extLst>
            </c:dLbl>
            <c:dLbl>
              <c:idx val="2"/>
              <c:tx>
                <c:rich>
                  <a:bodyPr/>
                  <a:lstStyle/>
                  <a:p>
                    <a:fld id="{8504BC3D-A9D2-4033-B359-8FCA5D05C1AF}" type="VALUE">
                      <a:rPr lang="en-US" smtClean="0"/>
                      <a:pPr/>
                      <a:t>[ЗНАЧЕНИЕ]</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E1E-468A-963F-653BFD21CC36}"/>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5 Эпиднадзор</c:v>
                </c:pt>
                <c:pt idx="1">
                  <c:v>C.4 Лаборатории</c:v>
                </c:pt>
                <c:pt idx="2">
                  <c:v>C.8 Оказание мед.услуг</c:v>
                </c:pt>
              </c:strCache>
            </c:strRef>
          </c:cat>
          <c:val>
            <c:numRef>
              <c:f>Sheet1!$B$2:$B$4</c:f>
              <c:numCache>
                <c:formatCode>General</c:formatCode>
                <c:ptCount val="3"/>
                <c:pt idx="0">
                  <c:v>86</c:v>
                </c:pt>
                <c:pt idx="1">
                  <c:v>81</c:v>
                </c:pt>
                <c:pt idx="2">
                  <c:v>80</c:v>
                </c:pt>
              </c:numCache>
            </c:numRef>
          </c:val>
          <c:extLst>
            <c:ext xmlns:c16="http://schemas.microsoft.com/office/drawing/2014/chart" uri="{C3380CC4-5D6E-409C-BE32-E72D297353CC}">
              <c16:uniqueId val="{00000003-EE1E-468A-963F-653BFD21CC36}"/>
            </c:ext>
          </c:extLst>
        </c:ser>
        <c:dLbls>
          <c:dLblPos val="outEnd"/>
          <c:showLegendKey val="0"/>
          <c:showVal val="1"/>
          <c:showCatName val="0"/>
          <c:showSerName val="0"/>
          <c:showPercent val="0"/>
          <c:showBubbleSize val="0"/>
        </c:dLbls>
        <c:gapWidth val="500"/>
        <c:axId val="489837112"/>
        <c:axId val="489833176"/>
      </c:barChart>
      <c:catAx>
        <c:axId val="489837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100" b="0" i="0" u="none" strike="noStrike" kern="1200" baseline="0">
                <a:solidFill>
                  <a:schemeClr val="tx1"/>
                </a:solidFill>
                <a:latin typeface="+mn-lt"/>
                <a:ea typeface="+mn-ea"/>
                <a:cs typeface="+mn-cs"/>
              </a:defRPr>
            </a:pPr>
            <a:endParaRPr lang="ru-KZ"/>
          </a:p>
        </c:txPr>
        <c:crossAx val="489833176"/>
        <c:crosses val="autoZero"/>
        <c:auto val="1"/>
        <c:lblAlgn val="ctr"/>
        <c:lblOffset val="100"/>
        <c:noMultiLvlLbl val="0"/>
      </c:catAx>
      <c:valAx>
        <c:axId val="489833176"/>
        <c:scaling>
          <c:orientation val="minMax"/>
          <c:max val="100"/>
        </c:scaling>
        <c:delete val="1"/>
        <c:axPos val="l"/>
        <c:numFmt formatCode="General" sourceLinked="1"/>
        <c:majorTickMark val="none"/>
        <c:minorTickMark val="none"/>
        <c:tickLblPos val="nextTo"/>
        <c:crossAx val="489837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ru-KZ"/>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ru-RU" dirty="0"/>
              <a:t>Основные</a:t>
            </a:r>
            <a:r>
              <a:rPr lang="ru-RU" baseline="0" dirty="0"/>
              <a:t> заявленные вызовы</a:t>
            </a:r>
            <a:endParaRPr lang="en-US" dirty="0"/>
          </a:p>
        </c:rich>
      </c:tx>
      <c:layout>
        <c:manualLayout>
          <c:xMode val="edge"/>
          <c:yMode val="edge"/>
          <c:x val="0.18967488519654477"/>
          <c:y val="0.11456463020684406"/>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ru-KZ"/>
        </a:p>
      </c:txPr>
    </c:title>
    <c:autoTitleDeleted val="0"/>
    <c:plotArea>
      <c:layout>
        <c:manualLayout>
          <c:layoutTarget val="inner"/>
          <c:xMode val="edge"/>
          <c:yMode val="edge"/>
          <c:x val="0"/>
          <c:y val="0.29614409373087341"/>
          <c:w val="1"/>
          <c:h val="0.57473123569115059"/>
        </c:manualLayout>
      </c:layout>
      <c:barChart>
        <c:barDir val="col"/>
        <c:grouping val="clustered"/>
        <c:varyColors val="0"/>
        <c:ser>
          <c:idx val="0"/>
          <c:order val="0"/>
          <c:tx>
            <c:strRef>
              <c:f>Sheet1!$B$1</c:f>
              <c:strCache>
                <c:ptCount val="1"/>
                <c:pt idx="0">
                  <c:v>Main challenges of the EURO region</c:v>
                </c:pt>
              </c:strCache>
            </c:strRef>
          </c:tx>
          <c:spPr>
            <a:solidFill>
              <a:schemeClr val="accent1"/>
            </a:solidFill>
            <a:ln>
              <a:noFill/>
            </a:ln>
            <a:effectLst/>
          </c:spPr>
          <c:invertIfNegative val="0"/>
          <c:dLbls>
            <c:dLbl>
              <c:idx val="0"/>
              <c:tx>
                <c:rich>
                  <a:bodyPr/>
                  <a:lstStyle/>
                  <a:p>
                    <a:fld id="{0EC92436-6CFC-4817-B6EA-1DBA2CAF0CF0}" type="VALUE">
                      <a:rPr lang="en-US" smtClean="0"/>
                      <a:pPr/>
                      <a:t>[ЗНАЧЕНИЕ]</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335-473F-89AE-3A98B20B9A50}"/>
                </c:ext>
              </c:extLst>
            </c:dLbl>
            <c:dLbl>
              <c:idx val="1"/>
              <c:tx>
                <c:rich>
                  <a:bodyPr/>
                  <a:lstStyle/>
                  <a:p>
                    <a:fld id="{58E255AD-0090-463F-897A-87F0649FEC0B}" type="VALUE">
                      <a:rPr lang="en-US" smtClean="0"/>
                      <a:pPr/>
                      <a:t>[ЗНАЧЕНИЕ]</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335-473F-89AE-3A98B20B9A50}"/>
                </c:ext>
              </c:extLst>
            </c:dLbl>
            <c:dLbl>
              <c:idx val="2"/>
              <c:tx>
                <c:rich>
                  <a:bodyPr/>
                  <a:lstStyle/>
                  <a:p>
                    <a:fld id="{8504BC3D-A9D2-4033-B359-8FCA5D05C1AF}" type="VALUE">
                      <a:rPr lang="en-US" smtClean="0"/>
                      <a:pPr/>
                      <a:t>[ЗНАЧЕНИЕ]</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335-473F-89AE-3A98B20B9A50}"/>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1 Policy, Legal and normative Instruments to implement IHR</c:v>
                </c:pt>
                <c:pt idx="1">
                  <c:v>C.11 Точки вьезда и состояние границ</c:v>
                </c:pt>
                <c:pt idx="2">
                  <c:v>C.6 Человеческие ресурсы</c:v>
                </c:pt>
              </c:strCache>
            </c:strRef>
          </c:cat>
          <c:val>
            <c:numRef>
              <c:f>Sheet1!$B$2:$B$4</c:f>
              <c:numCache>
                <c:formatCode>General</c:formatCode>
                <c:ptCount val="3"/>
                <c:pt idx="0">
                  <c:v>63</c:v>
                </c:pt>
                <c:pt idx="1">
                  <c:v>65</c:v>
                </c:pt>
                <c:pt idx="2">
                  <c:v>67</c:v>
                </c:pt>
              </c:numCache>
            </c:numRef>
          </c:val>
          <c:extLst>
            <c:ext xmlns:c16="http://schemas.microsoft.com/office/drawing/2014/chart" uri="{C3380CC4-5D6E-409C-BE32-E72D297353CC}">
              <c16:uniqueId val="{00000003-D335-473F-89AE-3A98B20B9A50}"/>
            </c:ext>
          </c:extLst>
        </c:ser>
        <c:dLbls>
          <c:dLblPos val="outEnd"/>
          <c:showLegendKey val="0"/>
          <c:showVal val="1"/>
          <c:showCatName val="0"/>
          <c:showSerName val="0"/>
          <c:showPercent val="0"/>
          <c:showBubbleSize val="0"/>
        </c:dLbls>
        <c:gapWidth val="500"/>
        <c:axId val="489837112"/>
        <c:axId val="489833176"/>
      </c:barChart>
      <c:catAx>
        <c:axId val="489837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lang="en-US" sz="1050" b="0" i="0" u="none" strike="noStrike" kern="1200" baseline="0">
                <a:solidFill>
                  <a:schemeClr val="tx1"/>
                </a:solidFill>
                <a:latin typeface="+mn-lt"/>
                <a:ea typeface="+mn-ea"/>
                <a:cs typeface="+mn-cs"/>
              </a:defRPr>
            </a:pPr>
            <a:endParaRPr lang="ru-KZ"/>
          </a:p>
        </c:txPr>
        <c:crossAx val="489833176"/>
        <c:crosses val="autoZero"/>
        <c:auto val="1"/>
        <c:lblAlgn val="ctr"/>
        <c:lblOffset val="100"/>
        <c:noMultiLvlLbl val="0"/>
      </c:catAx>
      <c:valAx>
        <c:axId val="489833176"/>
        <c:scaling>
          <c:orientation val="minMax"/>
          <c:max val="100"/>
        </c:scaling>
        <c:delete val="1"/>
        <c:axPos val="l"/>
        <c:numFmt formatCode="General" sourceLinked="1"/>
        <c:majorTickMark val="none"/>
        <c:minorTickMark val="none"/>
        <c:tickLblPos val="nextTo"/>
        <c:crossAx val="489837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ru-KZ"/>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cap="all" baseline="0">
                <a:solidFill>
                  <a:schemeClr val="tx1">
                    <a:lumMod val="65000"/>
                    <a:lumOff val="35000"/>
                  </a:schemeClr>
                </a:solidFill>
                <a:latin typeface="+mn-lt"/>
                <a:ea typeface="+mn-ea"/>
                <a:cs typeface="+mn-cs"/>
              </a:defRPr>
            </a:pPr>
            <a:r>
              <a:rPr lang="ru-RU" sz="2400" cap="none" baseline="0" dirty="0">
                <a:solidFill>
                  <a:schemeClr val="accent2">
                    <a:lumMod val="50000"/>
                  </a:schemeClr>
                </a:solidFill>
              </a:rPr>
              <a:t>Статус разработки </a:t>
            </a:r>
            <a:r>
              <a:rPr lang="en-US" sz="2400" cap="none" baseline="0" dirty="0">
                <a:solidFill>
                  <a:schemeClr val="accent2">
                    <a:lumMod val="50000"/>
                  </a:schemeClr>
                </a:solidFill>
              </a:rPr>
              <a:t>NAPHS (N=13)</a:t>
            </a:r>
          </a:p>
          <a:p>
            <a:pPr>
              <a:defRPr sz="2400"/>
            </a:pPr>
            <a:r>
              <a:rPr lang="ru-RU" sz="1600" i="1" cap="none" baseline="0" dirty="0">
                <a:solidFill>
                  <a:schemeClr val="accent2">
                    <a:lumMod val="50000"/>
                  </a:schemeClr>
                </a:solidFill>
              </a:rPr>
              <a:t>Опросники отправлены тем, кто завершил СВО</a:t>
            </a:r>
            <a:endParaRPr lang="en-US" sz="1600" i="1" cap="none" baseline="0" dirty="0">
              <a:solidFill>
                <a:schemeClr val="accent2">
                  <a:lumMod val="50000"/>
                </a:schemeClr>
              </a:solidFill>
            </a:endParaRPr>
          </a:p>
        </c:rich>
      </c:tx>
      <c:layout>
        <c:manualLayout>
          <c:xMode val="edge"/>
          <c:yMode val="edge"/>
          <c:x val="0.18057523917611573"/>
          <c:y val="2.7450979332600767E-2"/>
        </c:manualLayout>
      </c:layout>
      <c:overlay val="0"/>
      <c:spPr>
        <a:noFill/>
        <a:ln>
          <a:noFill/>
        </a:ln>
        <a:effectLst/>
      </c:spPr>
      <c:txPr>
        <a:bodyPr rot="0" spcFirstLastPara="1" vertOverflow="ellipsis" vert="horz" wrap="square" anchor="ctr" anchorCtr="1"/>
        <a:lstStyle/>
        <a:p>
          <a:pPr>
            <a:defRPr sz="2400" b="1" i="0" u="none" strike="noStrike" kern="1200" cap="all" baseline="0">
              <a:solidFill>
                <a:schemeClr val="tx1">
                  <a:lumMod val="65000"/>
                  <a:lumOff val="35000"/>
                </a:schemeClr>
              </a:solidFill>
              <a:latin typeface="+mn-lt"/>
              <a:ea typeface="+mn-ea"/>
              <a:cs typeface="+mn-cs"/>
            </a:defRPr>
          </a:pPr>
          <a:endParaRPr lang="ru-KZ"/>
        </a:p>
      </c:txPr>
    </c:title>
    <c:autoTitleDeleted val="0"/>
    <c:plotArea>
      <c:layout>
        <c:manualLayout>
          <c:layoutTarget val="inner"/>
          <c:xMode val="edge"/>
          <c:yMode val="edge"/>
          <c:x val="0.42762563045657243"/>
          <c:y val="0.32795289622131651"/>
          <c:w val="0.33815651111110318"/>
          <c:h val="0.51071574375807693"/>
        </c:manualLayout>
      </c:layout>
      <c:pieChart>
        <c:varyColors val="1"/>
        <c:ser>
          <c:idx val="0"/>
          <c:order val="0"/>
          <c:tx>
            <c:strRef>
              <c:f>'Q1.NAPHSdev'!$H$33</c:f>
              <c:strCache>
                <c:ptCount val="1"/>
                <c:pt idx="0">
                  <c:v>NAPHS Status</c:v>
                </c:pt>
              </c:strCache>
            </c:strRef>
          </c:tx>
          <c:dPt>
            <c:idx val="0"/>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427A-43DB-9CE2-AFB6F876782A}"/>
              </c:ext>
            </c:extLst>
          </c:dPt>
          <c:dPt>
            <c:idx val="1"/>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427A-43DB-9CE2-AFB6F876782A}"/>
              </c:ext>
            </c:extLst>
          </c:dPt>
          <c:dPt>
            <c:idx val="2"/>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427A-43DB-9CE2-AFB6F876782A}"/>
              </c:ext>
            </c:extLst>
          </c:dPt>
          <c:dPt>
            <c:idx val="3"/>
            <c:bubble3D val="0"/>
            <c:spPr>
              <a:solidFill>
                <a:schemeClr val="accent6">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427A-43DB-9CE2-AFB6F876782A}"/>
              </c:ext>
            </c:extLst>
          </c:dPt>
          <c:dPt>
            <c:idx val="4"/>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427A-43DB-9CE2-AFB6F876782A}"/>
              </c:ext>
            </c:extLst>
          </c:dPt>
          <c:dPt>
            <c:idx val="5"/>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427A-43DB-9CE2-AFB6F876782A}"/>
              </c:ext>
            </c:extLst>
          </c:dPt>
          <c:dLbls>
            <c:dLbl>
              <c:idx val="0"/>
              <c:layout>
                <c:manualLayout>
                  <c:x val="3.4628062482254696E-2"/>
                  <c:y val="-3.0882351749175863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D5E76855-F528-4C91-A398-5E5509B81D9F}" type="CATEGORYNAME">
                      <a:rPr lang="en-US" sz="1600" smtClean="0">
                        <a:solidFill>
                          <a:schemeClr val="accent2">
                            <a:lumMod val="50000"/>
                          </a:schemeClr>
                        </a:solidFill>
                      </a:rPr>
                      <a:pPr>
                        <a:defRPr sz="1600">
                          <a:solidFill>
                            <a:schemeClr val="accent2">
                              <a:lumMod val="50000"/>
                            </a:schemeClr>
                          </a:solidFill>
                        </a:defRPr>
                      </a:pPr>
                      <a:t>[ИМЯ КАТЕГОРИИ]</a:t>
                    </a:fld>
                    <a:r>
                      <a:rPr lang="en-US" sz="1600">
                        <a:solidFill>
                          <a:schemeClr val="accent2">
                            <a:lumMod val="50000"/>
                          </a:schemeClr>
                        </a:solidFill>
                      </a:rPr>
                      <a:t> (0)</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ru-KZ"/>
                </a:p>
              </c:txPr>
              <c:dLblPos val="bestFit"/>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27A-43DB-9CE2-AFB6F876782A}"/>
                </c:ext>
              </c:extLst>
            </c:dLbl>
            <c:dLbl>
              <c:idx val="1"/>
              <c:layout>
                <c:manualLayout>
                  <c:x val="7.9587104827117935E-2"/>
                  <c:y val="-2.2323070513264563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24EA23C9-29A6-4DCD-8CCB-9691E5C5F563}" type="CATEGORYNAME">
                      <a:rPr lang="en-US" sz="1600">
                        <a:solidFill>
                          <a:schemeClr val="accent2">
                            <a:lumMod val="50000"/>
                          </a:schemeClr>
                        </a:solidFill>
                      </a:rPr>
                      <a:pPr>
                        <a:defRPr sz="1600">
                          <a:solidFill>
                            <a:schemeClr val="accent2">
                              <a:lumMod val="50000"/>
                            </a:schemeClr>
                          </a:solidFill>
                        </a:defRPr>
                      </a:pPr>
                      <a:t>[ИМЯ КАТЕГОРИИ]</a:t>
                    </a:fld>
                    <a:r>
                      <a:rPr lang="en-US" sz="1600">
                        <a:solidFill>
                          <a:schemeClr val="accent2">
                            <a:lumMod val="50000"/>
                          </a:schemeClr>
                        </a:solidFill>
                      </a:rPr>
                      <a:t> (</a:t>
                    </a:r>
                    <a:fld id="{89C2CA31-3897-48BD-85A7-8A667233A5F1}" type="VALUE">
                      <a:rPr lang="en-US" sz="1600">
                        <a:solidFill>
                          <a:schemeClr val="accent2">
                            <a:lumMod val="50000"/>
                          </a:schemeClr>
                        </a:solidFill>
                      </a:rPr>
                      <a:pPr>
                        <a:defRPr sz="1600">
                          <a:solidFill>
                            <a:schemeClr val="accent2">
                              <a:lumMod val="50000"/>
                            </a:schemeClr>
                          </a:solidFill>
                        </a:defRPr>
                      </a:pPr>
                      <a:t>[ЗНАЧЕНИЕ]</a:t>
                    </a:fld>
                    <a:r>
                      <a:rPr lang="en-US" sz="1600">
                        <a:solidFill>
                          <a:schemeClr val="accent2">
                            <a:lumMod val="50000"/>
                          </a:schemeClr>
                        </a:solidFill>
                      </a:rPr>
                      <a:t>, </a:t>
                    </a:r>
                    <a:fld id="{5473A8D2-4DFD-4A1B-AD57-531590B7B442}" type="PERCENTAGE">
                      <a:rPr lang="en-US" sz="1600">
                        <a:solidFill>
                          <a:schemeClr val="accent2">
                            <a:lumMod val="50000"/>
                          </a:schemeClr>
                        </a:solidFill>
                      </a:rPr>
                      <a:pPr>
                        <a:defRPr sz="1600">
                          <a:solidFill>
                            <a:schemeClr val="accent2">
                              <a:lumMod val="50000"/>
                            </a:schemeClr>
                          </a:solidFill>
                        </a:defRPr>
                      </a:pPr>
                      <a:t>[ПРОЦЕНТ]</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ru-KZ"/>
                </a:p>
              </c:txPr>
              <c:dLblPos val="bestFit"/>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427A-43DB-9CE2-AFB6F876782A}"/>
                </c:ext>
              </c:extLst>
            </c:dLbl>
            <c:dLbl>
              <c:idx val="2"/>
              <c:layout>
                <c:manualLayout>
                  <c:x val="0.11442316298484177"/>
                  <c:y val="8.23529379978023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C15B3C9C-F54D-4CC2-BF91-5136963BA897}" type="CATEGORYNAME">
                      <a:rPr lang="en-US" sz="1600">
                        <a:solidFill>
                          <a:schemeClr val="accent2">
                            <a:lumMod val="50000"/>
                          </a:schemeClr>
                        </a:solidFill>
                      </a:rPr>
                      <a:pPr>
                        <a:defRPr sz="1600">
                          <a:solidFill>
                            <a:schemeClr val="accent2">
                              <a:lumMod val="50000"/>
                            </a:schemeClr>
                          </a:solidFill>
                        </a:defRPr>
                      </a:pPr>
                      <a:t>[ИМЯ КАТЕГОРИИ]</a:t>
                    </a:fld>
                    <a:r>
                      <a:rPr lang="en-US" sz="1600">
                        <a:solidFill>
                          <a:schemeClr val="accent2">
                            <a:lumMod val="50000"/>
                          </a:schemeClr>
                        </a:solidFill>
                      </a:rPr>
                      <a:t> (</a:t>
                    </a:r>
                    <a:fld id="{CBC0584E-0EBF-4C98-8482-3794D8F75478}" type="VALUE">
                      <a:rPr lang="en-US" sz="1600">
                        <a:solidFill>
                          <a:schemeClr val="accent2">
                            <a:lumMod val="50000"/>
                          </a:schemeClr>
                        </a:solidFill>
                      </a:rPr>
                      <a:pPr>
                        <a:defRPr sz="1600">
                          <a:solidFill>
                            <a:schemeClr val="accent2">
                              <a:lumMod val="50000"/>
                            </a:schemeClr>
                          </a:solidFill>
                        </a:defRPr>
                      </a:pPr>
                      <a:t>[ЗНАЧЕНИЕ]</a:t>
                    </a:fld>
                    <a:r>
                      <a:rPr lang="en-US" sz="1600">
                        <a:solidFill>
                          <a:schemeClr val="accent2">
                            <a:lumMod val="50000"/>
                          </a:schemeClr>
                        </a:solidFill>
                      </a:rPr>
                      <a:t>, </a:t>
                    </a:r>
                    <a:fld id="{BFF0852D-6FE1-438E-BBBB-A49EFEC8AD09}" type="PERCENTAGE">
                      <a:rPr lang="en-US" sz="1600">
                        <a:solidFill>
                          <a:schemeClr val="accent2">
                            <a:lumMod val="50000"/>
                          </a:schemeClr>
                        </a:solidFill>
                      </a:rPr>
                      <a:pPr>
                        <a:defRPr sz="1600">
                          <a:solidFill>
                            <a:schemeClr val="accent2">
                              <a:lumMod val="50000"/>
                            </a:schemeClr>
                          </a:solidFill>
                        </a:defRPr>
                      </a:pPr>
                      <a:t>[ПРОЦЕНТ]</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ru-KZ"/>
                </a:p>
              </c:txPr>
              <c:dLblPos val="bestFit"/>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427A-43DB-9CE2-AFB6F876782A}"/>
                </c:ext>
              </c:extLst>
            </c:dLbl>
            <c:dLbl>
              <c:idx val="3"/>
              <c:layout>
                <c:manualLayout>
                  <c:x val="2.408908694417727E-2"/>
                  <c:y val="3.7745096582326054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4336B972-9F70-4816-B5F9-B1D230949EAF}" type="CATEGORYNAME">
                      <a:rPr lang="en-US" sz="1600">
                        <a:solidFill>
                          <a:schemeClr val="accent2">
                            <a:lumMod val="50000"/>
                          </a:schemeClr>
                        </a:solidFill>
                      </a:rPr>
                      <a:pPr>
                        <a:defRPr sz="1600">
                          <a:solidFill>
                            <a:schemeClr val="accent2">
                              <a:lumMod val="50000"/>
                            </a:schemeClr>
                          </a:solidFill>
                        </a:defRPr>
                      </a:pPr>
                      <a:t>[ИМЯ КАТЕГОРИИ]</a:t>
                    </a:fld>
                    <a:endParaRPr lang="en-US" sz="1600">
                      <a:solidFill>
                        <a:schemeClr val="accent2">
                          <a:lumMod val="50000"/>
                        </a:schemeClr>
                      </a:solidFill>
                    </a:endParaRPr>
                  </a:p>
                  <a:p>
                    <a:pPr>
                      <a:defRPr sz="1600">
                        <a:solidFill>
                          <a:schemeClr val="accent2">
                            <a:lumMod val="50000"/>
                          </a:schemeClr>
                        </a:solidFill>
                      </a:defRPr>
                    </a:pPr>
                    <a:r>
                      <a:rPr lang="en-US" sz="1600">
                        <a:solidFill>
                          <a:schemeClr val="accent2">
                            <a:lumMod val="50000"/>
                          </a:schemeClr>
                        </a:solidFill>
                      </a:rPr>
                      <a:t> (</a:t>
                    </a:r>
                    <a:fld id="{462FC019-496D-4807-8FC6-AD61707FAF01}" type="VALUE">
                      <a:rPr lang="en-US" sz="1600">
                        <a:solidFill>
                          <a:schemeClr val="accent2">
                            <a:lumMod val="50000"/>
                          </a:schemeClr>
                        </a:solidFill>
                      </a:rPr>
                      <a:pPr>
                        <a:defRPr sz="1600">
                          <a:solidFill>
                            <a:schemeClr val="accent2">
                              <a:lumMod val="50000"/>
                            </a:schemeClr>
                          </a:solidFill>
                        </a:defRPr>
                      </a:pPr>
                      <a:t>[ЗНАЧЕНИЕ]</a:t>
                    </a:fld>
                    <a:r>
                      <a:rPr lang="en-US" sz="1600">
                        <a:solidFill>
                          <a:schemeClr val="accent2">
                            <a:lumMod val="50000"/>
                          </a:schemeClr>
                        </a:solidFill>
                      </a:rPr>
                      <a:t>, </a:t>
                    </a:r>
                    <a:fld id="{A056BD9E-BE9A-42D1-ACED-E6A8BD5A378E}" type="PERCENTAGE">
                      <a:rPr lang="en-US" sz="1600">
                        <a:solidFill>
                          <a:schemeClr val="accent2">
                            <a:lumMod val="50000"/>
                          </a:schemeClr>
                        </a:solidFill>
                      </a:rPr>
                      <a:pPr>
                        <a:defRPr sz="1600">
                          <a:solidFill>
                            <a:schemeClr val="accent2">
                              <a:lumMod val="50000"/>
                            </a:schemeClr>
                          </a:solidFill>
                        </a:defRPr>
                      </a:pPr>
                      <a:t>[ПРОЦЕНТ]</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ru-KZ"/>
                </a:p>
              </c:txPr>
              <c:dLblPos val="bestFit"/>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427A-43DB-9CE2-AFB6F876782A}"/>
                </c:ext>
              </c:extLst>
            </c:dLbl>
            <c:dLbl>
              <c:idx val="4"/>
              <c:layout>
                <c:manualLayout>
                  <c:x val="-5.4200445624398734E-2"/>
                  <c:y val="2.4019606916025608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67DE8F5C-580F-471A-8754-E04FB01469AD}" type="CATEGORYNAME">
                      <a:rPr lang="en-US" sz="1600">
                        <a:solidFill>
                          <a:schemeClr val="accent2">
                            <a:lumMod val="50000"/>
                          </a:schemeClr>
                        </a:solidFill>
                      </a:rPr>
                      <a:pPr>
                        <a:defRPr sz="1600">
                          <a:solidFill>
                            <a:schemeClr val="accent2">
                              <a:lumMod val="50000"/>
                            </a:schemeClr>
                          </a:solidFill>
                        </a:defRPr>
                      </a:pPr>
                      <a:t>[ИМЯ КАТЕГОРИИ]</a:t>
                    </a:fld>
                    <a:r>
                      <a:rPr lang="en-US" sz="1600">
                        <a:solidFill>
                          <a:schemeClr val="accent2">
                            <a:lumMod val="50000"/>
                          </a:schemeClr>
                        </a:solidFill>
                      </a:rPr>
                      <a:t> (</a:t>
                    </a:r>
                    <a:fld id="{A5952B4F-1330-48DD-93C2-CEFF563F852D}" type="VALUE">
                      <a:rPr lang="en-US" sz="1600">
                        <a:solidFill>
                          <a:schemeClr val="accent2">
                            <a:lumMod val="50000"/>
                          </a:schemeClr>
                        </a:solidFill>
                      </a:rPr>
                      <a:pPr>
                        <a:defRPr sz="1600">
                          <a:solidFill>
                            <a:schemeClr val="accent2">
                              <a:lumMod val="50000"/>
                            </a:schemeClr>
                          </a:solidFill>
                        </a:defRPr>
                      </a:pPr>
                      <a:t>[ЗНАЧЕНИЕ]</a:t>
                    </a:fld>
                    <a:r>
                      <a:rPr lang="en-US" sz="1600">
                        <a:solidFill>
                          <a:schemeClr val="accent2">
                            <a:lumMod val="50000"/>
                          </a:schemeClr>
                        </a:solidFill>
                      </a:rPr>
                      <a:t>, </a:t>
                    </a:r>
                    <a:fld id="{43DEA853-6B98-41CD-89A3-C9ED4ED60BA0}" type="PERCENTAGE">
                      <a:rPr lang="en-US" sz="1600">
                        <a:solidFill>
                          <a:schemeClr val="accent2">
                            <a:lumMod val="50000"/>
                          </a:schemeClr>
                        </a:solidFill>
                      </a:rPr>
                      <a:pPr>
                        <a:defRPr sz="1600">
                          <a:solidFill>
                            <a:schemeClr val="accent2">
                              <a:lumMod val="50000"/>
                            </a:schemeClr>
                          </a:solidFill>
                        </a:defRPr>
                      </a:pPr>
                      <a:t>[ПРОЦЕНТ]</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ru-KZ"/>
                </a:p>
              </c:txPr>
              <c:dLblPos val="bestFit"/>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9-427A-43DB-9CE2-AFB6F876782A}"/>
                </c:ext>
              </c:extLst>
            </c:dLbl>
            <c:dLbl>
              <c:idx val="5"/>
              <c:layout>
                <c:manualLayout>
                  <c:x val="-0.11592873091885285"/>
                  <c:y val="3.0882351749175894E-2"/>
                </c:manualLayout>
              </c:layout>
              <c:tx>
                <c:rich>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fld id="{4FAFB749-3C23-43DC-A718-92AD183112F3}" type="CATEGORYNAME">
                      <a:rPr lang="en-US" sz="1600">
                        <a:solidFill>
                          <a:schemeClr val="accent2">
                            <a:lumMod val="50000"/>
                          </a:schemeClr>
                        </a:solidFill>
                      </a:rPr>
                      <a:pPr>
                        <a:defRPr sz="1600">
                          <a:solidFill>
                            <a:schemeClr val="accent2">
                              <a:lumMod val="50000"/>
                            </a:schemeClr>
                          </a:solidFill>
                        </a:defRPr>
                      </a:pPr>
                      <a:t>[ИМЯ КАТЕГОРИИ]</a:t>
                    </a:fld>
                    <a:r>
                      <a:rPr lang="en-US" sz="1600">
                        <a:solidFill>
                          <a:schemeClr val="accent2">
                            <a:lumMod val="50000"/>
                          </a:schemeClr>
                        </a:solidFill>
                      </a:rPr>
                      <a:t> NAPHS developed (</a:t>
                    </a:r>
                    <a:fld id="{1334AE1F-CC47-4680-8861-041031351F0F}" type="VALUE">
                      <a:rPr lang="en-US" sz="1600">
                        <a:solidFill>
                          <a:schemeClr val="accent2">
                            <a:lumMod val="50000"/>
                          </a:schemeClr>
                        </a:solidFill>
                      </a:rPr>
                      <a:pPr>
                        <a:defRPr sz="1600">
                          <a:solidFill>
                            <a:schemeClr val="accent2">
                              <a:lumMod val="50000"/>
                            </a:schemeClr>
                          </a:solidFill>
                        </a:defRPr>
                      </a:pPr>
                      <a:t>[ЗНАЧЕНИЕ]</a:t>
                    </a:fld>
                    <a:r>
                      <a:rPr lang="en-US" sz="1600">
                        <a:solidFill>
                          <a:schemeClr val="accent2">
                            <a:lumMod val="50000"/>
                          </a:schemeClr>
                        </a:solidFill>
                      </a:rPr>
                      <a:t>, </a:t>
                    </a:r>
                    <a:fld id="{E03516E7-6E41-49B6-8882-6E9CDBFF0CC0}" type="PERCENTAGE">
                      <a:rPr lang="en-US" sz="1600">
                        <a:solidFill>
                          <a:schemeClr val="accent2">
                            <a:lumMod val="50000"/>
                          </a:schemeClr>
                        </a:solidFill>
                      </a:rPr>
                      <a:pPr>
                        <a:defRPr sz="1600">
                          <a:solidFill>
                            <a:schemeClr val="accent2">
                              <a:lumMod val="50000"/>
                            </a:schemeClr>
                          </a:solidFill>
                        </a:defRPr>
                      </a:pPr>
                      <a:t>[ПРОЦЕНТ]</a:t>
                    </a:fld>
                    <a:r>
                      <a:rPr lang="en-US" sz="1600">
                        <a:solidFill>
                          <a:schemeClr val="accent2">
                            <a:lumMod val="50000"/>
                          </a:schemeClr>
                        </a:solidFill>
                      </a:rPr>
                      <a:t>)</a:t>
                    </a:r>
                  </a:p>
                </c:rich>
              </c:tx>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ru-KZ"/>
                </a:p>
              </c:txPr>
              <c:dLblPos val="bestFit"/>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B-427A-43DB-9CE2-AFB6F876782A}"/>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spc="0" baseline="0">
                    <a:solidFill>
                      <a:schemeClr val="accent2">
                        <a:lumMod val="50000"/>
                      </a:schemeClr>
                    </a:solidFill>
                    <a:latin typeface="+mn-lt"/>
                    <a:ea typeface="+mn-ea"/>
                    <a:cs typeface="+mn-cs"/>
                  </a:defRPr>
                </a:pPr>
                <a:endParaRPr lang="ru-KZ"/>
              </a:p>
            </c:txPr>
            <c:dLblPos val="outEnd"/>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Q1.NAPHSdev'!$G$34:$G$39</c:f>
              <c:strCache>
                <c:ptCount val="6"/>
                <c:pt idx="0">
                  <c:v>Completed, Actions Implemented</c:v>
                </c:pt>
                <c:pt idx="1">
                  <c:v>Completed, not implemented</c:v>
                </c:pt>
                <c:pt idx="2">
                  <c:v>Planned to be developed</c:v>
                </c:pt>
                <c:pt idx="3">
                  <c:v>In development</c:v>
                </c:pt>
                <c:pt idx="4">
                  <c:v>Others</c:v>
                </c:pt>
                <c:pt idx="5">
                  <c:v>No</c:v>
                </c:pt>
              </c:strCache>
            </c:strRef>
          </c:cat>
          <c:val>
            <c:numRef>
              <c:f>'Q1.NAPHSdev'!$H$34:$H$39</c:f>
              <c:numCache>
                <c:formatCode>General</c:formatCode>
                <c:ptCount val="6"/>
                <c:pt idx="0">
                  <c:v>0</c:v>
                </c:pt>
                <c:pt idx="1">
                  <c:v>3</c:v>
                </c:pt>
                <c:pt idx="2">
                  <c:v>2</c:v>
                </c:pt>
                <c:pt idx="3">
                  <c:v>3</c:v>
                </c:pt>
                <c:pt idx="4">
                  <c:v>3</c:v>
                </c:pt>
                <c:pt idx="5">
                  <c:v>2</c:v>
                </c:pt>
              </c:numCache>
            </c:numRef>
          </c:val>
          <c:extLst>
            <c:ext xmlns:c16="http://schemas.microsoft.com/office/drawing/2014/chart" uri="{C3380CC4-5D6E-409C-BE32-E72D297353CC}">
              <c16:uniqueId val="{0000000C-427A-43DB-9CE2-AFB6F876782A}"/>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0" i="0" u="none" strike="noStrike" kern="1200" spc="0" baseline="0">
                <a:solidFill>
                  <a:srgbClr val="002060"/>
                </a:solidFill>
                <a:latin typeface="+mn-lt"/>
                <a:ea typeface="+mn-ea"/>
                <a:cs typeface="+mn-cs"/>
              </a:defRPr>
            </a:pPr>
            <a:r>
              <a:rPr lang="ru-RU" sz="2000" b="1" dirty="0">
                <a:solidFill>
                  <a:srgbClr val="002060"/>
                </a:solidFill>
              </a:rPr>
              <a:t>Факторы, способствующие развитию </a:t>
            </a:r>
            <a:r>
              <a:rPr lang="en-PH" sz="2000" b="1" dirty="0">
                <a:solidFill>
                  <a:srgbClr val="002060"/>
                </a:solidFill>
              </a:rPr>
              <a:t>NAPHS</a:t>
            </a:r>
            <a:r>
              <a:rPr lang="ru-RU" sz="2000" b="1" dirty="0">
                <a:solidFill>
                  <a:srgbClr val="002060"/>
                </a:solidFill>
              </a:rPr>
              <a:t> </a:t>
            </a:r>
            <a:r>
              <a:rPr lang="en-PH" sz="2000" b="1" baseline="0" dirty="0">
                <a:solidFill>
                  <a:srgbClr val="002060"/>
                </a:solidFill>
              </a:rPr>
              <a:t>(N=8)</a:t>
            </a:r>
            <a:endParaRPr lang="en-PH" sz="2000" b="1" dirty="0">
              <a:solidFill>
                <a:srgbClr val="002060"/>
              </a:solidFill>
            </a:endParaRPr>
          </a:p>
        </c:rich>
      </c:tx>
      <c:layout>
        <c:manualLayout>
          <c:xMode val="edge"/>
          <c:yMode val="edge"/>
          <c:x val="0.25093344838249948"/>
          <c:y val="5.63851190596757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002060"/>
              </a:solidFill>
              <a:latin typeface="+mn-lt"/>
              <a:ea typeface="+mn-ea"/>
              <a:cs typeface="+mn-cs"/>
            </a:defRPr>
          </a:pPr>
          <a:endParaRPr lang="ru-KZ"/>
        </a:p>
      </c:txPr>
    </c:title>
    <c:autoTitleDeleted val="0"/>
    <c:plotArea>
      <c:layout>
        <c:manualLayout>
          <c:layoutTarget val="inner"/>
          <c:xMode val="edge"/>
          <c:yMode val="edge"/>
          <c:x val="5.7105366942880861E-2"/>
          <c:y val="0.19416793180509664"/>
          <c:w val="0.92713011803463585"/>
          <c:h val="0.49502756632410455"/>
        </c:manualLayout>
      </c:layout>
      <c:barChart>
        <c:barDir val="col"/>
        <c:grouping val="stacked"/>
        <c:varyColors val="0"/>
        <c:ser>
          <c:idx val="0"/>
          <c:order val="0"/>
          <c:tx>
            <c:strRef>
              <c:f>'Q2.enabling analysis'!$A$13</c:f>
              <c:strCache>
                <c:ptCount val="1"/>
                <c:pt idx="0">
                  <c:v>Согласен</c:v>
                </c:pt>
              </c:strCache>
            </c:strRef>
          </c:tx>
          <c:spPr>
            <a:solidFill>
              <a:srgbClr val="00B050"/>
            </a:solidFill>
            <a:ln>
              <a:noFill/>
            </a:ln>
            <a:effectLst/>
          </c:spPr>
          <c:invertIfNegative val="0"/>
          <c:cat>
            <c:strRef>
              <c:f>'Q2.enabling analysis'!$B$12:$K$12</c:f>
              <c:strCache>
                <c:ptCount val="8"/>
                <c:pt idx="0">
                  <c:v>Политическая воля/лидерство</c:v>
                </c:pt>
                <c:pt idx="1">
                  <c:v>Управление</c:v>
                </c:pt>
                <c:pt idx="2">
                  <c:v>Финансовые ресурсы</c:v>
                </c:pt>
                <c:pt idx="3">
                  <c:v>Человеческие ресурсы</c:v>
                </c:pt>
                <c:pt idx="4">
                  <c:v>Вовлечение стейкхолдеров</c:v>
                </c:pt>
                <c:pt idx="5">
                  <c:v>Технические навыки</c:v>
                </c:pt>
                <c:pt idx="6">
                  <c:v>Институциональная политика</c:v>
                </c:pt>
                <c:pt idx="7">
                  <c:v>Интеграция систем здравоохранения</c:v>
                </c:pt>
              </c:strCache>
            </c:strRef>
          </c:cat>
          <c:val>
            <c:numRef>
              <c:f>'Q2.enabling analysis'!$B$13:$K$13</c:f>
              <c:numCache>
                <c:formatCode>General</c:formatCode>
                <c:ptCount val="8"/>
                <c:pt idx="0">
                  <c:v>2</c:v>
                </c:pt>
                <c:pt idx="1">
                  <c:v>1</c:v>
                </c:pt>
                <c:pt idx="2">
                  <c:v>1</c:v>
                </c:pt>
                <c:pt idx="3">
                  <c:v>2</c:v>
                </c:pt>
                <c:pt idx="4">
                  <c:v>1</c:v>
                </c:pt>
                <c:pt idx="5">
                  <c:v>3</c:v>
                </c:pt>
                <c:pt idx="6">
                  <c:v>2</c:v>
                </c:pt>
                <c:pt idx="7">
                  <c:v>2</c:v>
                </c:pt>
              </c:numCache>
            </c:numRef>
          </c:val>
          <c:extLst>
            <c:ext xmlns:c16="http://schemas.microsoft.com/office/drawing/2014/chart" uri="{C3380CC4-5D6E-409C-BE32-E72D297353CC}">
              <c16:uniqueId val="{00000000-07F9-417E-BDC4-8174C66D2FF0}"/>
            </c:ext>
          </c:extLst>
        </c:ser>
        <c:ser>
          <c:idx val="1"/>
          <c:order val="1"/>
          <c:tx>
            <c:strRef>
              <c:f>'Q2.enabling analysis'!$A$14</c:f>
              <c:strCache>
                <c:ptCount val="1"/>
                <c:pt idx="0">
                  <c:v>Частично согласен</c:v>
                </c:pt>
              </c:strCache>
            </c:strRef>
          </c:tx>
          <c:spPr>
            <a:solidFill>
              <a:srgbClr val="92D050"/>
            </a:solidFill>
            <a:ln>
              <a:noFill/>
            </a:ln>
            <a:effectLst/>
          </c:spPr>
          <c:invertIfNegative val="0"/>
          <c:cat>
            <c:strRef>
              <c:f>'Q2.enabling analysis'!$B$12:$K$12</c:f>
              <c:strCache>
                <c:ptCount val="8"/>
                <c:pt idx="0">
                  <c:v>Политическая воля/лидерство</c:v>
                </c:pt>
                <c:pt idx="1">
                  <c:v>Управление</c:v>
                </c:pt>
                <c:pt idx="2">
                  <c:v>Финансовые ресурсы</c:v>
                </c:pt>
                <c:pt idx="3">
                  <c:v>Человеческие ресурсы</c:v>
                </c:pt>
                <c:pt idx="4">
                  <c:v>Вовлечение стейкхолдеров</c:v>
                </c:pt>
                <c:pt idx="5">
                  <c:v>Технические навыки</c:v>
                </c:pt>
                <c:pt idx="6">
                  <c:v>Институциональная политика</c:v>
                </c:pt>
                <c:pt idx="7">
                  <c:v>Интеграция систем здравоохранения</c:v>
                </c:pt>
              </c:strCache>
            </c:strRef>
          </c:cat>
          <c:val>
            <c:numRef>
              <c:f>'Q2.enabling analysis'!$B$14:$K$14</c:f>
              <c:numCache>
                <c:formatCode>General</c:formatCode>
                <c:ptCount val="8"/>
                <c:pt idx="0">
                  <c:v>4</c:v>
                </c:pt>
                <c:pt idx="1">
                  <c:v>4</c:v>
                </c:pt>
                <c:pt idx="2">
                  <c:v>1</c:v>
                </c:pt>
                <c:pt idx="3">
                  <c:v>0</c:v>
                </c:pt>
                <c:pt idx="4">
                  <c:v>4</c:v>
                </c:pt>
                <c:pt idx="5">
                  <c:v>2</c:v>
                </c:pt>
                <c:pt idx="6">
                  <c:v>3</c:v>
                </c:pt>
                <c:pt idx="7">
                  <c:v>0</c:v>
                </c:pt>
              </c:numCache>
            </c:numRef>
          </c:val>
          <c:extLst>
            <c:ext xmlns:c16="http://schemas.microsoft.com/office/drawing/2014/chart" uri="{C3380CC4-5D6E-409C-BE32-E72D297353CC}">
              <c16:uniqueId val="{00000001-07F9-417E-BDC4-8174C66D2FF0}"/>
            </c:ext>
          </c:extLst>
        </c:ser>
        <c:ser>
          <c:idx val="2"/>
          <c:order val="2"/>
          <c:tx>
            <c:strRef>
              <c:f>'Q2.enabling analysis'!$A$15</c:f>
              <c:strCache>
                <c:ptCount val="1"/>
                <c:pt idx="0">
                  <c:v>Нейтрально</c:v>
                </c:pt>
              </c:strCache>
            </c:strRef>
          </c:tx>
          <c:spPr>
            <a:solidFill>
              <a:schemeClr val="bg1">
                <a:lumMod val="90000"/>
              </a:schemeClr>
            </a:solidFill>
            <a:ln>
              <a:noFill/>
            </a:ln>
            <a:effectLst/>
          </c:spPr>
          <c:invertIfNegative val="0"/>
          <c:cat>
            <c:strRef>
              <c:f>'Q2.enabling analysis'!$B$12:$K$12</c:f>
              <c:strCache>
                <c:ptCount val="8"/>
                <c:pt idx="0">
                  <c:v>Политическая воля/лидерство</c:v>
                </c:pt>
                <c:pt idx="1">
                  <c:v>Управление</c:v>
                </c:pt>
                <c:pt idx="2">
                  <c:v>Финансовые ресурсы</c:v>
                </c:pt>
                <c:pt idx="3">
                  <c:v>Человеческие ресурсы</c:v>
                </c:pt>
                <c:pt idx="4">
                  <c:v>Вовлечение стейкхолдеров</c:v>
                </c:pt>
                <c:pt idx="5">
                  <c:v>Технические навыки</c:v>
                </c:pt>
                <c:pt idx="6">
                  <c:v>Институциональная политика</c:v>
                </c:pt>
                <c:pt idx="7">
                  <c:v>Интеграция систем здравоохранения</c:v>
                </c:pt>
              </c:strCache>
            </c:strRef>
          </c:cat>
          <c:val>
            <c:numRef>
              <c:f>'Q2.enabling analysis'!$B$15:$K$15</c:f>
              <c:numCache>
                <c:formatCode>General</c:formatCode>
                <c:ptCount val="8"/>
                <c:pt idx="0">
                  <c:v>2</c:v>
                </c:pt>
                <c:pt idx="1">
                  <c:v>3</c:v>
                </c:pt>
                <c:pt idx="2">
                  <c:v>2</c:v>
                </c:pt>
                <c:pt idx="3">
                  <c:v>4</c:v>
                </c:pt>
                <c:pt idx="4">
                  <c:v>2</c:v>
                </c:pt>
                <c:pt idx="5">
                  <c:v>2</c:v>
                </c:pt>
                <c:pt idx="6">
                  <c:v>3</c:v>
                </c:pt>
                <c:pt idx="7">
                  <c:v>4</c:v>
                </c:pt>
              </c:numCache>
            </c:numRef>
          </c:val>
          <c:extLst>
            <c:ext xmlns:c16="http://schemas.microsoft.com/office/drawing/2014/chart" uri="{C3380CC4-5D6E-409C-BE32-E72D297353CC}">
              <c16:uniqueId val="{00000002-07F9-417E-BDC4-8174C66D2FF0}"/>
            </c:ext>
          </c:extLst>
        </c:ser>
        <c:ser>
          <c:idx val="3"/>
          <c:order val="3"/>
          <c:tx>
            <c:strRef>
              <c:f>'Q2.enabling analysis'!$A$16</c:f>
              <c:strCache>
                <c:ptCount val="1"/>
                <c:pt idx="0">
                  <c:v>Частично несогласен</c:v>
                </c:pt>
              </c:strCache>
            </c:strRef>
          </c:tx>
          <c:spPr>
            <a:solidFill>
              <a:srgbClr val="FFC000"/>
            </a:solidFill>
            <a:ln>
              <a:noFill/>
            </a:ln>
            <a:effectLst/>
          </c:spPr>
          <c:invertIfNegative val="0"/>
          <c:cat>
            <c:strRef>
              <c:f>'Q2.enabling analysis'!$B$12:$K$12</c:f>
              <c:strCache>
                <c:ptCount val="8"/>
                <c:pt idx="0">
                  <c:v>Политическая воля/лидерство</c:v>
                </c:pt>
                <c:pt idx="1">
                  <c:v>Управление</c:v>
                </c:pt>
                <c:pt idx="2">
                  <c:v>Финансовые ресурсы</c:v>
                </c:pt>
                <c:pt idx="3">
                  <c:v>Человеческие ресурсы</c:v>
                </c:pt>
                <c:pt idx="4">
                  <c:v>Вовлечение стейкхолдеров</c:v>
                </c:pt>
                <c:pt idx="5">
                  <c:v>Технические навыки</c:v>
                </c:pt>
                <c:pt idx="6">
                  <c:v>Институциональная политика</c:v>
                </c:pt>
                <c:pt idx="7">
                  <c:v>Интеграция систем здравоохранения</c:v>
                </c:pt>
              </c:strCache>
            </c:strRef>
          </c:cat>
          <c:val>
            <c:numRef>
              <c:f>'Q2.enabling analysis'!$B$16:$K$16</c:f>
              <c:numCache>
                <c:formatCode>General</c:formatCode>
                <c:ptCount val="8"/>
                <c:pt idx="0">
                  <c:v>0</c:v>
                </c:pt>
                <c:pt idx="1">
                  <c:v>0</c:v>
                </c:pt>
                <c:pt idx="2">
                  <c:v>3</c:v>
                </c:pt>
                <c:pt idx="3">
                  <c:v>1</c:v>
                </c:pt>
                <c:pt idx="4">
                  <c:v>1</c:v>
                </c:pt>
                <c:pt idx="5">
                  <c:v>1</c:v>
                </c:pt>
                <c:pt idx="6">
                  <c:v>0</c:v>
                </c:pt>
                <c:pt idx="7">
                  <c:v>2</c:v>
                </c:pt>
              </c:numCache>
            </c:numRef>
          </c:val>
          <c:extLst>
            <c:ext xmlns:c16="http://schemas.microsoft.com/office/drawing/2014/chart" uri="{C3380CC4-5D6E-409C-BE32-E72D297353CC}">
              <c16:uniqueId val="{00000003-07F9-417E-BDC4-8174C66D2FF0}"/>
            </c:ext>
          </c:extLst>
        </c:ser>
        <c:ser>
          <c:idx val="4"/>
          <c:order val="4"/>
          <c:tx>
            <c:strRef>
              <c:f>'Q2.enabling analysis'!$A$17</c:f>
              <c:strCache>
                <c:ptCount val="1"/>
                <c:pt idx="0">
                  <c:v>Несогласен</c:v>
                </c:pt>
              </c:strCache>
            </c:strRef>
          </c:tx>
          <c:spPr>
            <a:solidFill>
              <a:srgbClr val="FF0000"/>
            </a:solidFill>
            <a:ln>
              <a:noFill/>
            </a:ln>
            <a:effectLst/>
          </c:spPr>
          <c:invertIfNegative val="0"/>
          <c:cat>
            <c:strRef>
              <c:f>'Q2.enabling analysis'!$B$12:$K$12</c:f>
              <c:strCache>
                <c:ptCount val="8"/>
                <c:pt idx="0">
                  <c:v>Политическая воля/лидерство</c:v>
                </c:pt>
                <c:pt idx="1">
                  <c:v>Управление</c:v>
                </c:pt>
                <c:pt idx="2">
                  <c:v>Финансовые ресурсы</c:v>
                </c:pt>
                <c:pt idx="3">
                  <c:v>Человеческие ресурсы</c:v>
                </c:pt>
                <c:pt idx="4">
                  <c:v>Вовлечение стейкхолдеров</c:v>
                </c:pt>
                <c:pt idx="5">
                  <c:v>Технические навыки</c:v>
                </c:pt>
                <c:pt idx="6">
                  <c:v>Институциональная политика</c:v>
                </c:pt>
                <c:pt idx="7">
                  <c:v>Интеграция систем здравоохранения</c:v>
                </c:pt>
              </c:strCache>
            </c:strRef>
          </c:cat>
          <c:val>
            <c:numRef>
              <c:f>'Q2.enabling analysis'!$B$17:$K$17</c:f>
              <c:numCache>
                <c:formatCode>General</c:formatCode>
                <c:ptCount val="8"/>
                <c:pt idx="0">
                  <c:v>0</c:v>
                </c:pt>
                <c:pt idx="1">
                  <c:v>0</c:v>
                </c:pt>
                <c:pt idx="2">
                  <c:v>1</c:v>
                </c:pt>
                <c:pt idx="3">
                  <c:v>1</c:v>
                </c:pt>
                <c:pt idx="4">
                  <c:v>0</c:v>
                </c:pt>
                <c:pt idx="5">
                  <c:v>0</c:v>
                </c:pt>
                <c:pt idx="6">
                  <c:v>0</c:v>
                </c:pt>
                <c:pt idx="7">
                  <c:v>0</c:v>
                </c:pt>
              </c:numCache>
            </c:numRef>
          </c:val>
          <c:extLst>
            <c:ext xmlns:c16="http://schemas.microsoft.com/office/drawing/2014/chart" uri="{C3380CC4-5D6E-409C-BE32-E72D297353CC}">
              <c16:uniqueId val="{00000004-07F9-417E-BDC4-8174C66D2FF0}"/>
            </c:ext>
          </c:extLst>
        </c:ser>
        <c:dLbls>
          <c:showLegendKey val="0"/>
          <c:showVal val="0"/>
          <c:showCatName val="0"/>
          <c:showSerName val="0"/>
          <c:showPercent val="0"/>
          <c:showBubbleSize val="0"/>
        </c:dLbls>
        <c:gapWidth val="150"/>
        <c:overlap val="100"/>
        <c:axId val="2123985872"/>
        <c:axId val="2123964240"/>
      </c:barChart>
      <c:catAx>
        <c:axId val="2123985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rgbClr val="002060"/>
                </a:solidFill>
                <a:latin typeface="+mn-lt"/>
                <a:ea typeface="+mn-ea"/>
                <a:cs typeface="+mn-cs"/>
              </a:defRPr>
            </a:pPr>
            <a:endParaRPr lang="ru-KZ"/>
          </a:p>
        </c:txPr>
        <c:crossAx val="2123964240"/>
        <c:crosses val="autoZero"/>
        <c:auto val="1"/>
        <c:lblAlgn val="ctr"/>
        <c:lblOffset val="100"/>
        <c:noMultiLvlLbl val="0"/>
      </c:catAx>
      <c:valAx>
        <c:axId val="2123964240"/>
        <c:scaling>
          <c:orientation val="minMax"/>
          <c:max val="8"/>
        </c:scaling>
        <c:delete val="0"/>
        <c:axPos val="l"/>
        <c:title>
          <c:tx>
            <c:rich>
              <a:bodyPr rot="0" spcFirstLastPara="1" vertOverflow="ellipsis" wrap="square" anchor="ctr" anchorCtr="1"/>
              <a:lstStyle/>
              <a:p>
                <a:pPr>
                  <a:defRPr sz="1200" b="0" i="0" u="none" strike="noStrike" kern="1200" baseline="0">
                    <a:solidFill>
                      <a:srgbClr val="002060"/>
                    </a:solidFill>
                    <a:latin typeface="+mn-lt"/>
                    <a:ea typeface="+mn-ea"/>
                    <a:cs typeface="+mn-cs"/>
                  </a:defRPr>
                </a:pPr>
                <a:r>
                  <a:rPr lang="ru-RU" sz="1200" dirty="0">
                    <a:solidFill>
                      <a:srgbClr val="002060"/>
                    </a:solidFill>
                  </a:rPr>
                  <a:t>Кол-во</a:t>
                </a:r>
                <a:r>
                  <a:rPr lang="ru-RU" sz="1200" baseline="0" dirty="0">
                    <a:solidFill>
                      <a:srgbClr val="002060"/>
                    </a:solidFill>
                  </a:rPr>
                  <a:t> ответов</a:t>
                </a:r>
                <a:endParaRPr lang="en-PH" sz="1200" dirty="0">
                  <a:solidFill>
                    <a:srgbClr val="002060"/>
                  </a:solidFill>
                </a:endParaRPr>
              </a:p>
            </c:rich>
          </c:tx>
          <c:layout>
            <c:manualLayout>
              <c:xMode val="edge"/>
              <c:yMode val="edge"/>
              <c:x val="1.1091991890324643E-2"/>
              <c:y val="0.12670538860795261"/>
            </c:manualLayout>
          </c:layout>
          <c:overlay val="0"/>
          <c:spPr>
            <a:noFill/>
            <a:ln>
              <a:noFill/>
            </a:ln>
            <a:effectLst/>
          </c:spPr>
          <c:txPr>
            <a:bodyPr rot="0" spcFirstLastPara="1" vertOverflow="ellipsis" wrap="square" anchor="ctr" anchorCtr="1"/>
            <a:lstStyle/>
            <a:p>
              <a:pPr>
                <a:defRPr sz="1200" b="0" i="0" u="none" strike="noStrike" kern="1200" baseline="0">
                  <a:solidFill>
                    <a:srgbClr val="002060"/>
                  </a:solidFill>
                  <a:latin typeface="+mn-lt"/>
                  <a:ea typeface="+mn-ea"/>
                  <a:cs typeface="+mn-cs"/>
                </a:defRPr>
              </a:pPr>
              <a:endParaRPr lang="ru-KZ"/>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rgbClr val="002060"/>
                </a:solidFill>
                <a:latin typeface="+mn-lt"/>
                <a:ea typeface="+mn-ea"/>
                <a:cs typeface="+mn-cs"/>
              </a:defRPr>
            </a:pPr>
            <a:endParaRPr lang="ru-KZ"/>
          </a:p>
        </c:txPr>
        <c:crossAx val="2123985872"/>
        <c:crosses val="autoZero"/>
        <c:crossBetween val="between"/>
      </c:valAx>
      <c:spPr>
        <a:noFill/>
        <a:ln>
          <a:noFill/>
        </a:ln>
        <a:effectLst/>
      </c:spPr>
    </c:plotArea>
    <c:legend>
      <c:legendPos val="b"/>
      <c:layout>
        <c:manualLayout>
          <c:xMode val="edge"/>
          <c:yMode val="edge"/>
          <c:x val="0.16735480653167381"/>
          <c:y val="0.91531851563091238"/>
          <c:w val="0.74535057888496559"/>
          <c:h val="8.4429684156977436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002060"/>
              </a:solidFill>
              <a:latin typeface="+mn-lt"/>
              <a:ea typeface="+mn-ea"/>
              <a:cs typeface="+mn-cs"/>
            </a:defRPr>
          </a:pPr>
          <a:endParaRPr lang="ru-K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15_06-20'!$B$2:$B$63</cx:f>
        <cx:nf>'15_06-20'!$B$1</cx:nf>
        <cx:lvl ptCount="62" name="States Parties ">
          <cx:pt idx="0">San Marino</cx:pt>
          <cx:pt idx="1">Holy See</cx:pt>
          <cx:pt idx="2">Andorra</cx:pt>
          <cx:pt idx="3">Luxembourg</cx:pt>
          <cx:pt idx="4">Armenia</cx:pt>
          <cx:pt idx="5">Belarus</cx:pt>
          <cx:pt idx="6">Iceland</cx:pt>
          <cx:pt idx="7">Gibraltar</cx:pt>
          <cx:pt idx="8">Spain</cx:pt>
          <cx:pt idx="9">Belgium</cx:pt>
          <cx:pt idx="10">Ireland</cx:pt>
          <cx:pt idx="11">Sweden</cx:pt>
          <cx:pt idx="12">United Kingdom</cx:pt>
          <cx:pt idx="13">Guernsey</cx:pt>
          <cx:pt idx="14">Isle of Man</cx:pt>
          <cx:pt idx="15">Italy</cx:pt>
          <cx:pt idx="16">Faroe Islands</cx:pt>
          <cx:pt idx="17">Russian Federation</cx:pt>
          <cx:pt idx="18">Switzerland</cx:pt>
          <cx:pt idx="19">Portugal</cx:pt>
          <cx:pt idx="20">Jersey</cx:pt>
          <cx:pt idx="21">Netherlands</cx:pt>
          <cx:pt idx="22">Republic of Moldova</cx:pt>
          <cx:pt idx="23">Monaco</cx:pt>
          <cx:pt idx="24">France</cx:pt>
          <cx:pt idx="25">Germany</cx:pt>
          <cx:pt idx="26">Israel</cx:pt>
          <cx:pt idx="27">Liechtenstein</cx:pt>
          <cx:pt idx="28">Turkey</cx:pt>
          <cx:pt idx="29">Denmark</cx:pt>
          <cx:pt idx="30">Austria</cx:pt>
          <cx:pt idx="31">North Macedonia</cx:pt>
          <cx:pt idx="32">Serbia</cx:pt>
          <cx:pt idx="33">NOR</cx:pt>
          <cx:pt idx="34">Estonia</cx:pt>
          <cx:pt idx="35">Malta</cx:pt>
          <cx:pt idx="36">Finland</cx:pt>
          <cx:pt idx="37">Romania</cx:pt>
          <cx:pt idx="38">Azerbaijan</cx:pt>
          <cx:pt idx="39">Czech Republic</cx:pt>
          <cx:pt idx="40">Bosnia and Herzegovina</cx:pt>
          <cx:pt idx="41">Cyprus</cx:pt>
          <cx:pt idx="42">Kosovo</cx:pt>
          <cx:pt idx="43">Kazakhstan</cx:pt>
          <cx:pt idx="44">Poland</cx:pt>
          <cx:pt idx="45">Slovenia</cx:pt>
          <cx:pt idx="46">Ukraine</cx:pt>
          <cx:pt idx="47">Lithuania</cx:pt>
          <cx:pt idx="48">Latvia</cx:pt>
          <cx:pt idx="49">Croatia</cx:pt>
          <cx:pt idx="50">Tajikistan</cx:pt>
          <cx:pt idx="51">Albania</cx:pt>
          <cx:pt idx="52">Montenegro</cx:pt>
          <cx:pt idx="53">Bulgaria</cx:pt>
          <cx:pt idx="54">Hungary</cx:pt>
          <cx:pt idx="55">Kyrgyzstan</cx:pt>
          <cx:pt idx="56">Greece</cx:pt>
          <cx:pt idx="57">Slovakia</cx:pt>
          <cx:pt idx="58">Greenland</cx:pt>
          <cx:pt idx="59">Georgia</cx:pt>
          <cx:pt idx="60">Uzbekistan</cx:pt>
          <cx:pt idx="61">Turkmenistan</cx:pt>
        </cx:lvl>
      </cx:strDim>
      <cx:numDim type="colorVal">
        <cx:f>'15_06-20'!$C$2:$C$63</cx:f>
        <cx:nf>'15_06-20'!$C$1</cx:nf>
        <cx:lvl ptCount="62" formatCode="General" name="Value">
          <cx:pt idx="0">2</cx:pt>
          <cx:pt idx="1">2</cx:pt>
          <cx:pt idx="2">2</cx:pt>
          <cx:pt idx="3">2</cx:pt>
          <cx:pt idx="4">7</cx:pt>
          <cx:pt idx="5">2</cx:pt>
          <cx:pt idx="6">2</cx:pt>
          <cx:pt idx="7">2</cx:pt>
          <cx:pt idx="8">2</cx:pt>
          <cx:pt idx="9">7</cx:pt>
          <cx:pt idx="10">2</cx:pt>
          <cx:pt idx="11">4</cx:pt>
          <cx:pt idx="12">2</cx:pt>
          <cx:pt idx="13">2</cx:pt>
          <cx:pt idx="14">2</cx:pt>
          <cx:pt idx="15">2</cx:pt>
          <cx:pt idx="16">2</cx:pt>
          <cx:pt idx="17">2</cx:pt>
          <cx:pt idx="18">7</cx:pt>
          <cx:pt idx="19">2</cx:pt>
          <cx:pt idx="20">2</cx:pt>
          <cx:pt idx="21">4</cx:pt>
          <cx:pt idx="22">7</cx:pt>
          <cx:pt idx="23">2</cx:pt>
          <cx:pt idx="24">2</cx:pt>
          <cx:pt idx="25">7</cx:pt>
          <cx:pt idx="26">2</cx:pt>
          <cx:pt idx="27">7</cx:pt>
          <cx:pt idx="28">2</cx:pt>
          <cx:pt idx="29">2</cx:pt>
          <cx:pt idx="30">2</cx:pt>
          <cx:pt idx="31">7</cx:pt>
          <cx:pt idx="32">7</cx:pt>
          <cx:pt idx="33">2</cx:pt>
          <cx:pt idx="34">2</cx:pt>
          <cx:pt idx="35">2</cx:pt>
          <cx:pt idx="36">7</cx:pt>
          <cx:pt idx="37">2</cx:pt>
          <cx:pt idx="38">4</cx:pt>
          <cx:pt idx="39">2</cx:pt>
          <cx:pt idx="40">2</cx:pt>
          <cx:pt idx="41">2</cx:pt>
          <cx:pt idx="42">2</cx:pt>
          <cx:pt idx="43">2</cx:pt>
          <cx:pt idx="44">2</cx:pt>
          <cx:pt idx="45">7</cx:pt>
          <cx:pt idx="46">7</cx:pt>
          <cx:pt idx="47">7</cx:pt>
          <cx:pt idx="48">7</cx:pt>
          <cx:pt idx="49">2</cx:pt>
          <cx:pt idx="50">7</cx:pt>
          <cx:pt idx="51">7</cx:pt>
          <cx:pt idx="52">7</cx:pt>
          <cx:pt idx="53">2</cx:pt>
          <cx:pt idx="54">2</cx:pt>
          <cx:pt idx="55">7</cx:pt>
          <cx:pt idx="56">2</cx:pt>
          <cx:pt idx="57">2</cx:pt>
          <cx:pt idx="58">2</cx:pt>
          <cx:pt idx="59">7</cx:pt>
          <cx:pt idx="60">7</cx:pt>
          <cx:pt idx="61">7</cx:pt>
        </cx:lvl>
      </cx:numDim>
    </cx:data>
  </cx:chartData>
  <cx:chart>
    <cx:plotArea>
      <cx:plotAreaRegion>
        <cx:series layoutId="regionMap" uniqueId="{B4059798-5217-D645-B0B1-FDF2AC165B9F}">
          <cx:tx>
            <cx:txData>
              <cx:f>'15_06-20'!$C$1</cx:f>
              <cx:v>Value</cx:v>
            </cx:txData>
          </cx:tx>
          <cx:dataPt idx="17"/>
          <cx:dataId val="0"/>
          <cx:layoutPr>
            <cx:geography viewedRegionType="dataOnly" cultureLanguage="es-ES" cultureRegion="ES" attribution="Con tecnología de Bing">
              <cx:geoCache provider="{E9337A44-BEBE-4D9F-B70C-5C5E7DAFC167}">
                <cx:binary>7H3ZbuNG1+CrGH09dFjFqiLrw5cPaFKU5N1tt+MkN4TaVnPfd77NXM7FfzGYR8iLzaE2i9WKZXf0
jw2MhaADkyqxePatzvn3Q/Ovh2A+y46aMIjyfz00v35yiiL51y+/5A/OPJzlx6H7kMV5/L04fojD
X+Lv392H+S+P2ax2I/sXLCPyy4Mzy4p58+k//4Zfs+fxefwwK9w4+lLOs/ZmnpdBkT9zb+eto4e4
jIp+uQ2/9OsnPc4jd3Y0ix6PpvOsm9tx5UazT0fzqHCL9mubzH/9NFjy6egX8Yd/2MRRAPssykdY
S8gxYpoiE0I+HQVxZK+uI/VY1SjimPD1wy5nISxYbkh64WYWW5k9PmbzPD9a/X/3bwxeYvdX3Dw2
ltAx4n7v+ufFy/4yhP5//i1cgNcXrmwhSITVvlsifm7KcAYIWsPoAAihx5rCVaYSyhcfdYAXTI65
RiijqrJ+5hIvL9jIbmRsFgoY2FwXwX5z9fZgv51FRxezzI3iNRQOAHnlmCsaphyhJeS1AeQRPiZM
wcAowClL9ltC/mV72Q387bUC/LdviSi4vXh7FEzjoD26nc/XwDgAAtAxlxVFQwrZRfo9AijmGlWZ
vPig9aOXeDDc8nH2ePQ4D45+A/n2MHueOHYjZOePCJjZ+R0RRb+9A+F08jAPQHOswfTPMcR66QPS
ScNsiaGh0pCQdkxVjXOskSWK8PrZSxSd5P1+nheXu/HytFJAxtMNEQMnt2/PJJ+jxzjLDqke8DHt
uYBTZcME22ob4E8JVmU2BPwL9rEb7puFAtg310Wofx69PdTPy2YefovLzF5D4Z+TPuHHqso0sIdW
wmmoHdixzLHCkYyWaJEF4bTcEuzoWYW1GwfbawU0bN8SMXF+9w4wMSuq59n9deYqZccaJTJC8M/i
AwJmi/x766gnfqYuxRMXjNfzeRHvsdb+BgXrhSL819d/AP5vbw/8z1k43/O2r4M+kY9VxhlmbGUh
DW1T8CWYqjBGZL5EjmCivmA/u6G/WShAf3NdhP7nd2Af6aB7szI/nASiCoh+xME4GoIda8cySCWw
TeH6tmGqu/MAtE+ZP8+Bu2E+WCzAfXBPhL3+x9tT/nV8WLuH4mOECWMawhvK3hI7iB+DOCKYaYLa
hX38nLzZLBQgv7kuQv36/O2hfjrP8nm7psGDqFyMCEYyXSlV0KlbUJcAKUDzXF2iBP4VdG5vGh7t
39Ru+h8sFrAwuCdi4tR8e0xMIAIVHRoXEHUAdIB1v/yIuKAqB+esl03bMmgBqsV25nv28wwattbv
wsTWbREZk8nbI+NzmRfZ8yL4lWpYPaaaKqsyGSoCBLE80L2aptAlSwj88IKN7EbCZqEA/c11Eeyf
v7492G9rt+jm2WEVAQH7U0Zg6K/tfDBxtkSSdowVmTPK1l6A4P/elm43WzPILgG5G/6rZQL0V1dF
2BvTt4f9xP2WzYJilj33rq8jeoWBtGegDtSV4zuEvESPFQJMoaEV7csC6F+0pd3g31oqoGDrjoiG
yck7QMM8g+j0ATUyReDmKmAKKXxA90g+VjQZyxD5WWN8GfD5HEAuZY8PshvoTysFmD/dEEE+egea
d5zNooeDCnt2zDDRILowFPZ9MFRTVPCFnxTytuJ9wUZ2A36zUID75roI9vHN21P6eJbF86Pe2Ige
D+hysd7EJGBgqtouu19SjyEPiCkohJUNKpB/v6H8aDyHza354uVSf7BYQMbg3g8IeQ8JmmTmRs+9
8+ukP0Qeep0LanXlgAGgt/SuBK4xJcANYIIuPxCd2+YGM09mf/3vn1C9m4UCAjbXReCbt2/PDRB6
sN0yXINgF8m9DvxUPu6jOpRpq8DaUBZB3IchrFFtxSUy6OZt6Ot//S/Y0MNPgP9ppQD/pxsiAvR3
oAXO2sxuu7yYHZIF0DGVNQj/rCX+MACtkmMV95E38MMWHzrEwZmb2aWbF3/9z2f3tFsnDBYLmBjc
E5Fx9g78r5PswFkwCMQhVdUUha4SkYIpqoEbpmkqBXQsP0JU6GThlPwEN2wWCijYXBfBf/IOeOEi
jmYPz2Y9XieLiHKsKlgB+CobUb+lCtRjglROCKRilh805IOLv/7Pvv3s5oHNQgH4m+si8C+Mt9cE
t/X8cf4sw78O+GAQaYrGVEaeQgxbwEfsWCWKDFUSq+IVQQ3flvM9xvFu2K/XCaBfXxYhf/sOyP4u
cov549EZVIs9xodUxX2VCgR/oAJoSd+CJQT5YQQhik0EQgyK3syhaOYIdvf4LE/uxsNgsYCMwT0R
IxP97Xnh8upmLQr+uUXUewYEKRRCEks0DHUAP2aAA8yhmmj5ESyiyzgr5/ZPqIDNQgH6m+si5C/f
gTNw132b+2B7HNgcAi0AwaDePes/IOe3JBEDNqFYk0FarZG+jEis9/JTdtBgsYCBwT0RC3d/vj39
X/QRuTUw/jkHKFCoqGkIaRCDWHyGHADBaEJkjMBiXT9ziYC929gtelbLBKCvrorgvngH8efPEHz+
NnPbPYT2Ov278IMVBkHmlZU/dAJIX7WrYirTlZssGD8v3NNuDAwWC3gY3BOx8fkdEP/lvHCWyYB8
TY7/nAUgLQyWDiTe0dAfphCyYxw4Y1UHIUOZ3LY/fD3767/yeX6kz7z42e3sRoSwXECFcFdExuU7
SBRD9Gp+FH+HCt4DmqaUHGOsYiD/YWxaIsfgKRCocV8nisFi2sZGH0uDqtF9u9mNi8FiARODeyIe
Tt5BicrZrJt5+2MCrxRR4P5CioxTsqoRHfIGAxcBoqmgl5daQxbjFC/b025sDF5IwMbgnoiNs3cg
ok6KWXDAXA34yRRTCjGjlX4eGkhQTY1641TTVkJKUBX9bp7PY+xGwXqdAP31ZRHwJ+9AU9+UOZRI
RRCnf5xnixM8awHxz1UEQxAbVWXM6NBP4xwyaRplZJ2vFMAPe/oZ6K+WCcBfXRVhf3P39kbpuVs4
5b4M4esEEIVUsAIhCqiSXoqYIeQxeAZQL6eoa7tVgDzsaO+GdpP+00oB/k83RBScvwPyB9excED7
Pcwf9xWrvQ4RBGhflkEEQdXi8jNw0TA6VqGMgvQHBta3t/XyZkeLIx39LufP8eVunOz8EQE9O78j
Yuri7O2Z5RpgUNqz4DkwvA5FCgQqNIy4SodaGjKbHG6ABbsKsop1XS/Zym6MPK0U0PB0Q4T99Tvg
kpt5Un4L3IeF3RoHj3E1OxwawG/DMgY3Aioo1qywFcyACl/CIOAKJ2+WEk0QWRewn9meOvvdyHha
KSDj6YaIjIvR2zOCXgY2nP47JAbwsUqheIhDnnPxEZQGhcouKqsIcguLjxBVesmGdmPgaaWAgacb
Igb0d5BUWzn83iE9uI/gxo8HyBdEI54tFw8hL0pznlWOr9MKUOX4UXP0w4l+EeoneTabH1IXy8dw
vgDKidhKCwxjewqBo08crKWlfAJtsNY/67OV+7azWwCtX0MQP+vLovA5eQfxo5t4b1HhKwn+49D9
sInCog2CSPDn7vzBKeZRXkAOcU18/9xFBuMHUmlYhhDdwD/gUNOFNdDHYJpu+wUv3sZueheWC2Qv
3BWp//zk7Y2fr2Xm7z9m89/X8mI0j8JZ5q+R8s8JAA51ylC8DTHDnWea+bGCuMygqmBlGwvx2xE0
RIEN/Ux52dZSgQ627og0MHoHnuAkm88fDqjxlUXNEjRfgAMki8+QFfuYCfAiIUyAPezjpwo61usE
qK8viyCf3LwDtoNQ+aGT2AB2hjWkKpCdWHzAsdvy+9TeIoBeL1Bzv9Pr+DprF1vak2LcLQcHiwU8
DO6JyPh6+vbIuIXc6kHdP0geKSBj8LpgY2h7YTj43OOArBN6ggO+fzu7cbBeJ4B/fVmE/M3t20Pe
zPceoX+d7UWBBzQ4Nd4Xry4+w0gU7k0zFU55ot1dX16wn92w3ywUgL+5LkLfNN8e+mM3OuyBNujo
Al2+1L6YcimBBOizY6xhKPcjgrex2sjzPLgb8FtLBdBv3RGBP34HhpfRgf17tA4EHs7+6VuLKNA9
RIN/F5+h8EF9PgPiTqpQRmw487T8GQRsFgrg31wXgW+8g+zotIwg5HfI/Ci4HZAj0sC43Al1ONOP
+vIlsor48TXCl+52v5/sr/96NgS5m/6fVgrwf7ohImB69/aix2iT7JDtLCCewTVQugrb2VNBgSJ7
QpECZZQb02jbCzQcN8metYB3Q3+9ToD9+rIIeeOPt4f8GbShrJ6t1n2dxiVQI6whKCLbpBsGVicY
O1AUgGlfyb02Srchv387uyG/XidAfn0Z2lYKPusPF/5bOzn29SG+c+Ai1Y9amB9aoi6IY19EezKP
M/t53fZqmoeyeOgLpeyUNn2xjMwQ2KFP5wu3af4F+9lN9JuFAtVvrosCZ/IOrMzbIK4O3DkKTu8j
UKVsrW2HZiYUC2sYIA91G0Mta+Yv2MpuyG8tFWC/dUeE/u07MDM/B98OWxADdRiod14pHxqWIOhl
CC70Xe1WJtAQ+C/YyG7QbxYKgN9cF8H++R0kFdaHiZZs/8+jmh9HpaD/9YuE/Z2fwWHxZ225Vwp7
KK6DYzmU9+JkK56mIDhFzqDJryKEMe8eoG3D8+pmN6VvFgqUvrkuUvrd57e3J+FEJmRx5nZ2WJtS
1eB4+FPrxQHkoUMatElgUGe0cnEFb+plW9qNg+21Ahq2b4mYuHgHitbIYqg3fdaHfCXlU/CaIIoJ
MZuN7b7FAHA+k0C8WQGvaijq+438VCB/s1CA/Oa6CPbpOwjl9/bNzD8o3DWoZVQJxNFWcAcBsw13
CCZo0MSFiX15F6bI7OfCONtrBehv3xIRcPtO0lcHDmT2/Q8gVQJO7SpeQAYYkMAIUqB5AjDHU//e
gYUPPVoWW3qeLHaLoMn2YgEXg3siMibvwPDp88l9o9jDur5QWaqAud83LlpKomFGkcJtGC4BJumK
YYT48tOmfi65tXmnxXIBJcKPi0j5+g6O5uzsMX8o0xR44aPR/vaYlp1m6nKCy85bYmXM64aivFKl
f0xo+bvpOi/CzeZk/KG45+Po/ys4oz8DuW/iw+v44WMGxdN4qRcxwDq1cSj6/0jcvDSwsTgAvL8B
9evoH7LFH12xF6c0XzurSzgZfyh++OgC8HM5nkHDoIMhAyoVP9ojCVMIX6QmtkfJHAobH0NzfgYT
g46KB0PFR/vInxNTg2Enh8LGxyyXfjrqi+TSptPuoWD/0Ut4NZz2ReAfhC8PhYKPYO2OWcEvQsdT
3+ND4eKjt/NmWvOLMPB0Mv5QGPg4/f86DGzaHR8KAR8NnV+jEbaTi4fCAPnIn74GBVunEw+FgY9D
mHsTQmLWZxHe2xo+dihUgNf8MWvt55y1vQO2Xhlr/Rj39e8XNAbY26zudVD/6JkXD9yDnXJnf8PS
1wH9o33q6+X/3haZr0PBR8fOl8aEes37grlarwN/n9f/GPb1MwHrrXO7h7KBPs4lz18cId1MoDkU
8D9G7LyiwmUw9+FgGIBq1Y/pFq9xiZ/Ggh4KBx/DTu3584bozsa5hwL/R/fgl6jiVwiqp/YCB0PR
RwuF7DUyatNg42AI+Ogc8mNtsOguX8dwEuf5Ux2vcxSg4Av6dDIGHet2HW2As27QRI1gpgmHmV+w
kUUGavb4mM3z/Gj1/18/bRYK5xg218UTDNfv4FjJIk3wcYr8SYX+v21nsTmBekBZ83Go9qnuVJQy
69aFhwL3P+jIuKcz5G4ZA/tfrBNEzPqyKGHeQ0fGp7EahwL6x+iQ12Xiz+eHbgYICRcKE64R/LP4
DM/RYugZBSebnw6ZC8fIX7Cf3dS/WSiQ/+a6SP/nv739Of7NGetDkT/5OD3+gmzXoDnqoUD/0Qn2
J2cfCGd5D4aP/9+PLwu92LbO2kAXtiWXjGbFzIwKt2hffPdvlq76u+9surPE6Mnjr5+gQ+ZC6D49
fdAXficlbNbNZ3nx6yeYPshgIq0M7e+g8xH0PAUXrZ73d8Cpg6Hx0AkV5tmqlMKohU9HUT8Z69dP
0C8PekCC0lGopnCN9NvI47K/BUNwoW25DD8JU66g/Qn9tH5D8M1aO442wFr9fRSV4XXsRkUOj+wb
3ifL7/X7VKEXIqJY7QcnQgEIRbi//zC7gRni8HX0PzzJTnFmoXzsYNcKjNqzUhzrBZMsWScK79BE
9ho71rO8KQqdOXDtysplX9XjmLSumUVJqNh6aSWKpFcSKy4yDTmxqaS8Ua78Ss6/ZJLSUN3SfDvR
PZIT/ludJ3VsWrLSVhe846TSLQBFpxNZy/IvKqoiOdabJpVTM6nkulZ1V7NwPOdpV+TjQKH8FKZd
S9a08dukuKliF+enQa4lzYi3Ic5ufdJJNtWzgnjWKE8pY1deWeRERx1P4lBXPF+qZ2HMaGHrchwp
3DeyRFKja7eQrHya56iQR2UcelmtW7JP2lvZqTNpmmoR6q5aRamrCU5RnOluiHnwW64FGtI7V5Od
UdA4aTduY0f2Ut3vYiU99YEOiitfrttMRzyld46Tt4WpIdm9sauKJOcsd+LYSGJLLuaq17j8hNEm
pKfMLpFrxHVUaBPVb9NoWuZhXZ/jyMuj35mU1s6o1oKwGjlO1TinCks6vWtJZCit1domDXNf1mnX
ps1J0GA1MvzE9h59u27KyGhKeIY3IVRKmjtaJV0V6Q6VY9m0AkuJbIOirqGB6ZLYC79ESuK3Oqsc
yQpOAUCNZxDNsmuk5zIJg+beryRUp2bBqtKdhFyL7QubVZ01TrSUWedqJbn+qR80qT2qE5eTmUW7
kn7NpaZWC10qq4ybdogIv5DD2Hb0SC6s0CiBdP1RUvAMm2XHGvpNsVs5PC2Q7XPdKXCVmF7pSsFF
20bRZex2PhlncoOaE576mTcOStcubpM2LdKrhqG41mVAf6W3OXDZfeeHML3PqBk0jNZM281qbUq9
xqJTLZWL+NRJvLwyEK1k97Gy20oaBdDA9TyRVekWJsPGJ1YVKu73MGwbd5RXWZFcuLEvK5eyFxTI
KG1MXaNx4XeNpsqCepI7XpUYZZCj0FDLkH9JG1kOTwiLLXpZOlYn6wEu49QIsW/dN0oVnwSO1lYj
atmteualxJcmjucryiTAch4hPfZTvzNyKbPry4DGiTcKCre+CXzEst9dmMda3ViO5LdfFNmx/dJM
AtY4RhrxKDG4C/009BA3eTmSrDCvpyhmjRLqmeUn8W1ge/Q2a5U2+i3xPCVP9DTC1p+S3GrOJeZN
GOlpV1voRHIw0U5joLnozE7gJ6YVoVozie0odY2SxbY6rrXaDfWq7SxuIK9ybL2xkg7mjEnaCSU4
QIZk8czRbVbXRLcSp3WMLmyZbciq2sZjxy67aNyWbYp03yHdfVjIgWrUMckbPXDl8L71Xe2Mppam
ngR2FUQnhHdd6uo2SaPiwvKaxI/0zi+y7EwJS1UdMyvRwgkhNsgaJcjb6CLtiFtMPctLmKEVOKhO
XFShykhDosYmVyOpGGkZdxIjcCu1uKzhK5bu5F6TGxxxzFtd0YpGkcZOJfEC3rTDVTqmblOdYexR
Z9wpuXSTl743DeVOor006nz4BRZNGVCVq0c0IxdBWVpfNE11z6OIecAMAELDdSx73GS8+1L1HZkM
j0VKqktccs7tUqvuNBh6clFWvAnMwrVa4Au/sy9rt6xaywhSHriXZUpIFOowQrQJRjUPqk7TaWzn
Eb6qLQp7OUuolhTtGbhNONeuFCdN22/UoUpoVEWcKxcB9S051EndIaLHqmy5I6vwfBDjkoYjxVRD
ubV0oOPsOraiAI9sIgcnuaeF9tgPmBwAsiqrAmnMFH8E6im+LiWQ5jiT86sisOUpK9piGmiUPiSE
0zbRXZJmXJcst+UPiJdyZWYJSzMddzU2rNzFX3FYhTe4K3k2hUdIitEEZfFnZculPKqlKoz11Akc
13TrULFGdp1oik4bxcPXsl911xF282uvA1YBJSc7d46Giq9WlfIchKdjTxxE8t8V1HXTxM+qBnCm
pZEueVH+O6nl3LlNVZrwW8Ss4LFO4R1Mq4y7C6zU6u8Z6lQJaEOWS13zOrt8aFM/bq+khPvVWREy
u5uzlOTXlhqEzh8g8K37JHeD2GhTNcwAVV2Wj1pUOpcd9LQHyDOu/ZkoiRyaiptlF23sMQ56zvfQ
lFqpUui26wEfhWkdhSe8aTE7ScoM33RuUnY6CnANQj+Cke560nrSeW2Rrh41neQxIy+zlupalFQT
4vhKOXbDnIxq6vG7xIvwo9JoTWZUCi99XQHBNZXTTP29lGjxu6b5/LpdcHBlOfiGe6i4zWorO+dN
2kwtlrIvmaq1ku44TZXrieJVv6deHY1BvXUXVuomV5WqZTEQtKWdZigMLkLQu1inaquOW5YWcyfo
4gs5acMHHgbOF4vK5Z80bdTTxpfzryhXpBMlC6pA95KQj5CSt1/gBgKtw91JWnPrFrt+fqvVOMZG
01jNVEmj6iJNHP5Y+iq5COMIZKnVtXk4z7pE/tKFQWZdxlWSaYZNK9DgaSNJ37CVJMlJC1LPlvVI
CzVH1ziLRw31a6Avh1naPcCiBh1Jg8I7V6JS5UYcZomBtarUS6k2ZSe3bVNKC+SM2jTPJb1so+o2
C5V2puUBgVdu6TdXIayYgBQMvxe1JWXTzu00aSQFGQbLgHHZM5QyCIDCbFxhEynQ+FSXarDORnHV
eYGhYgZCWWl55E7AygD94nbEO7fKojlLrRh4laaFxXQnljkzURTa2UhJ3ORrWWm8NqnsYarTKACp
rXq2HOhwvfs9aghLDWiPFcQ686UoNdymVAuj0Dx8B0NGXNewWRvcFyA+b8OEx+ehFaBvXAmtwiBS
nrR6yH1Kvyi81apWzzxKyilOeS2d1mndyF8TX2IqmFAko8kfttemxNUTu8DNd8tR23tErOg+KttE
NoCbu2IUZbWCkA72KvZGQLUePamspI4msWs76M6RizqcuGod5CA3lFa5sb2oqcfY76hl4M5WlbM0
aZhtdi4uyElNrcq39Iy7RTGyla6qzprAgWu6W9YtC40CVRUYqrxGTfVQ2ygpJp1jOblp07zgekB8
tRiHQdrYuk/D2LqVXJyV4zRUfH8c2k3L7lDhVs15ljPi3WmO79yGbVFeedCiHOsyqUhwr0pIto2K
RqoyAdi3zZy7VpWbrqrU7bXkakgaZU1HCpMGOVFvWs/SrJGWu7w14iDNo5GDLNn7ow1d1TZwqcWj
WEq+JhlY7udhlfnVtA15m13ZGIW5Efis8s+6qCPhtEE4Th94y0kxRU6uUJ21bdp2Rhb4JX3EOHDp
eVy7VWfaZYz6yB3x9TiSy9iIG497U1xkXat7cNO5SRM3jEeBnII92iHfx+OWa5GkkypVg0ngAhPo
QRw40R950UjurWo3qaYZHOceqPuiLFMg9MInOW7MXK5tbxR3Kk7MhgVapncydkEj12CXmHKt8MzM
7ULxb33cROqE5STMLxm0C57VNvNrs3Eqnt3TxrfKCalQyr/GCqtAEAUVApHgsPCaeXYA1jBs/d6X
SwI8FVLgo4eUBXZ44ntFSKeqlTPtAmwChC7t1i/4lQM2snUSeCz0lt0gl67lDl8NQSBy4KpR0s8O
gE0qMBeUwxD1oasWgM5lINGZmZt1oKvjbkpN7QoZyMwMd6Quh6j+7eOged3waRRDd2oCU601aIpP
+8zitmNot0Waa53ETUSq8LxMi8ysvcDe8xQEXSB/eAx4wZDchIFElOP+pbf8T3CV/LZjFTdVJ2nO
aV7j66YkzTT1OECfhhb7kzS5coorSf5Wh6Q+DV2U3JPCVpPJlu++A8CYinsBxxHDuEOYQayRfjjP
cC+WGmltQBXFzEbhmXp14U6bUWl2o3LiT70xWD86umkf3K+KkRmJ4U3q83DkmPsAj8C3H4IE4M37
Se1UhRllgOnhNnyJqlIa1dTMcdR9C2xi32PVqrJ7brs5B660mrGmSNmdpiTJiGSlqpcojKcU+d2d
S1mK9UKOk9vMKwm/ylvbx+AJywkIT4qyP5rYwnuw+APggFZgUBGADjquMqWPVmwjEaSHp6iFxk0r
lANFz6S8CowulogGFgzYovrziPqRExbPUzgCyoGniohKWJeHWUPheaxBE8X2qotE6bqxz7k9aWUa
GGmhOiMw2KtJ0YUl2BOtNQKzlI6sEqvNnv1AJ/EhwmA7EDuBPr8wPJAzpWelLRr2SeDjzuHc1EBK
f82oW5yoPonuiy6yzxKnc6/9vEvT1z9VpRgtkxMQHhGA7spVYDHKLBB3sj12LYfrqoapUVp+OM5t
J7+wwPPw9zz1B7EAE6ugl6smU+iuC3PUBSHUOtSWIptoZiF3I7+NilEdeJ3xPIJ/4IDFQzSmqsAI
MAGuB/gWQG2eeIxY4I3LWNMbvwh0MOgl3ZLimxQ7d1GQhHrURfsguvPdoF2zDGYONA1WIB63/Vja
AsA8GFFuWjwwkX/a2myPDP+BUvoXe3oCEaDHEpwWUgNP8HjFi/uwa4Ib5NWVemph3/YMX+kaxfDA
/2PQwhfmV/ytOP+BRZlMIMcFXdcJNMlEvL+/DVII1NBCBbwlMgGbxAy1YFyqy7aUf/uQHQCECTb9
mA+QpBClFEiSxhlEKCOqmVyxmKdzLwWjzI5dsocIcQ+n7aglDKyFQCNRoK8w6ChZxsO3iTQ3geBh
zU2q12Z1Xl/yB2JkV+nEnqt3TI9m7jU1wqvyPr5V//D2UGevBsSHE5jTAzlDmcucCm9ZlUxCSOlD
Vd2fXnGLHc9o0jOF8D1viXa9JfQrhQnhGvA5YG74lq6Eg86iATfJhJ1G42pa6J0hTbJJOX2eOHa+
EWN9OBli1aoikKVTdLlVFz43Yypphu9Y4EXErnQaRHk5abysWzb4/Vs6QT0niSDshZEK9gzQoiaA
MFO7lPY9pU31tjaxmU4kQ/qt8b9Et9o1vSQjsDVGNmhZ9xZZ3xtlD2D3PV3gcwbxHwdn8PTgxJ2m
F+6kHSNTPsv3QHUn/rbeUpSVBHtelpf9c1ydx3o5sX0dYhmEmHjknHrx+Hksol08rgGZyIio/Ww7
QWwWcUsg/CJrYL+QCRqjEdKdUXHGRuyqBXD6I2lELvc8s+c0AZP9LEmGZEoZQay377bkCkx7UEqS
eKCKL8JLYsaTZGqfODfUcMxgku15wx0vCOkQpW/73s+Ho0KywnZbKUzlRDK14NYCmxF8J91qHp5/
pZ72hm+E+uF0igqMB5QpGheO2nSeZ3eSmXu10SrA3PFVYLmGE1x0iaUrqb2cVvn33PCj2IRZa2DI
MPgfjIRRBW4oQrfyizqzx700g6A1MhpwPMaqEZ/UX8F28ye1vk+I7XhLDeYfwwA4BcKwRLRZ6qDV
LK4W9piFp451moWJTpPyvIn4pOOyGXBn9DxYfzTawJ3ggDlOcD9Yt+8Hv00pqlZxyyo9Z1wb1YgY
0Sg14B3NdqyY3hfN3PO0H0mlP8yggQMjg4DhC79jiy5Lx7GtmgXOuBjJRuDdYLObqqaUGNSf0kBX
zGhS6rUBwbQ9D+5pcEg+mEFiDhJrQKLQ+VtgQrVW6zhpIUqbm851N8p117ROtHN1gkfxrT229igj
tO95AvE4jqvUYJPZY/zFv6RjNA2Nh9AFRYHMnuGTPWj80YIZvp4gO93ArVEZwOM0B+tJpE0Jo2Ps
XSal+rWk3Z6n/cgZ20+jsqCYgJpCD4cATCmgEwjojyzv5nl87XuCQJUeLp3Glrg9rpL8K5Xaq6Ru
759/xA5SZCAcoRN879IBPQ4JPyZKyQtIZ43rBJ+6rWewzhlFZb6P5He+ytZzelG9TfJd20kIIl1A
8nY0kQ11LH1zTQhzF3oQjiARgfV2yh8XL7fKxV8vKXuZUn4Aus1gfSH8+Z8L9yGDgXHfi8U4tc3X
Ftbp019XyTy6LaDmr7iYJeI3++dtvgq/v3p+n+8f/PFD8n9tAu+sDPibmy/M/SMA8MbE7n9/kPu/
nUVHF7PMjTYjTRaJ/37RMvGPYOYd0vpxjgoY/VC6DVbXMvEPd4hMgJplGB0AI8h7Y3yd+IdmkjDz
F2kwpxD3Riaw8yrxD0fk+joCSOtAlEKF0AB5Tea/H+W5LaegoSuYCpQhRihRQdkJcqrwaIRZTShY
JtFZgFrnzPPpicq+dZBdr9UcgYsg66EndwZkKc69di6RQlejytUbyJCMQ9AdUkUndu3rKApGxCuS
8dfMVq4qN5xC+O88zOZqKpslT+5Tzh9StcmmEFqPSTRVQpfqKvW8kZzxURPFD6E9q1n64HDIDWf+
LaRmiY4xt428y84Ln0E+CXKWuoZGdYMkM6WFY0RJbIRloIxwiE1VUlVdgfQMQ4neyOp3FQIebsXD
KUrcszgFR5K1Y5+6oWFlamtkYfWnK6Ep/wqB9YvGLr5DPinQg1yepNwdt/klr8sznLExZdgMQ6Ua
MZp8YRA8UV159Hou+hqH8J/IGNt88UJGg0Fv/cDQXPypd8hjYKg+x2M/NgjteWyxaFVcc9zPiAeH
vXclwOlUgJNWxTUw4BYou58yBoYAjEF54jFoPwZOYz9llUEABRKysIc1j8FBClBYENdQgQsX7LeW
IQNRCMfUVn8Pqmtoz0TbxgAEqCBqqzAFw9AJqOYQ9FebUMdWShtIOYfqmQZi6yMIiRtFaEd6k6Zn
LvbjqReDD+uzWA9RbJkxv2+SOpx6mZWbYeJ2BnEqk2SdpHcWica+wh8kK7t3UOgZld+FZm5lrl7m
ARQMcOvSqrNxY0GkK46lQJc6D0MIPfhWqvmX2i9GnZRFRofqekSVXM+t5o8MJ5M0kR/tJM2MzLEu
2+Isq4uxkyrqWKPu90jOzljZTTW/iE3kJIWeKs15RbRvyEKGC67riVVbX5KAjJhTpyNq1xnkJfO7
XMWeXlWWIUlRY1ArMUnZjrLAuoayh0urCjwoscFXjLR/8P9L3pksR44z2fqJ0AbO5JZkMCKk0JhK
KUsbWo4AAQIkOAHE0/dRtd3bmaqyTOu+y/svavNbCgQHh7uf73hk3W3XF+ds1UcRJScFTc7p9Ir4
Qt9Bm4KkYrYy1Butgpb9tc5S1LuyVasPTkd7Cd5nKRWC9aHTs6kG8lisSYrYZuucAO7RDJnepkKw
D1pPZbtnlRsBM4xD9i1wRVvmLKB15vletUv8hbU59JeWFidJhi+rhdKcRzIqi8nOEAGHRyYTXkY/
+m5tBjo9FTv9wqPYHqfFnmUoHyJH2ipYK2sC1axFGldb1sUV4UNU+hkhc5nZt35182HldiipdWk1
TayK1f4xnu2lF7cGjE5V6PhTnxZVp/jtNhmP65xFHfMfWUa/MAb8hZC7bRousjNPWdL7Rgf2aXbp
M1UM0Ixvw4pkGzsw1lcixEbtnPrGrstFBv7b1Oq7Lp5PEySxzruwDNkhjTLcQJXQEn6kz1NwaL8V
62CreeRjnWVPgEO+kcHRaqXWNAHNX7p4+rwXBLcnG+9XNsZ1DrW5SgjeeQWF/kZPai69yeNH1CRL
Oa0LelAJUKIiWS/tEs5lv8zQrNHWYzb7qGm/lXmaQGjNu3LIY9FM0uoqmaJyDKEC+XEypTGbKn0W
HNI5KDPcc0peA/kpVJNu/OKf8dOb5MTDKKjbljdTfGboF+VthxRst/WcjI+rC5JycKVky1CPOlXl
6oF1FZCmI2qPfpiCkm3LWk7xR+NmVSXj9BztYYaXmqel+KrH/SEL7akrzMdI7H2544jq0Xut6Jo8
p+vwRLc2rwAcXEF6vuROPvZ8ew6j4ZDb2NRkerLjJQeVEMuviZ2DCiwYa7y7dEEclWHbmRKur5tN
zy/5FpWZMs9FuNQ934OyI/upaxkr41axkgfbS0LwmCiJD3FoPsyBaUE4bTdLvC4ll+tFO4BowfxF
jzgZs9U3o46a5O2yRd5/DqbtvqWrqqLC/DW30dFFF2P4bU+npjVbXopefo2UTw+rEXMZ5MsrC8QV
bk/tk+6zDEkp55K7scUPzdQ7PbFcXa1LtJUMWlKpi+DLtHWszBV0dxkfCNMfEzYPZdui17OZ476K
z4MElNa75KvueQ952L2hUN102LMU350v7mI5fZpCHR5mKW+SYQuvAzufF98FFXTEGtzIJ2bR/2dO
Xoa4LSH8xZD5+88i6MDFCf7CZwf8JBfzoZjWv+RAr7qwK/upHIXa7lnsm4SY7QSSDaRbRhuQKYgj
u7+guXLFwRLhBnXs0JEEnRwb35CY8buATJCIsnErDd6/0g3XS7GmddHHE25Jgu+47/G6cyi1Z+tT
9GWc+kRugAvGZe6CoERbuN64hcAf9FVh46AsUvNh8W6v47at+6g7TyO7Yi25UUvWNYtzZ7WJewcM
sppyKMyzTcPbSUGp9cMxmuYrPQ0PaxqcY4LnMdghr5fxx764U2F0VuV+Hw8t8VW35a8zTf6SjH3B
uXNps+5hcIsoF+uf5qSacTN3HDVzO6YlUIRG+jg7RBSqytKOJwKUrpJTLCsfg+Ac5uyajIMHUZC2
lZBaXCoyNVgrnbb8zNcFAFlKP2iIKfXWjXPVDvQlmKIjIex2ycYyUoEoiQQ2NWfzOddbtRUUYqyQ
ZW7ateS0fVw4AnLgP+/CPQXBCr2rCwD8rGAhteg/dYnt65aPsoS22CACtU3ebsdUmv3wFrkAto7N
kOTAPMBIHUkgVZV3w3qLoExOiekusVznmgTTueWiBjjo68XnrCSRjI9y5WXSrV1jxl6V45KXYcb6
EjrzFZ+svY1Ull9FkYJeTPMTwBBVuXyYqhySfjfrpRTK9nekD5LaIzupg2C/ToK2LzcaVjQSNxNd
0XjKzdUaSV+GI9c1Y1AfH9q8u+9AlFxxPv4FDeNF8LSrjZ7Z0bD+HI7FDxwFt3SY80oMT63yrOw0
74FCBUsFHTeswuIz0/Nd2nF5F62TeB769nol633Stt8gfjwsMjwUfj12XTHiABOfGAhTHAvtAurB
f8z6dkIP82xjd+iRtJQsx0macYHuUfS1m+Og7qQ+MLLQ0ibro6epatrFX2sQKypwd4XLjgZR6zDN
+sfQy6HM+4mURQfQikxdcoTU+VVkJKmN3IYq2z8Pa9CXweLYSfAfCWOfRnBrYkufGbhiHMvbTVuo
Q1gsl2EnrnQFWllDMf9VtOsOgjRbDyIFC7mGvzhYf0n3fq5Mf0nI/7/M2aPf5uxvP2oOonT56UfU
/k7a3/7VfyXtefYfEcQo/FQbFH90yf6biI/xY5H4uewAPHoO+gDq3/8tjOGTQzsNv+f5VlAnUfAm
3v+fpJ3+R/LWEEYmD7nwf5q04w/+krQDnYP+j7YTkvYIqDEoyl/7KLPbpRJo7R1JC7z6lLAsY/gO
FRj6SxH1nb8BA04iJMlo55ZEFfFe2R5N8Jq6tvUPFqCsPAT9ts9IvuaWDo21ZDaXNd1SqPYISg7n
NZvUaQuJn7/jHI7SowCXVnzncbzoq2ITeW4qGbNd3E8zKUA1JW1fFDV47oQCtyxG9y3PsqlDSmVY
cAgDEoZp6TW06DLulX7qlrjd7oIIhcS12yxLHnhrlbraY8rycxjven0edr+A4OsWwMmSFAnC6gJk
LvrK+plkNRTmpbtmYd7KCyApFj2gQUTSkwKmn6EYpyoaPjpmtN9PSoV6/0LCYJG6FlwQ2eQW0NzH
Sfpg+6bBCCObmUDW8KGM2EhgIUhFNBT3zEhHr+bcFAw0qXL5Z5pMPa2XWa7TF05z9LOWkVezGqN0
KhPAMeGXGcc9iHaWTlm1J5vWvCHrSpFnMmW1QW93jKzsS7NJjrgqNzNtX13apel+PZvQ6KNNwsXc
iJaE+rot3NSaKtNOjMlhdMKFUWUXo4bn3SQikQAeJ4M6aWJwEiTT967AP3zNOpnCfgDG/3mFtaI4
cxX3myjTuFMMyXQPwO/z6CKZI89EOOZlEUUEvFw/LzS+HvI5Gi5kcTto52FoWXz0LA3ap0QMC3YC
yVZsSCW3bLh0RBqoAgnXUM1Lg8ZRjswp7TxSjsJp+pzusc8q3bpOX8s8MtNpsytNzn6N57cAKvI4
EBXn2YZj2nfbjJtjpQrpN9IyFZ/4LAv2Qa/xGs51HwC+qhRao/0HP3j+IYuTAVzURoPhlIbERMgg
2RYl9y5QeXv06H+uIIvzZGpiz9PpxUYi3q+nYYr9hy5mk/+xqSUwrmT7QIauTg3HeVd7yrYCmW4H
ruQGPxq+2ZM1G12+RklPootL5Wge+NxN7QsWL/RpyZWPaMWWYo7qbkKyuqFuXoviFuda2971RGm/
lHu/B1RWiwdqLk492ROVNI66EUhyCBT9EJGtWJ8i9H6CoqShzi0p1YZzMi2JmVx8Mw5BQlBuUwtu
s+Rx4o2rVCx8+yAcapkFF+1oOJZwPBQhnqwONWqbAvJU0h3CcSDcoHbJYLCp7A7DQn4wqUjEVQeW
2ZzzjSTAGckm57EJu7RHTr26teuauMWfOrbjKuV9sA6oYKNsXoQtw0HpSZfLOJPtk/NAoWs1WVWU
gs3S7uVmYw2lEelOEd1Nq1vyBo0ROIPKmG1KXJa5LcYbsjLeHzMPrvqTR90/HlYbizlHwpkGwbWn
SU4/9gp3/GZ08Hs8hZOjabP7fEM5VwiemKNlLddVl8++rfdld8tFaDhxHjJJd5GXq9bhMAIAh/IP
9lvFrDaDHqFnbZnaX8d882M9BWOg6zdgPLgfuLfZoTBzVrbFvg93dpl6foHPJEle9tCt7WnCWydP
MLrsoomyKfRPbkqSRFdBkE975T0ysv4QE4u6wGvl+8c5cj4tB1vsfV/Kgkrcu1m2odpLNlHWPw2F
iOzDMBpDUY9jqa4rZS5HmA60T8hD3E9uO3pv+XfGeMZPXmGDW0kpL9yRg/P1p4mtACiTzaYTOHQU
VaoOzNyjnCYdkO5yGuE7rreVZ8vdlAxCoxhZJzyzPYRAdVu4LuSfNtrT8euuDJEo1kUeDFVAel3U
ex524kbxiE4lmsZZdyjaPco6i++c7Ku533vgpuY6XESg5xumcbo+TTMzSX47gpadt6NFR4fqk7BC
pmMZyoTtT90oUyT+PjLRVxMKlT5rGo2+HicabY1hlg+fuxhOm0r5OEVRHpt+CE5TUojp+4DXDxEM
fDrv7jJ4Etz4FIaj8Fdb3oevSdqTcDm20yz9XMJ/ZYtT1AUBRPYC+PgZexn4X1Niub/uYx1C8ETB
bl6XfVqj6ywLO3vjeYI4Es2MDpVgWRwc4VCDCwkoxNa/zPiyiltn9nB+htptSA3wFej0CKYvANm7
ylaesinXb4FcRcVfEcm9KFlgYenak1jzOmRbuF0LIXKQ7Fu8R9f4T55pdIjaGIkotMptv9sTTdJa
932IasEmJELBsq/kAmuUe9F9YPT14NUWDWCjpwmZQBK5DJr0lm2V9Gk8TjWe+M4f271T+UuRjC6o
t2C09lOrCWWXONni9T4eLJHHmQ3rdKt0QOdLzET2Q9g18HCqzbAUNtug2+KqyMegRSYyrJ16yNHW
VpedRR0q5pY5dRoXBKCG9Wawz87pZadVkkm4oDJT+PzSpu26fjSy7XvInlnUf0NW3++vydYm8p5s
4PAragnpj3mw+70miZ2mikdA47+HEevR4i96WhjcJN67ZhRtmNUhvokFRqVQFD8KuozZg06CvrhL
eB4NNwscA+Q0zyMdWBkwYYOPrteZ+w4XyyZf9iI06VXREbOaEiIcmZ/IEjt1ocigxr6KIJaJuHRi
mclZCyXVNw70XV4Wa8T00sOUZBvdznz8tLucorOfuDiGFWjJTH6OgkGw604Jt5f5NPGtKVZAzyjf
NU1KpRmOyImoCXaDMKWaP26UUF+KsB/EtxgPCNVTnLZEX3N0BjgQ5JGiqmKjR9tkz1UHxSD1lo7f
YM7a+UksW+Zw/uwcONIUKd1V+95Ga0WEbflxciqG06bfxlbdcTL6pC6KfnDHZTIUDVz4+QhBM5Nw
+2VxiJMP0coRtGDFkEGR14zMuzx11tAYPgYc3mgPtheyDVn+PNBuU6Qau7bNLhMVk/hgtVtH2KlI
NhxjxadgrVOrZnU100jbktGYZEc7WJOcBt4belWIOLdXPNyGea/hftvZMZQugZsnFmiU2K5QWwUf
a4BkF/28vEY3sX9JW5n2Rzt6q69szHrWLL7t1atVON9eepOYtWkdIuvF9Au6s5n0k6/3Av2Zw0DM
KD50I6CSG2qHLruHIKXzMusLoUTZFUOkD61BHnePu6ZlqWaKf1mKGQ6wm5S6YrsYLXJZx6spKjiQ
1PKYJBsBCjsyPz4la6+GR+fcNNZrhyL8lfhQ6ReLAN19XFL3ZpgKOj6ftJXRfEgUZNrLNLq5JXWK
2NTVXZr4qUGzdQ4v6HssM/Yklu89p6m/5Rod7pNhBcmahaouvhFmoPYvY2mxNVOWxet1kcC0hKb0
JsNjDqzenvtFrvA+9JlYwOgMSDmuxy4OxocgD1VxhIge7ecs8Ha8m/yGzHpGorRe83SDkbWelcuS
Q7a2s3kdgdKHaSW4ExPabAuZX3MdteK+a60dTwYcy4CTcU9B4CqIWvGPGURdPMPSgEFwx4VrlRfN
VqQEzfRiz/rH2KbJxo7eyDG58ozH9LUF+R9cSFq4mDaZDxPrL9mQL4D+C8sc2MyexoOrhiga52cW
JKJ/sKxL/V8Ovip6TnUuN5g4l8G21wkyLHG2SEFhnCUpKy5h2u3bR3DJPRGHbuaW3Hda2PQ+6NOA
nyY4QczJtviADy50y4zbPbX7VwH74Xg7+dX1N8GaDMltKLeeHd0aZeJg4Q5Ak9Yug/tgR6iV39NJ
tAykP8wqNzki5Po1jfbBHo1RCRjZTAddcSB83uT3vescVyXadFvqS7tjcyfnI0HKJJVFckXgsto/
WgRj07R7ADMLeCLOPhnM7mJXcba3uoHLR213DhaZol6QJa7QHXDEFCfk12P2aARsXU/zJNL8GtoI
fcsdbGL2U5AJk90icqVojO5hqNBOjjMbXm9ei/DczzBsfJ2jGS7SiK0hfEYpWePXHs0adSJzBOMJ
jiExaF6a1Rl93kJv2Mmv4FKhMsToCcPo2kcW2dko0Rna3ez0/aiCvb/NdofmSbXosZirWQI8fmIh
0yl8XmbtxNpoFw1tPY47nY4iRch53De4t+H4oXyrc9uuKFNDWiB+jEk6HkezcbgR5bzSao7wOK6R
85peNmB39wxwP0qBe42Kyz6E6bAUEtadwow3m5zW7nrtVmleKVeLQD4Y5P6DWfhuPm8g3JOzguUt
vOQwevo6kMiIazg74ZLbhDQkrDhMRsir8Wvx5Dwmg8wfBMzgWzUqhwW8AvBYkqXLVyQyviD3g8i2
rZ7HMLrrBM/stYU6vR6TXqzmSpEgTpHLWOsPS+IDfZi8Cu1+RFVv2Y/ZCYDDpVJcThXSYLRAV7sO
7iylp2uzd1EPxioqxuA7nClefqA6n3lbOb9n07GTsueQ1GCplNXOg0I2Hn6M/ocLthQquWOOwjpV
ZK44qLcm7FWIA0zRcxR2qvu0oSMumhH5jvpOeplvZw1tCjYceFwldIaej+t8YbtZ0tcs1QO61hRu
IdIg8R4VbBV7Z174BKmBo0xZMhwaYG4Na8ueRaZ9NX0GzyOxKt90xdqI+kaYPVBfXTf23VSS3lne
3QwzT/foIlMFeWIHAJacc8Lj/KIMTuHTtNlBXwjLMdqhTOYdr1GvDZ4tetL5wiHa4+yFGTVHa6KM
LMnWsMq4ZvgOZbJ52zWslQIi2mL3LjnsOJWHsUbxreavPEZEvmoH08UfiE9Eessz3bvvjE80+eyi
UftzgnEHOSjy1q38OMgwRSFKZibtDUL6CpKJEMTSOt4ZcqhS2Xm4FcTghYzkxp94puxa4fQugtqh
Gu4/5XBmU1Nv4NzIBzkkkhyAWgTtWMotTBia2nb2twFcmdvr0sMacA4ZwmnjM6GB+ZHIxLWbTLE9
OrOJ7ErnvE/Q4h2MGZohUDT+jLkR9tGlIVIjpWlHn3bmafRh1LsO0O2HqxuFYRzy6FnElkNCWBJM
Z7jYzs1U4f/Pg+BL0k0iKKe0T9FQ7tCNeExjlLN3MwnXVtx0SbGPtaD76BsKW0gG0qMbztvMiuxG
601JDFVQDBfshepPm44mdQwE3NroLRQh2qsLjqnk86I2H95Bb9zE3ZKI0H+JQyncxzUgcVvpAU7v
a8bX2d7RQci8gQ5E2QGMJQqTPOv5VBMhOPz+vNAQnQ/70A30NhrR8GqrLV1Hgsy8cOijVAAIp8XV
ftmC5aOPGN1/rIlefZ0qvaBfwCb0XkqpNyte0wwq5opSyWv70E8gTZ5pbHhu8WrbldwqCq9mk6fw
pUIWzS2drlQc76bWDlbyAJfhk+wGbuXRHXYk3bDOhKlqeTlv4bTapiVMRV98my3+oESG77y0cCXN
aRWzAEqG5hPM3f0sg+RrQfy4JFB9czrpehxWGdRZ6qMRm+7DCSoZTq5k2UodbssILWDgbH/U+1bY
bz61ZIUAka3TWchRQQaCvbQ74F2F0MLJMDt4aVcazD3AlxjQI8ylBK4USDLpmH2c4BVargRAOvW8
BV0SVwaa+AybYqiLua97KTzs3gNLmYT1D2wCnz/MmRLDl3SKIaWwXi1c1nIK+ALJfYWuO5RCoLnS
9DvM5CePkAIhvujW9CX42+JuOu3HM3pKqbleqYD/OTsNUciypGRmG5fiBJPgNLefwt4wkT6nWRCk
2RUSaYr5ICLd2ci+QqhK6YzqE5ITnnmyTetDqlLH4EmN4YUbXyj8sWv32E4EWlJj8nQI0m+x27jJ
G+sWnh4cyEH0HyI6d/twTPkWBu5qHFtwRhU3ybyWum13J6vCq0Cie4I3iBx6wdU+14PzPN6PfNlY
0R0sjeb0sYWaLKYSve08ms/FnCXuvo8wh2EsLf7SNELfzwp2gyeA3mBeLPna9FLvBEAGrMZPdEF0
O6UTQ65+1BKAw9NPiMy/UCf/hOszmgXRmw8L5AlGurzjDUeyDpjuYQUI1Pa4oToFFBqo0j0GDxN7
gwHLoNLgX5OavaA5FHz7/frvwDKavC0POJsmMVqK+d9MzE8Yokq6fkFhJhoX9lBIkyq0x02I4+r+
p+gmdgmOGP6gFJQ98opf+/SphZcPsrJqUMAkLwCdBa3SPIfY/PsNvYd4EqwT0wjIUA5oDjf113XQ
wedpalvVwFZsb1AtY4IEkur73OymKgRxZ8Yy+weu91cRIsNdDKIEZhqIEW/OyOzdomMcKoPmrkIT
PcGBATSDgHjDpVyh/Eb8l3vd8f3hf77TvEgCWAhAT+GE+XWnW5JlM19G3NGQdKd2c8ORruGwl4hN
7RU+If5xWFvz/PtV/+FbABKLIUcFdkyx7yx89yCnfGuV2qho+Dk/7l2VIfjX7jQe+G0AIumTKMdK
V38i4AFm/sJmvVv1venFsZaRFjRJg30dxm6pw6L5/cbevzhYAS6MFD4W3FHs7t3tJDAQxGChegy9
YMFwEN0+fjCbiy9wFRFXT+vebmW8ruPr79f9l53BHRVkIZaN8W1AKvsZBKYxxhzQYe0btNPZ9dtT
vdqgQP3hZXn/nb/tLonfPsCs+JeXRbmU2BVt1QZS9/ijxYiGb/uaJFfBoDAWCVb/9g/vyb/dTrjv
4LlKsTNYH3/dlg/XsViiQDZph7kBnwrk2xlQi2hKmizG11K1XJpGoT4Z739/Q//hXcBeEUgzisQ1
TmAOefckYwxOcVY50WQGoOs5auSB16CyxidynO9YPXz5/YLvv/639fDhY6Mpmpbw6/26VXTcWydX
JRs09p0vDbHZ9oBZKtLeo5UTFseAT629ivaUZo8EJfafmPV3F4CZYDBoZFg4SQAa49v89QJIr3Ay
ORzwHc7BUqClEs3hqdjMj/VNMNzMw4g8/Pebfvfa/teaOVaDDRFKb/Qu5BnTCtH7zDYmUfqAbMWe
l4mrP6zyPtr8vQyYT6wCQ0qG//26tShTabh1gW+4bK+3PT9NFGIGKk60ASRGpPjlIUi8LTFH49uu
i0q1GONVBPLoFb8bFnbXJuMfXFT/drejJIV7GNI3xTv27pIwQKYLDXcN0OkHzpYdVWn4mhbf0JV5
BQx+j+lE7A/B6b077e0+YJJAgNO6oHBRvj8+DbTMpZ1X0Yjzcl5vlhNQpNKep+OffHBv4fsnCPb9
Qn9fyE8JAYZekSRH+69J408Qjp/BVd5paco18xjaxF47kKuDtH84td9/s/+1LBxOb88Y/H387lSh
k1zQKMT+bIV8sZkrzASp2IU2+gDJ4A8R4l0w/HsxgPt5QnMkXfk/3l0VEgcUxTetKDDTwo6YX1BK
YfOncV3yz2pm3v9hg29R/JfbitMyxK9HwYSKTIu+X3J3rU55Dl5N2/6QciBdY3hIkaf+/qt8F3UD
DHD5ZZm3y/jp6UULaHmCeWaN5Kg2shn0I2b7NIEYn8H/NMNuj/9vC77d6p8WpHQANhwMtElnaFIF
OqwS1EIo01uxQA7Xufnw+wX/EXfe0g48uBAZK4Yx5u9eFM7zDZRU6JtwSW9Epy85CKb/zRIZBgRA
VkXC+u4mdiiA8hxjTRoxFa9pb91VO0f2D67atz/y/oV46zK8EfFgYYp38dNL1LmDQWAb+hcJ5XJd
HsbhTy6jPy3yLlSJKF12S94WMcGR+wvGHB0wq+n3t+tPi7y7XTuGVRAW4IlsBaapdT58MfjAynVs
736/0L8++rdqBX5/ihD47iyAQJ3IGUOAGpaG5hzyXt4RzJc5/X6VfwTAv/Pa/17lLfz/9EbHIpM5
m6xrMGKGnmIcPudd+vw+kAmpsU33gvqR31HM76iZnOfz75f/0ybfvd+YsqV1B66mIQVaPyxABwxU
7B/2+PtFgn+Y3JQ3fmI4whTsS8fM2fhqTiGN/n4r//ZiwEiBqafISpBWv3teIINTNhaRb6ZuewDz
c1gDee5V9Ifz+E/LvHtgA/AZbt9CK49HWG8pve3oDCo1B6n++w29L9b/Dq8/7+jdw5ldZ7YQFFgj
cUaUq+o/e5Q/ViyVS/RNapQ+ornWlhSAAZBczOcs4v5W7/LjKqcHk2HkXJKezNBjtqq2t3Ykb81M
+r/4IH+6yr/nMfz0Bu/jqJnoYRyIOKui8K4ja2nyv35/L/5xhuIz+XmRd0kvScfNQb2n8BTAKm+A
uWbsSUObWvI/zth5u63vYmUaQTYNaRqgzn2fYKPlOXio2XsDmbwCuve1z/SBomcDxNmCUAEXACik
V98iF9eKjEeyRochXaqkG4GcB6csSm+LaDk6iDDQgp9+fyv+Lnn/cX3w5VG0UFBgvbmXfg4ZWSan
EGMGd4yRpRzTD/MQgs14ve+JBIOD4W/TdkaieD2r+RvkpQv4pIqyj5s/Mz8d1gzicgd1i7+CNDhw
CohPwy00ZqVmWdnL+JFa+bBgVGyQ5qUftzrAMFdBzr/fxj9zzLfORRagAk6RLmN21a/bwBS0Il/b
bW9Ma45R/8rQak/m2uRFbSNT55u7SsJmyXX1+4X/JRph3TfDFQ7EBLMJfl3XSaPEGKgFbqlPG78z
o/nDAv+SFf2ywLskZSRtPK+R3dF7ijEbbcXUs6KZ+hga/GnJn3+/m38JRxkaJBm8mrCNQqL9dTdL
uLJcUOym+0/qzmM5cmTbsl+Ea1AOMYUMSUaQQZUTGEUSWmt8fa+o+6zfs9uT7mFPaFWZRVYQwv34
OXuvLV0GXCq5eGIG9O+V6L+MtJd/P1z/4dz9j3/9v/QX/v9m5KUJ8z+u9/9h5P3fgQv/jf3+5zv+
LVZWrX/hwzWFTPuZuspgK/i3wVCV/4V/UFZtOnXQIugM/LdW2foX1aRGOaFyjIb5zUr2X1plZMz8
DJqiwqQ1ozIx+n8x8cJquDsI/8dCIbMNCpvtkBaTofFR/uNBlOHQraimDW/StzCpxubYSUXm9Gqx
+JI2xEdZ5PFRYhFZy+aw2ddVK7wE60NhhQrCuWjYd+M+WpunIcJj2wlfcDYLqt6SXGPChlX3KooL
ZBl9xWDFnqDzMk72lZEp61i0o6vYknGQk1vZlJeiKJRXztePCJdxGebvG1hZT580wK/jjKZjPK2s
R6IwGCPI/XEdtTcE1RAa4mTXw3b07hvLSgVRVNWFyhwhpzYc20w7m7n0rCzGW8FE25k6a72L2ZTz
Ks8nNJQV4qToCA7bG+XkDHMI/1jLolbrAVqcd9OQ+kCsqu4a8ugPkDx7rfLK2v6q0vpzKz+3TPuJ
UU/pfe1q9PB1DY+NNL0YXbPXmTm6DNqEi1ArQDl4TXXtwTCY40TF31L5WAooIY2NFLdIhLvWKID7
IvqMk+ZoNF9JNTGPie6c4GstSY6WbPuBsUvfvKEbCJgcOFKserlpBa2uhVW3eAiwQmNYXG2TzrVe
A6W2KmcutVOvLICZY+FXNSyXOqavH4W28SJhrvbb1TKAhdzRl6jJqZScaPrqY6YPJUP/LpDTFgju
NIS2XL6CQ37NTiwrf1Pwu/eL3CX4N+31a7CFx6D9ANIdM+FynHBbIVl3FBTfkmZ8TXKyg9iIpPBo
TvpZTyVvNmMsZov5Vkj2ngNlOKTgnzXNHXR135nalRmnIyWb5lkMBOvSDCWeOh1Dq7WL0hiVm7Gp
h4L/yBqH3LcqKKIK4p7V0B1zE0/5m129tErubXcrW3YpIFliLzvGqfAmlR9UGNIe38neLksnqYBO
6+9xpi9oc7fVn1Y0MmaOIrP6ZJodmIlYvGy1bwYE1SPcempW0/LSYcI40iloAfWXaUoPW+TkzUOJ
nn7sh284fbgfV2ftPnNZ3nPA+ule4jo+Dv1yQxnmYTHPDmtSe1JDB2Bi4hQYW/YIoPYXcBkOv0RC
BH4Xm9WLP/QqPsgiDbXEukYDRBI9lmHMxFvuVYk9uIWcvycLc6lO0f/0CAJ8BMs57558mpY2CTEe
y25KNeKWltkEoDePqBecillLg8i0qry6PMhM8+du8iZkIeP0qYk/VeRN0Vfaz2FdFtl+SvDdyqI8
lbTo97NdI6YGFX2tWrvby9XQ+P3Y4qUC/bqHC8uUWD3Ld6B8YSQAhxUkiyZSKujv+q2MB/15rDFx
jcPRTqbrIFG2IiGcUpTmstsoT7ZfLLmXtHx//mdTTr1RH+GSH8HQo2zPb+OoOcmUfE/1UyKfh6x1
qxVRn50fc93Y6aYrW5GLiMpB1fgS90gJEohKZuqsw29ryihzCzwFmCvG1TdQFbFJigwNj1KcetAv
3aw+DNx7ahWMEm6svs+KzWj3oJj+EK9hacrP07R4RdTiMviMcD6OBZ6p/Luq6r2F+7bBa4aSxo90
qj6rdCSZxbEsnM2ILlN/NprZ7+o0tPAf4PV2lk5yx/JZabdwqfpwMjsP2Zffq9cFdj8inK74o9U7
FbMURCwvmm44peCHugUPTCY/RLF82aprf+0pn+QiOQjcZrryIgl85HivugdNKPemoRspUmgmclgq
0jGdO9RYj7aWuJLGpLL/SBayCaL1ym1y0yH3Wj5fGlO9VtpuU2onba7YLC61zPBScRMY7QLsupPE
Zc9SAGS3XW61cZeTLsECu7YbNE+Ku6BRJFfgntSklSrd1l/XrAhQtxyWrEDQ6KVF5MOsfy2VHW4N
bzN+sW0cgDEyI+3dNmv2zGj9DEMmWQZ1l/tr95biA0D2lPEXS0D1HyClchAvPFhW6uMHDhHTv8Yz
TMXFRhDlj9ohzb9bgIQm4N5MhKUA/QZjutoUp5iZmaW2O3W9y76IZL2lhaX7KfO0uCrcAbT+cEAw
7DfA1dvybbbS52HFwaEWuPPij3L8LNvCSUp1bxjYbC2EPvLUoLw4xfZ7G9fhlE5BWZq+rFDd/rYY
y7f1F73+NzRu/MBGOKfXVDFvXcVyiD14stVrNynOApGcYbTLjXcENjjWk36mtjN1h4G5p5e/m7ax
A4hQqpgzKt34oPb9OclGz5KzfdvX12yWvCXx4tXgsQrFsNYOjsLfTBQf//yZvblyG63BmLUXY1IC
HcEcGvdMxisPob1xW0I1nFK3MrfVWjXI64Jh7cKVSl6nTTt0sNRXWL9ul1s7iOycMPJnUUShVOYP
MwzaxUAe+BEpj0uJPaH6GobWQ83rbdvdR1S71vjVp69EV7jbHDtCZSUVqC8MDIVjUzkoxTG+Ds6M
MyB7nqrRY65z6tSn0pi9sng1snfeIPzdPWqm7Sw3QbrslSjByc1IUqm/8qQJRQVj2UbdalrOlL5G
Q3mq08WfU9VZQD+DuTpN4oP2h4uqxhmRLGGo8Sy/mmxeIOzvuJY30MMYZ/ByofhTiny3muWhW7RD
o8bYl9lI8x3QfjpqTVAaw6O86h5qOd8yjr30Y7O6Ji1blvhbseTRUwow9gRLN1BKrO/lUDkc5hy9
ql2bd1qZA6tBj14uPr4Yr5bbHdt7OGZ1uC7NruhpqtY5JZtwrbrZl+p0ViJuGw3tL2zZUzt9iMH2
qu1u01/6HQaap3pRTrhLWPPZGDeyCtg9sxq9SWn/xvq6i6LnDN17jXUMhdbTGT1X6ja68Ywl5DNZ
55tRZV/z+I+PvA3MZUX3rdrnMrfDGRitq1fPhcWDSirHwtJZ5m5Zyn+oY+4e2gy/+9IPLAPTeNGS
dPJhjDv5rI8uPs7SreP4YOLDciocpstPYWNxF5N4aWP9gg7DW3gCLBkH2YaCBsvHoQCJPZJ54FTK
9BRDwFD6MFlttsj4VGB584vGepeaLHUsy9h1Fl2zJfZSHDyg859HCzBonKw/BUImF8031Rz+K9t+
UbP2kepxF1frkyknJ72wnxcF0/0yu509B3maHUdWx216aOXjoKm/MTOgoZp8s59duPiHbpZ+uphV
ssndpu1ZP1qWg/FYN4tFRg1RAPAmqGusw7A9iMagL1+jXYrqsM++RaZ5dlUE5qpin2/fjPxnnLSd
1hruEC2uiodhtQTVMj9gXPwRHVldHPW15Int3Qnb3KjMLEWPCz67tHHW5FqsTRhVzXHUixPdE8zq
zSOjaCRKJVt5pDlK50yckmlRiI/I/q2hsDdFt5vzFIDrg5CH/V3nkiU8Gyawg6o7SttrmqjHmT/a
DJasptmxSPMW9E5pNY6NJdmMtPOszW7JL2Dl7nIHiGQWHp9nYEe7WlpeTerDyIyCtIIEgKK7Bmk3
Z+dEM9zxFQkWnu4f8g3CbJ6dfp13GwL0WP7TZoav4zs2pZtq5bulLfaRwhl7WHcFt/FupV6niZ24
uBmsGyvPXCo+oY4/J/UejVDiKJHhUXs7uDa8fFuOpflc1DvTum3kfqxwwm21cpNJd8Wq+9OMdz6t
b6meHfjGoKiNq8Hr70R6F8wwgpqRA708eK3evGMA8aL4m9f0IFUSWKLMHWcZ0W3zlmjD1R6pHyJ9
XymN2Ldl86jKIx0VNf+bz5qXWctTCT89ntlM0rLpHZkqRqyLh644ho8yGRSZZn4dUUMHqYEQqd5Y
LkHi6wccNe9To39YJsNQNvhLu2rPmdHAtRCgjZWFR7F4sWhQRijAtu9BR+69PcZ4BBqCEOACBPqQ
urZN7sJgemn0qo2UotTWdfJjMF6uOcVR5BDSwIotu/drx9IJ+/Aq9NqNSdhIpJ8qfxnMwVEwYm5t
Fmx5spetvc7Dm7N7qUJPHDn+HAaTSgPXF4AK0Etq+5Qvh2HSfBpdbtSYfq6vZ6GfMqTC+C7t2now
2gsGrL20rhRdDbak+mnGDS+ZkZsPlC75fpmZpcnjmafdryHJcFx3e/AgdaaS94QibcMBBQNGm/xx
iUB1TMFmz16eMRPjiKsqSL226tHsR2gHcrClw7k8W8MjmyUbC/tQlO5kIz4u8ttg3Ivf3bwNnzlg
jD4a9+m6PMVCOYnmN87QTUeHiWqjZlMbWCym6peWLe9myi+4ZbclineaSMjngQ1Ql15XWQ99E51j
2yMjwWM136H43ykWr1Mmjth+XMWQ3IoipdwO5qwdC/U1NdJdbr4RcIC15wuqD9z7iVwe8SLLPKrz
5qn1LzyOIK0LXAixb1ZPivXZE/lhtaRIad9dZTp4/SvluEZWWDppQd0f0GXWbpYsLlmpOGO2l9Oc
8+ZlnF4bajAhTuQIOWk3+JF4n+LE30AWjIAXtoGrek9i0rEJWplTkoxzt9oPNwKRCAjDdMtS0UvP
YiVCjGSlomFCuOKaRblZ9Bgsizc8BWzKlqcUbKnLBz4jjqePK/cnM0GeyGaI8TEYCN2p+5nTUhxg
2QmJOAk7ixQQ+2vaKF0K01urzc9xtFFeqeu5yWPXUG5i7V1dO4/Vl5ETBqD8MG4PpCp3tX6Xbl1o
pun+7hbaTGxkqPM6dSbcR3Py+imdx2Nh+KIeD6DPHOsuYN6GkBcDUN+nSQl/DybqlzI0KLDMqtwl
6UIl2bjDwKmn708GphSLZWc9WdWTSKVdrlWO0WAfsi9dZ3qtqj0ogqJaKh7sxP7ApkzwUc6WjB+I
smOVGsdY1Ad17YKcezjWI7bdMdCKV1X/7YrtvJY6UuQubBJMrxjG8J6epnFGzD/Wgz/U2V61u8es
TqqgayNPm6QvkaXXgsb1goXbmeEpREIf7sLQyMeN9rwSkaEmUoj++M2E7ErXhfAHkyUj2zCsNvO1
M+PZw9elevMgPa7jFMhy+12aL2llSjQ5oQUr5TWPo6MltdSH8ktUrB4kxFDh9LKM5SHSfjvgRhSm
QW+O18weLh0Fp51ZwZblodStu3kpCK6qieU6DRX2dWsIGhY/3erD+C4Vn222FmLXjPHeNrgyNnO6
WQ+JgUDTXl3plznrdz/sN/ouGqerfvDQrTqSzupcK98W+t8yLxDKUBxWzT7mCjn28jGztqqxRYIE
y5Q4gv1G0vetFZa/ifIAUIe983Ph2bgT45vqOHCsj6MFSNDidBrRXlL5xprgdCtDQ+tvXffhDM9H
2HSvsilQmtLbptFt+vKYxPBgBlxgTe4Pajbizz2sRfIQre/GVMPHwghWVe8yRhoIegg/ZmcCeIRS
1o+19baVUFO0ztejwrPErbDG0LRVZ54/bP3vWvyschZGGMN6Ia5ESjkLgjYBvKRS3Sme2IBgaMzt
xaQbFFe5p9TWmeHNJ2w0X6XJ5UzE0EHHkM3HEYbJDH7MctMZFt/kdMoTE7j2IA1il+PII1WghGRg
F8TUTZsbY86S5t+qNmOvGFqckrIxuUIZIQwo8vGcssD9TgMsEHl/M9qXzPyR19avZ8rODpmtI8Gu
x1dKlhkuwn1iKzsjllan1vJTYrV/Nf2vhnpd0/OTyVF7YXpea6ufYk0A2pk7BooKOzcvxtq5LTV6
mc1/0lp6FZnFzkDkCq83znoXUysn/nCc93XRH5aWblbbBMa8byZcpIWPKZyiGAzMKB9IQHJSY/pN
ALrInb4fVYIGZcJfqMFohs7lJW3151bLuXjPW1XvkBuDTQw7sYPiHUokr9CY8a3pw9CJ5cozdt1r
0adPBu/BorPJE1EYxyRlrUb9gE+az1HgK5JvESZTstYgEdnWnxUIoo3gEmALmWOHIdt+OK47iKw9
ebZvXeS2PXxP1TPGk9SSFcVaKv0aVU/EzrsqgUKw1392SrnN3pAhhvjLeDKKnSCdK9epIMSXmo6Z
U6yBOf9NF+LFepMqEcNt2m/BqP8u09mQELEz6/JSjZCFaXxYuntDliOaueFgLbArcFpSS6/q6z3H
IeA/TyqCcEf1icVxeRouQ5PTU0uWTztvX2IJXDOGZjYpCVV6Dksr6z8he/1tu8HROk5mW+HSwdYq
yxXlH3XzZymkPeipUYz1vglQJDpsjS3vStTTypBKHwDeYRbrsRrBw1F40IZ1G9G9YWI662tz5NuP
cpa/zhwZZXWnLvbOsE9rNpzMlRb1cCYAMVwVlYIWlE5X48pJr3r0jIz5KKiBk+Et922nopwm4cuJ
iKTq5ld9dvX+p+16oGy3MmLv5Exb6pTL5ubmi/5czmeVw5aWREeVCS+OhLZx0Z25ayQ6126SHR7k
ZGcp+UtPKlhcCoR95VHNueOY70mA+yJ35ygVtme39W1aip+Gjo+k1qCTBkeHQNWf2+x7nONQoXtm
JyZeQtpIdAAqdPeyP01maBPow4XwRnU9QoGmyOsot0duGgWsoXGWJcYku+r5a0+OUTHhjG5f68Tc
RVV7W8ASyst3Kf70av3QFB9cjuNghCQBCv0lF7ypmU7jgRjN1l9ztq3McNSkJQxS9tVkOscIpWd7
2XNKjubxec5ZJ2rd8maLlKHWgOxlB9lmP1iRycr5JzOuJdFUVved0fTItoIlfAhNpf0rSsXTi8NK
WNdMEpXR20HfWSdBMKbCLVLtp74bIXLNL9oUQvvzZHJqBoqTXJAXZfiFyckqbbw1+xPnrxtnjkT8
sQWLn6VcI2ly++wvEkqqCwwNogrGmImIlTzbUBHTOd0bA84LguUWv1JEh+2IWJMyd2CghL1S0bPO
X3FEH9ZGPVOjX3q1Y3R8l4SbEa+9hmWrv6MhZnWTAnK6EMdqXCrsGkpQ5ZZ6WFUmGop2zizpoY2t
W7IxhUiUlrev1B+7glpNqs71hFlB6y3zNEpxs8db9KZkQ/2QZqwMafVemunrMJLjFsfVRc+DZU0T
GhnrJ/4sZ+uqA5vmeu0XFngrS9/MQdF9/EiUo7a2LwuT3JZ1CTWVqrlMBsUf+B9Y+JEoJ1vaQqR+
1cpFqlmRxyRI1/2ckLna1U7VpWGVAsmjISJ3tV8Z7DVLPIXMrcLYWg96bYLCig8lHSepUrze1DiA
mm90W/sOREM5zAGIB/h/l9zM3ldV2uuD2jhSBQTG6La3Bm/zkkjJ8Z8vdFMxp2XyKYvsa6rJVAvq
SXQA2GIYrbaRhhLFaGwWAWb5sxqNOzxcAaiDmR2fMQ3q+a4JxyQTAbTdR9tobgarSndozLZnjmvd
XS9OhQsYQwcm9DX+zSbefHIRy+od/s13Pqx+E1P70MElTSaAvl06ZQJ3qsH1tCzWm5UQgaVOlICr
WjkxMT2VTdMJ++poiUD2+zZxlmp/d0dzC+iVJV6/HLqRba7LsPqyBDULan9yXufitOatn6bvFRM3
O4OsTzSolqh+OlZ+S/NZ5WlpkUzkrEPTlKMrD8gpkz0hCQ4/WMzddOWFoMVz7sw020vWKBwVIXPD
YZkosngHtvAojArHt5iuSiv9RFI20Oxm/5KSiODWqPbJQrVPEUGOx9GcHwep23aRgg9Iyc/lqii3
9f4WL0a1o90vvEacC93qbjm8zETL6QorE4O33KYIjjccwBI96sWmxWVAFpuL2dhJpfYEyaQOIC3t
kBXGwB35AClpjEF8WkS0+CIfl1B0bPWr8USOYtDm5jfaVmCqTJge8v3QRvrBiqrTugRCSdYTqLAS
YfFjvUUfS9/1Qduxm7cmZ/dOP/7zBTbBuJdaDn1yMTzhtLOPxla+6PlL3JjFs2zu2xpeiYjFVUv0
LFRsD7XDmQTgaYd08HdQkVAMYtyXCijiHu3F2Wp1p5nHeTdI3B+4RtT3AgY3D0F32HobyUPKqGJl
sDG1+WEmnNPvrcpX5C065HUzuaZZDkButPWQA1icrJnVHmJIWEXsAibXwtV1LmHO076YzYtIzHaP
OvuUa3F0UjWVt9cEYLW0IuSjvY7DqPpyBhEDlYaTmcrJliJsFWXFa11wqh0NR1gU4LOxkYGbd63X
rRu9g3RlwPIPaHPKs2NdjvvCXDAWaL9Wvaj+WPcpwhQCWuOl/jSZbmZl1Xg4NkHHavMjjnrrEBVS
uh+i7Bse9eoCqi3JJVz4uTz2R6vR3yFoVSf73oQqKPiGWae8mukyKOwhBrUSPnLQMeN2IVKq3ic0
zyML0oY5y69FrdmgZFTZW0xG05XOcz0l6q42E+4cQnm7YapH5F+zN+5vKcEihj4e4FLgzNPMmo6z
bYfDmJ6BiqCg2rbjRdui5CErtzC7j7vSOP0yFlsDgqn9TOont8J+zS2SEzNNda24quB1/BTgK55F
7MxDSflddmApinfsoWdTsAPkzSu8Hz20k+wjnZTR7Uej91SdD5Rn08Dl5IO2qXYhJJhJYKbnuxxA
I90MEhvzc8LRs6SJYWfmawpYASvQcSIk2kHiNIVY+F7hs1ISyRKU1jtNtM+745LV206PFC+vkp+6
L5+p9G2XdRkEkxldYjv5lBRGkvaCCsiSaMy1PIWtHqGH0pLHomJwZifqxS63Ga4G4oClTl4mbZxc
YxRnJi3RZcAESm7jWOy0kQIgAdZLo7DcKCarSxRDNrLt9jM1rfFPD32ngYDit2bc7AZVeicxDE8c
oBCGLflpyca3yswDdZwo3fuEt24zngFnXXAwZyAntoBYx3GPyA0+S8zwvSuTyGngifliNOmD4cRh
7rP+4sUOdJ78fYF8WF5ZWZJR+9UZkVOJzpdYk+qg6RvWznrgOEM74p8vWmLCKl9aerj6ZVYWHYQn
p80xrb6luP9dnDnRwJIzmiKD99B1LWXpnrNDQlrgwtE9Oozs23QnBhXhxABjy1xKr6+16yzRq4pg
5vDTh/NkeIjSLZ/oigakWXWB9Na7aQbjq7yjrHDhshxyjB1Xt5SGGJJjLO2lvOv9AfBmZCDokgEs
F/w++ZKl5BhLh3ppo51k1H/7bTFpylXtkzVK9B9b6QBii2ctiaRANkBiJvnwqgE7o2eUHzoZkyj0
laPErDW3TA5lAuAUOrdlbgC7rvLoVbpgvwVoFlpZTKEyAiitUjJ1jSyspe2lFtMjXACb/YTkuVKS
j1N3LKScwCIQxv68rD4dr/Iwje0u6+oP2NSzF1nxF5Mlao6Nh6Es/XjVzQCdyGfZtFEQWe0lSpTS
lyEngbAgNBXqMuUSB2lVo4eO033kBKgdCNsySa7N7YA9BO5Q33du2cC/LOGvjo1VA5qchZNjr/a0
OH2XhsbD29Ltu856W2g1Oblq1TvwFE4ZjdGjgkpFpQ3h5YP5HM/9U6yXtOaaeR+XpbuZGhnNdo4k
YzaMAEKJzCRE7YKiyzgtLnnidozSd6aKu2RIH0Bm72WgBcc07YVvdNb93dWUm6FFPgYedQ+Zqw0k
3XwGA/EXGNj4VJtiZbiUc0nqWOW6mHZQWlJFbm2kPAkOMG47MB6Y1fGu+1RDuxLi2LT2nisohWtU
op2xp4fE6l+kzBp2wFrWmQOFtitslVBPVlvkOqU4mBtO1/7OBy0r075mUKJbQQ+dloNy61BFcQ7M
H1tVBtbbb+K9EkFWAwxX7R5At4ZSZ2rq72iCx40//I9U/5hTnZzXrV1vBX4PNyeW0M9T8TpMnXnT
VtbsaEoQ1tz/tVltOLzrOPiSnj6nMJIj9nVKo7RvdhPsNVpijOeaHj7WQAevWxsryGSjuqVtFFIU
35FOfXMw8pxfPb+nEMhte4FZVrs5yT5BDMbgQoXspSb7bK3q6TlZwGmRKbl6EZgd11grzN4VDQ3y
s5XDP1/M+z+lRintyTcXojYPclfRI1Ym2oJRogWY879KtU4we1fMXHpGAKs1PugbAspcjw5sKunF
zNTdQt/5EJesBB2TLT9tFXHE5T4dUejk1B9mdYYp256V+5eyXycXAyuuywys9Zit0oPRp8NtTiJU
yPZ6m3XkNcL41KQsuUW6zmAbuI+fNkAe4MLBe1dy2vM4oA8oEjJHX8USzoLsrqpuL5MimQ+Cscky
BFGhqoemoy2wdhwd063Ir0qihu1Q/Uh2253zPDs0MUdNU829ATrMKR2yBMlMsevGaXqAOjCFWpt/
bLTXolUtL6XSI9fCR3XZmuW3vJPC40Jln06r6nWL69qDVmTyWggw3Ik1+qUa4Jah02fGpGE1S3er
Wv1j1moObpWo9gPbyKsg9tw1skHZGxAyZBmYTwcp4GgPdIcso3qCLFM9MZQl99XO3E6Xu10mFvNm
sS8F2igmvzIrmo/RXOzr1PCaToXimyUtQGV4JvArtJ1BFzaom6b3sVQrh1YrfglHJg1j3KWyXj32
KvRfAAfndFnXgHTW9kC5di3nWQ2Wnt0HhB6jtnpKHqz7F2PS/myLuvoJY6m+k6LHrWmlR+X+JV9q
4eaK/pJxNLhTgZdLn8jLRc0Mek9MkrB1zpd//twySeFuJoG9B+aY3/R4HTsBi8ORcx3qfm5bHPFF
eUa1duReLFfDmJarsOL5qEr669aTyaXJbCI5rsmzDg7q3CgqmqiyTKG3gNO2AYhjraYb0tT2SQZ5
zAhgBKVriZ4QwlEDQ0ChHXSb0B5s8B70iCM1MCqZuf2wqq+dBpSsBmNaNZl50Vbpr8nAlF2rUB/F
YhvI9DLaeVP9Z6UF3Y4dZ8NsPSULrF7oaZwH6HoyZCO7VM43TExyPz4oKX8ByueNCUMfzOoqfQyc
ZrOtf2h0StkZOIdD54XJPfoAUMKgdUypPCx9Ft/GTiAiWgXjva04y3llOygPaKqtIvMkDVWO1at7
BSz+AaxEhPhOex+WsX+sLfpccZkbVEjVfKoEM41Gi8vEQwBpglhqt4dWG3ejrptQnLP5sW9SGCXx
kMJRjry8MXsvgSvzmWy1z8IdvW2xjB4nR3PI+/tFrA5l2lw/5pExv5ob2wg70C4jqZiRrjAvqz2Y
F/B+lhNnZAe02Z0vjlLvFmuLeFYLLHLQ7SJF346kPFq3KtN3uXqnLctn0Q9UZQjEXKOfOPuOBcVE
ra809JaYQ7cFDsHYpjxIMkOlJzy0l3Wa270UTWiaEoXhEA2ggzZ3zXt3P5TZjLsXhJRbma4XM6eL
wY+cw8VatXOZLmHf9/EhlTvIfFr3J4k07SwxofNzs6PBDb7rJUrN7kpJfotTqTkO6NaCJmpzV6m6
IlzQkDngmRFagOxMZ0rSgp7J0lapb2hZuYNe9pyr0TW2uiwUIykAqZ7r72mqhphZFmcVoPn1pqDV
o0YdA9Hpx4RU8x7b87mPjEfLWISTTMw44iXNdxBWFRcsThpA7+Lg6Bvqtp6tSfcgz05BMlh/0W4/
lWLIgnYrDPSIE2zNjAnpIi6zvb2VDUdXA7qHP0P09zS4cbDcmdvcoZrOwL4YJPP6Li9z+sI3Ol0t
PzaQPh/hIL+pUf1ZRfJHOq6vXKAUqGEk047XTgAeOyeuGY3VxfxQyY39YpSDl9iz/mcFccKWw6a5
VHTL43K0r9h9/U2DzDvWDcnZfcPvrzR71dpO1CNJMFmETIhp+gBXsh26SCc9rhAAbKbelcpZYVSG
xY3PKGUbrJqkIlVLihm8KpjecgqpVkZL1s+g63OaFyWrgYx+nzMZx4+m0jd36GR0bapcHoUoirC6
K7/yJOGsMOpzAM+2POlEm4YN9azOCA2TPfMV8b/IO5MlyZEsu/5KC/coUQCKSaTZCzPAZvN53kB8
CszzpMDX8yBZRRa7hRT2hhsuKiQjI6PCw81M8fS+e8+Nfe7utCZnZuGrrJ72BDOOFHjcdO448a/d
7JiFr57XQymOPrHSvnSAtA714F5mUY2PHhicOebJ2UYCd4uA9j6d2zTtTmmGR2dQKr5TxmMVVcVB
ThgPnN65YkGaNvNS9ceaHjEOmsQMqFfNPEREc6XwIr20LVJ55KESZv3FLTgr3PDV4Xq6FU4G588w
onPHPj4gLMLZOY7mJau5PI5uOTGhtebWCNF8LcpczCqFoanh1ClpfMNidsU0/BA3nY6ayWV9KPMp
AC4FHp1CPqwgZsvBspa1x09tG1ZXhV2A/VFhBYaAhyriAVR9hIezdsxsY+W8nWc9uS3mKL0d3Ju+
4QWQSMOwY6yQgbz2AJ8v5TFhX2nlyDWWnG/qxXUDtThrvdPO4gumW+JzBq13k9Xa5yDsbtfPDmz7
yaG1ZZndXR4nXyrvxano52MO6rTOEYD78uJM3trmYKNciKjeV6Isjl40nszxflTFzIJb2uBPj5Wq
PxcbF6irPsDmoGE0+q+RGha+IzTMNMUD2Se9wX94K7K8PsNhKHwXTNbWYCd2gVe5Knx9GkCXak+w
mS9i9G6LSvz2QqO2YGaR3yNYqtm7ySVePivmwYg9zvLbhBVTjPZhI+TA7BpQi2L3OXU5B0Mbu9WI
JJL1fcn6V5mBm4D/rfRZe0R62qRA8IB5yhyPQLV6DrLujH7W4wNGzV1jj7z3GL9RRqSTsFlbdKjB
5ZAeupJ5lDv7TdctDdse26c8Rt8tXKMPmjLtXWN3z62a/zTDoC5eLNUFPBb/ZGi7urZDsHZEzjPG
e8CacxTEEtiRq9sHCvcav7DNpxFUNONyu5cz95mpqHl8Do1xsxAgvHbZmwSCn8gQ7IrIHtgZKKwy
83zbTj06QdpJQn9eH9DTbW4rRDpYrNdIr89hFHYHJYeIN17X+rWc/8hcc+4Xq3HvtQr4iD4p/Dqa
uhm6JDpOThLTYGpJAOfC3SNkHIts0o9OLShgcK2T+RSJRVysfAgqObwbI8JT6QKGq385yEsgPZBy
Ckt9Al/Vtmlt/lj2M0BdllHusNwu7jHt3+JpsNlWuIWfdAwkbaIH+UwnhT2S0h+EBwOYopA243qs
BLYKODAo4jzCm7q74TjfYP1VR9Lfu8xmPlnCbzevqmMNJosALV0VhS62wmg6ZH3u23UYv5jyVViY
Jiia/2MPNmFg4gYSCQ9kOMNQc1PYOCCWTHFnbTFEacgcrSW5WU1aekxNuJhokOgb9DZh5YA2XeE3
JPm7hSJfnCfZNfiI9CyQZRqib3LB0fMGYbfLk6AxKolVIL3h7Jr8pGDdHWoXz230k17Yj0ap3H1f
97y2ubvzpphshlkXl6boHll/hsEsU/CEEdc/M6kuvRs+QVRrsMLzF3HxYEGx3GlxTHlSYqV3/fcg
d+jpxjXH7oJouyVDr2jgWNSxsasXF0lpPxk4NCEEs4/Cl2H060Oawb1ccFJWYcJnK7fUpTSK57GX
D0aa9LdyGs+miq6c/R9Gt3wlYkmOIXOdytNLt6YT9A4xN1t33Fml6XxgtnxXd2nkgr0ufzhmaXaL
SFvko10fuNTT4VIzbzOwYHtm6WaYC3KST2agxb49YkjEEY0XJz1j1i4OM/pS14Ja4TMw+nNib4Rb
/rTY+xav9c0CK4tMeLzr4+Rs+mE/1PZ4tPLoIZ9aHl46zPWqgwbjMSmGXHU2+lyxwYeVGS0XWFDq
jzO+l6DesdQW/dWLfqMK5pvTzkx6sdh49K3vppwQQoIAAk0NfASXzJmXDF+/wwph9qzG79z7uMgT
Jun4uR1C7rY1H9f1t3FEiq7qLh7RevTJ8DcxCgtw646nO40/K+lvsr1ALKbygTf8TLC8N7UB3cmR
mthi74VHUhyBNe5B7eFU0pfW1xMylGVf6cHksGuM2TttgcXPDH3NtWWmOoMlx+Mjg5Asw1amT03S
lFvPibyNyd3Z72xefDWDa5i11NlN3fikN2v3hzPHe2upP9qexANOFMsXnnpw2Zn5U91CDHOGyk+X
6Hck6ZAjiJykoKrAlpgRvLq9du3j5PKGR9SOd8Vg3QrbzoNJ4A2yuQ9uYxv/hds/h6He4IjgniXG
ap81JTrTxGPD/Rlho3McxbB2x+8607ogbTBesOng7p14+gWK77RRerKaSkmRD+5fh4BbpoIbwHqf
RSyO06B242onTtWEpyZZQGQTD0VLRVLGfDFtCgPTU4Yvvqv7bcNRvFEmYl9BoYypL6/hSLWgh0rA
/e1di81630e/nR21F00D1mfl7uRLMR6NZPzqdZt+wjYVh/nBqIzFH2xam6jgnmk1ZrtocQGP2D05
01idhmlkWdpVjISx+BBG0QduZVKaE943fQMc0ogGhAhebm8MNfZ6a6+a21+mOOsOrtV8CqMjVlRr
3tYYFj75c/UkNc4KZAO+QWOn3zgrot36xofwknh5+16ZyVUWjvXrhNrRMx+9tOruIOI6Twh3XxMH
1SUiNaCm/B62vTzk0QpnoJhHJVP2GDfT3UAKwHeG2N6rTjkHVLGIlE75lWfG06CS+b63mIHKZ7eF
Lm9DsaD9BeW6Ta0HJ6HKrBwGHzml+pJluXXoOEr1hRYOXv1u3aC7/YT1kasgeDuLxTCfS14SZDuv
IAxh2hrFZcrWD0abv2Rh7Z51W7P20K7irdEuOC91viV/BQb/U9nJp/8f6xs9e21P+d+XpF4/v39/
qjL5/Jef3/xfbqq2/6UFpmS4m/8qhfnvv//vSUvzb0DWIIGZ0jT+Xv7yP6KWknJ6OkrB1OhEJ/kz
/9GXavzNdAxgF6Cu4N15Jr/0P2thXDhKK1hM2oLWcOs/E7VcyWv/a9SSYhlP6rag2hmMvv4fopaD
npqjgQ8Lr7gKRptrUzT1bOPchOMI8wBGSkxa9DPdUbx9tqg+mTV3n1XDgJ7X4b/xTlaFJ0LrESvd
argdtPjDMm5Arz9b/fI2Ohm7CE07OTQDgADfrdcTmLzUXGAmynT7DQv+BWZvLwg/FjmjB62tyJn7
vAg7+Cz5dVq8gwf9a1NlyD9c+Cc41cHgoCowyN9ABeuPoxZTa9s9Tdw2AhHqLFytjL+LUU++thQv
vWJ/b4Ep3GgpzSlFxvlre5/mnNLaEWdyow/moSaLutG4UW0W5T05XK+ppPsWsHWFZfypPee+jlN1
Kmiyqzgt2/AhZN9DTWNVbHkEsrM3sSXGM/O2NrCCSTAVYqAJs63zPtVkj4Z1l9QOVbKxHrnddeyp
wvdkcsEiAy3f0It5z9UZnyKk5hj/5fIdRem4cWx1TRLijgReGy4xW9Fquq+x3O2NFzOHVa+33W2m
5X7bp/fEGytCIO6dCTAcx7V7dnpGE7ImZTLeQb1a2LvX2AmZSzqJ9SHlir4xzeHDdsZPtjCQXieO
n2rYTZlbkTfNWZE3T4yL537MgMF/6L33woRBezw/JMlrW7dfTQKGKJ5OCrtooVVoTFP5aBmUEyxX
PRW4J9roFrfHRRPaxYjjbZHmf2RtnSeTFkjdiQ6uSwaPAPKT1eBhXuxvKxxfEocoC2BMQBXqzL6d
E1FIYi+wKNdXU8jursj1Qyzli1aW91Of3/cTzSVY4dONmD4dm1iY0XGFc1lMem1ZbPq2opuxLJ7r
MXu0nfzIibugeewLNd0l4FpZ/orLIJZsU6v+sTaInGWY2OrBFBsSXJgi7E04uSCPk8OEajngaV+y
YdP19NwBcOQ5rtJzIcxoY4jxsSQ8VyT6R2mixNXdqa0QTM00TvwZ0MWCmbEE1omDnqVuRL+CNk6v
5qS/NgaBnHrAxGWzAir2WTE8DVwaRFNeMvIOjG1dZHJDs6NPns/HpeIunRruV1nqzwXBMS1VDIvJ
+GRFCUEBMZ1QUfa0/fj5OuwzlKLArFG5EkU4pgTBbuS3pnq+RWPZ+jHB4omAMLuLuwoBDcDs81+/
avVoRJ0cAqNjzWBOHo8u04SFWZy0KY/RBMQPOtgGGYA5U2Ji76ZTLfCp0Nk6Od27wGHgyvkr4eNv
JsSEWVizsHTao1GdSibIrcyKO57kHfEGdcui0ZlPqRPis2CT0/Y7xwLDOdr8JeSA6wQvRsQUBZba
yilgmINiDC9TugSA3e+l010tM97pIj7HkzjVsvi0xqTbvFQLkdt43dPO8rpE0XWMMf8D7lLd5FMD
+zLLYdqYijiqLIltjjEZrxkvoIv+51eR3M6D4YeT+Toy/m8Efzh1Hfz1Q2I/66e77gV20gbceREF
KwweIba7NRRzMRW/G0nAx02LYzvjagsBefMTh5FzDJo1frVY0zNdu6wvMWXihVR3y9g+pE5MIFrg
2ibkV+WIVOMgXrLIHQFai5PqQ23vcWUHcUlyMCeulDmnaK6fXbYJYZL/MZQtNkphHew6FZBr32YV
TRZgBikiLcsDLTqn1E7/yAY3fKbT8FW7E6GrdatKTamekY9sHfoouvm3WiaD63f7MG91g9vkaBOk
WCzSLVV6Wxp9i1+odNkfq8DuSqgvtdhnCzck24xwM9Yfi6S2k91b5y8TEoa5JHyLGPrq96EQfJnN
exk6v6pE0GgfNXo2+KLHz6jDSSU7cqB9dSvkclO68IE5rM5jZAEVUelvb4WkQ+qaSOjqumJPt9ET
8ZKmtAHhJtw6eii2Uwo6oGk8zibDCJR9WFp0l5wRmQNZfM3ygxzYRM6XfvteS89yGFmh1Qaw5J5q
FL67GxO2/EBKxZ5I7pYICoIhlIJC8RtitinH/NFZxp/ZTY4GzWn4vNfKxwUDWs/fRXc4W+DvvNBA
qu+sXl6yTj3n/LChsK3aaonAzpk8eFwuyeyofem1/G86SZi/hC55v2NiYjtKHnngpsVL9uRa2CM4
Ft715l7wBMAcluCgcN5StpGbqoDKTifXxkhDxnGzfnS5jG5Mna4yS7/l4UeviOfYW8/86oa89G0l
He5K4XPeZIizY3hTNtnFdHnHkFYJmim9tKF7cXvxSSnU9xBzG0p+nea2N823BSfzsBCRcAv622Tz
oVtrZscqXp1heqKjABXyHfj8S1sX77pXkCrLExjyVD02BTctrX6CRvBDwy/CNzR2GnFbWk5UsluM
9pJmc9DoxUVrJ4Rn6lM201gfofo8O5ExcdavV9ZOvaTxcBg7ttiV0/3YoPK3doWRzMTOO3Jm4mDd
Wi12p0iYZPXt8mZcU8yLzgObi2JNopMgRe1+xt3ynNKyuTGq/gkLzy7UVwKxlDc1XVVYg1zcw7m8
DquPsrHp7Uy7fktZ8jlfuISbRW8f6WD+MTSSFWSVkvzM+n9LV8OE9Xn13dBaT6qE9ZYl2A22Ffl+
neAKpx05H6wxVLcSt7TUR2+Ls75OLstTyZ5tXfVSOWxeR+2WQtl7xHfeXBbvsGFUL15h/JZtiG3b
LR4iPKwcd3sVvcBUP6Sd9WJW7O5tecLbRQC6x76CNgv6AjWQajt9T4XNPbvZ5/S1cvG11bVG+txu
KQ/Isz3Q3ZPLjW3TQyLjIzjg5k77W9MweQuXvMUSZsuZVjpQCt6Wd+oVN9yrzBpj72QlJTto8yrU
zmiop46oWVO0R09fqOupjmTZ/xrKCq5CHZFqY0FBKgWLzWIHV+FS5e0PFfYPStQYaGW8C0v13bn5
YyPqN9VkP27yYiVcdIf0T99ZDZnIWPl63d5yMR03ZkITQWtdzYIwj8YM69n5H1oOeQq7eIiJEG8V
figSaWO4GSLdgmPeXBziX82ApZnQ2hjk3cgp29RHpry3dipvK6gYwVByvab4k1L0gWdZ9JgM0d0k
sA/WORpTOahtNPpwZcWmdOU7wY5bvY/+8OTbpLAutotRf4We/jTN9e06JhaJfZwsG/cyZ4+yPE6P
pvLtpHGhqKqvtOJBzl1hkxWzIMxGtXCunkVMfgDMYb5pk0WiGusBJXY/fVK8glU5yZ4HMx1lv26L
Z95Oo6CM3Q/DROrZh6REtJYRty7opA4dmjeqwXpYRnnUaG7dujnO6rBOX4mQnvTylPZjvje84QDB
WdtrS/OrZi0JYnsadj0KIw/A6FKt6Up6hnTK/5j/m9ZItmtZU+Ca4buWFrgJ2pCDLBbOQZKeMcwf
3SH1n9IUGeQL/DVd5z0wHlRu98HANEeDJRZTDbh+ba173VLHdN41cleza4O/svTWOctJhTXw4zdY
PTcz/U6wO4qt02W130yz5aPGLxhfsqcIj+vGDA1/7EPs9sQjttjIHmbu1+winHbb6fOPBoUJiVPd
2IvYU9OzHKrQvXqM3H7ptKicYXGwmUQCu0+fozj8dVyifQs6PVR8Prv6OypqSY54BfKvLcdMKOxu
0oOqIw8FVz7aNWQJ7pOZD5YV62F9aI1RHT2SGHhWM80ITONexBWue225HSdZHP5yRek6Y0jEWU5J
GZ+1lD+EOiZObELRy1z92A4mogHDUIvVmTFGzrulXFmUYb5vKZQ96NnJSLTKL2h5YnzWTqOZNr6o
xDlax1NWHkS/l6sK1wEIvVQuNVtY5cbBXphTt5MGORMGr2fYgyOHyF3KHrZycpioEMVa19hPRNi6
oYRTsQyYRebqWBXzZbaH+2y1XBCactyFwnornvZDZ71bJsZvreUzu0aVatkQ5qU+KkgX49lYeBJo
w3QqKGzBmYqziV68rOLjNsi3pQrvSwemTRyZKIxGIGcSsnn70SdY3HhbMXR0j9VUPc6IPIuskq1s
eF3QZH2t4EDlYdmuf61o41UZLaJ03SwtzcjEjntygXy9Lrs/yAnrUjmrLagDs0aiFLt4Ytqcm2nU
HzyMACPbpWZOHG6o9sUcnJtmKPRtlYjx4HJq4pu4Tnn5EgK2Vs5wttAc+djghAPCFACRPWYTJzf1
T1wdTO3ZTBQG2ZaXktCIx5s6JuUnzOwN/7MdeKOgdhJ9Yj9j/ZCL/F2aMT/MFnHzuA+ZLUec/yKj
dWoKBkoervGURlvDUvUxHL3AS/AhN8JZjqJv5Q4j5tGsWFLlrnUue0wqfeztZVHFFLzoPZsZO0h4
o5XeQOPdQvCq6lmVh2XyXNpvNZxhf5npBStlFMjEjNjbuI+lVs/nxt1LewxiRvh9UXJLqfsw8rNi
1P3aFfcq5fLb5axLmvkOY+946WgWyZ71qWop7W5578ZDugepU6x+qfTmrx+WlMiBo6fxIezJQ4VE
SkjpxTyTWZmUxfRmjnp0zHF7X+rylYaGCZAKkIQGnW479TzaCnTB3aCTHs4L4yrzzP4oquto8Imq
nZs+zI/jzC27HHEj43yAdvrFS9tSW6TACkU5AZS5IYTbOL4XAekV5K+j0TpMOb5kHsy4b7t5vo+G
qD1xLS5NdgatlTY/YUNZUFk/G1NzA1HduzhwF+LBWwjHJONGe86i9CkRPKCxp5gw79AENe23abqn
tF0HnwxUgz40kz/QCM9Jy3WKYGNAg3mOTXqTD4x0g1EKoiOvaLhiQ8NEtG2b4YFEhZ8ALkhz/c20
qwfycAPaZbwZm+i+a4AFlsmPnJwHkDyX3rRY6Hb3Q+iN94Ucdoaphh0ceGzCxnPF0YsUdqDAC+AU
hH3ZJHurNjQSExo2R63frS33xCfuWypPffzgFvZw4VMHyJA40o4Xj/UdPSDvbj13gVZolJRI56Fs
IFzUfSq28BoPpcuY1OKKQQfJd2lYmVuNx3gykjo1U2wVOJzfVMz5jSm+ZMZLP13y6qfy3pgVpejC
/IMhlDQhtV5cYwELgMrBrRJyI87zIK4g5fZ0RkK2uTHFfMXgdZtwESTxeuKdF5Hh3JpW9S4dOJpa
Tr51wviJKTJvWuAmhvfdZwS9HKrXZ/k9a827PsJglOXwB9Mr/fLPGXdmIpef8aTtqUXNuoVnTVaw
CpqYPur1NPTs8ghE4BfMT3fgcpKWyW01cvK7NAwXmrkJqe2jV+piLiUObhgGnuq2xHmYSEXyDi8j
0L21OSrWua6SLi4RBpgGZgQpLipjVUF9rJj8zRqgQkoFsRbutOHWKscProMMo6RZdihoggK/NPPJ
STmHroWRgekdkYdwuAZKKNL7R5WLx5Qe3k0zTOiIrnPu0mTxnYZqYMrWobF5pT/KtXokLRqwHc6z
1aViZ0yXdnF/4jGQN/Ti+nGNDDNXKc7UjjHJkTHMjzgxdqC/ODGRJu3KkccQv2CY5tYJ9MnFqAoZ
2Hz/t3U//4yZtpwFnHV3IJOQRd5TsohXBfygK22TEG2OGdluPiO7/bMYzh3FGGueRmIM4czuJOCp
eAiRvEIircUQUlDjkKCyuEnNxYm7NNvctUOyD/hXfex8VxVHGfe9ECEThheSUzLVDy3T32Tp90PR
mUFYjk/24Hzo3QJQsWKPutYnRqOQx6x9zLqmfsjS7FiuxI+lN9Up8zh/8AJZ5LtbfzDtH2fx6qAM
25dRxkFrLnQvuPZeTlUIB4iVq6WK+9ydaQwYje9wBuFRWt1TEquP0ZqKnd5jtOhUSNmco97IYw7B
/9tNwbqS+Oc2+r+vKFao4b/96z/9JPhLY78fftv54ZfbZ/9v/8rvjH6r9b/8v/3Fvyv1T3P9+1//
y3c1lP36/xYlVfnPIr4h/o94xYeh+GQB8B9+x99Ff+9vAOgNEIlQOoUAxfpPfEXDXpHqHqo+ZTIu
ZMN/iP4wGcmR24DdoWnDGuaX/iH6m3+zDQft3tXddR3wnxT9LbyN/071lwZuBuGwf7AQN8W/h2/G
nZqMcEQIzzC5+t3gpoee5/MoQuvYNJDTMj3wGIo5hyhftsLp7Db2NVyyNTo2NnuXInArsQgZuhms
myU+D0OhHSyjeDdS1vKThju7sZpuh12LMFzW6ezAF3aVIWkPl+qwUr12zQACyp3coMgOUjJMxMjZ
jk5TcWmJYIm+Z2OVwVTeMifnJ9C2zXapUBu7pcNXyZW9yTqGGj2+Rg3Sq4dVG0uF92RM3nEpLN7w
IZeMSVq3hZE/FE4jr5pewcAaidak5MAK1fpjMY1BzzQy8tqcVy5FwrJ1xtS1bduuJ82IXAwA7RQK
AtrlaDzOsWn6E34cbiFEhZbuQK7O3jltzwqlEw+oL3tM0QyFdrNsBwQ4vwkfPaW/kpqekKdaxAYF
a4AiNh2c0uqbc7BMDgv+8MWcTh43JCAqnABMRNgzeJR6bv5FAVJ/X1NbAcku9WMnfdDL5EhMhkyx
rUe+IvxomsgEsd0GRj7gxQZWw62b285FTxoQCIkudlp4smomraFzX2sQISRmcYIVRChp07W3cThf
hJslp7U4VcK2rPI7PXHNYJxXEl15o+L2Cy3N2OYWkAsyy48DLuUthqsssObxvTf+WDB5SPgz2Ffj
OUQCPiQWOBPmmbbXV1k5OolVIdWdedl1zZdaTS+znlO/6f1m683Tom0gqJx3VZvh1jEIoZnWcJEt
h1vuIuzMtXhr8NweEgie5UzspB3ZF/XkHs5CmcfInuR2EhFJ2oJHodLMI9ntmFSiF+2q4piyXz8k
2XJNFY4ft60/I+naxMI6nJVg07Iu+5zhAx0yNtshI69Pohf/3PADzdnyU4nZigLJjRPPy8WkS7TW
vasr4Q4XZbjjHJcYOohJdk0qzxHMF3q0usMyug8TaWuwCwT+8xFprRdvQwIyE+RaxLTn4KGzRMi4
jsvTGCB/8gRy5eTHtGL5y7pwmWvqrqTd4A4oWHcba5+yt0nCmadsjdAyoNkMTl0F08yueexJP8Qq
D309poURwzL4EHqfGth1JMaZlmaXsZnmTISu+JRODBtwMd6o9wSkOqBnT82XrkUlyTHaBkMr/xxL
gTan+sDrJu7wg9y7Sic4ki1v7tDRbuSMnAyt+So6k3PEec6W2DhOVf+8AuliDTFc1SO5iTy5U1Pz
EdZvAH/eJ9rkh6i6ZRuCpXaGA5LDJBoSLAF2nuj+PVWdia895WmlbfO3xrBW2Qj8QFbLA9HY5EB8
tUEUhUr3EuZswZaSIRJfMY2gaQ2Eabppi17s2gihEavOpQUvk65XkISkeyKHYzfm6FZT/tzVHtSs
hdBfvRyJfOw03QzpIDA+6i7lBYcS11enxVC+p8r0TABVULy9HV1rhOc5w6qsasZT8wkDY7zNbbap
ViPfdEve4t2+mzmZD5RsjbvaaogXAhsrFQCntlFbD2jVrhkRCc3RPswAYsjnsG9xrO+Itka0ZaKy
VjTdkzdVFL3Fu5oOJrKKJa/XyH3G6z13p9DFQO8D5hmhqPe5eKGMpdvq0oupoCZmlWfzVfTNZy3B
mk76/FRkQkFFWdv3YlBwkw4rIA3T+7k1IdxxE8dmvqJsB7+ewmSnzRrgDDJFdUSNXp3E0LzkHBi0
8K4+wuHSiO/SduSpYGBBwSJKBSXAt3IrOxTF07KM5l055G+5mV3VsOgs6OIfu62dre3FDMCRtRm8
nL1djOxjcJmnkYF931jUfg/m4b7D+E8eSPPbbu5ZNhYed8xG3Vezme0i6LbQBjuOeb2AOjke+frc
XRzBdYzn2MGXSTxr5n6BPZLoALiP2Z8d8Rgnzmu6rv/g9ooLrXb3wrH0g2codK2m+7Layr7JXKKq
9Ti8LUuU0h9KEWVo5t2mWbhCEUgHWlm9hjpOmXF4ivI+PVjLguVHcMUdJDJkwtfUW6zu9AkmrRyH
7mDbrJvXBsNrps2878oa8opeDneIeEryABZt9Bw3ZvHUlCRkNCA4IYkQesTbekfcecDob8ijx7u6
L3j0mFGGy7hYnsTaWa4vOrmF0NsIT1LF27SvGRHw62Kpic/l8ojkMh48OdU8v15FmUanXI9901FE
P9zEBAJ+r7cZ/tV+Jn85q7VDOn23LOh5Tdhpd0a0XTTX5A5mY8JbCL1QgSOquT6lLFT3EZT5wgy6
JeueTRfja6aSmwGURC5uGu69n9J8qmZ2/wQw9B0kZSLH9UJsoeFiZE4tPeQUmTQY/qU5kmJeaFOH
rjgy1woCWTmEsjzLT8r+DklDQYUem8PcZ+1Oa1V/nJC3VrUyfsD2GB805KCuH+ZjT9xz1zpN+SAM
tLnKsBVtskBlVRRE8PI+I0dhPG+S7EqzKKKc3kwEU93WT9t4eKta654FuXXGEom0Wnk3I30Cr/Q3
gGfEU8j2/yKlmQKIo35TV69eri/cRE9ttDRvK7EiQYI51HRd+ixL4ruGbEJtN+WtqtE1ut7KqZDl
px2bMB/7KupCJeifb5vqSsVb6kPaifGksVuxQ7MOEK29s0er43kCJ7rnqf/u9eF4IYwzXf76J1nB
LLNMXj5SDsjU9OPiDDfkvqRf9xo7X0pX1mNGU8lWE3lA5W77lBit2lLgLlByTb9CE8SQ0PGkIN+7
83KTn2oRzadt434aUYzbjFv2ZkEEJj80ydV4La8oriIxLAzBbBC1ogDbl+P2Mk4YExOk0e526Xp5
VOvcpUU3o6yoOy/o/xZDYdG+Hh3sitWvOXiEm6uS41tLWdQNDdZ0vHKCMY9orYcGnU9nalFemzbm
EersUxkeIznrp5Xx0ITVY6/glc0GENb8ueDUohrBjoFZGWJrrF43feUdeLCoHOvNNbxbdmWwbOT4
3thvumvfGazuJoDNJuvFMAtB43QtMh7i/BApe9/lXK4Z+4M0vfWsD6U1F3ATIDZKgrCzXyJGmwsB
DWiILcOs5mx1TnOH0azGJp+CFw0jchMhyU1t1FmAEpdwzMpgg1nx7e4Hc+0Keo1LwYfRonsZbjHd
xcuBJQ/IUJMiVzvJdrrzNJWfZNI2XI2vKFq4VIzxsubyZxfoCBJYGDnbGjIoIZCbnFR/gSaHnnRg
b0qW0Tk0LoFE7Q3H26HzPNqt473KtF2H1llojbVVambQ7K+ORkxnzmzcgyQFAATf8VEct0tOG/GM
0Ates1wL4LfIAd92g3QDwMzSIY2w+5r7HCcnYpXGkiNOKS/9aqB9QiuCeXNHdTMNv7QJ0tJso7Bj
GwCIafoL5dVQwumPNSw3WA9OiaxEdJFvTo/zz/O2VMH70lbEh6H5FHxdpr7hPPKdiXJsNqsdBLOB
EnB7cAm7wiXbpvAcEg/gn9GDexy7b0t9pzoSInDnkal9YdIQyJKgpCkivrOLzzwFC8M81uKDEtPK
LUWkUvyFE3czEm7xjBEv8ogTX7E0Q4Etiw9l3Bce943QTZnP4FvokFd74vv7rnp2ICUw2GYHUT3P
5aVjB+gsPWAV2EMWuioJtWi+KzpMs5cI7WqCURgDt2un+SARk0ULewahsgHOTpjMDx3vxVbpR5aa
92mO3Uf0uKCYFTt7WPBXFYj9TcZ8jnjYWd6JFxHwMsQiyQwovhv+CGrkbrBYHAfjp8f9Ysm30iAT
wSrFIrc+KRCY2AZsDWp0m2xhgmBfIEnFB3MGl+uw5VLMNgsiytqsNFBWy76jU0YcjIa1RQXEZabO
ECjC/8bSeey2jmVR9IsIMIepSIrK0bJlTwjLfmbOmV/fi4UeFNChqp4tkfeesPfaGwWKGg5J2K9c
lLSM4w5d916wWoHJJiKgDHMLDrZ+4xeokher62wxbk8WpVqVTMvI1BXCj7qz7rI6X42abRCQTQZW
VBIVhLC3Kg7PmtGILGczLJka41xdeswa8C11mvnMGvke0ihajL6Y+ky3dC5fFpZtx0+gbM4jmywB
082ZmRRbtgxv3AhZEomA3erlVRymryFPoWSo6VVos5vQQCCow+pdnyi4Oqrj3mRDEoBEt1gj9I3K
1C0462g3XCPpzqnICD3VCRCQv2OtPhrj/IxhVXKf2EqqhC7WiGc9rsxnp4NNUijVlKmBfzb1JH/L
6VdZiZCysmbNLhN+C7gg/GcxwmS5NVOXLUe3/MlnUoZBwbB17kFOI42eNxGITtABiKHz7I9mj4eN
1zAeW9lLfeXHryvdK/LgtwbCry+PmVHj0DEtrq+Wj8dqASUEtf9AnTzvgc+82gx+3Rhmf2ElfM8T
OM+0ZBEujmxvJCXbqoKmQxJKOUz04iC3GRUaDKaRbd7OAieWSOUmbDUBOJ4FVkoQQoJcdHFDiz6D
VkAUM7JU3kTUeRe26hxuFxyPqzEtCU2oQV+jH8idVDd0t8LiPRrNzBtuZ6mJpmXUsUREHdMPPbkh
aHaMFsFF4avXJEqumcExUxnFOs9JL/BzmYYjxbxSWgIl4kmVJBOaaDs4OTtYX1dx10OzzbRMWMfx
0LLjJjGFOmRysrGnK0Yb31fVbizyc8hL2cZPEwkCykDQuHM4rAIBPQ/vVqJ8WDCIfTU4mr7i4GBc
yVsZ5viIlCribZC+w/bURXtz8LhgZv5/q7xjnoBHldgBavFSPSfBvShvo7Gr9XwtMEz2o39N9T1O
v8F4teAudZeJEeP07PNt9SjGK9oNCfIUigUdcHK0QI6+6vlPNjAnsDgQESRNdeBQCa4sYR/QrZQ6
qp4gYj2ZM+38jHXM5Geh/U4n5H1QxZnIFAVqwYkueAMxiF8xTG6gzwqdi7DbwINay8Gznz/Cbgst
w0qfQvTGeIKeH+6U1dpCP3FX3ybO7ERl3EBXjnGNRv5fCLUhpAsNeJ/y4i1IPjL/3kmqgyV5xRLy
O7CesXnUig2r/8Qno2BRUK4G+QPxODpKBN3cPrwqjPq3NVlCs6tM65RNUTO+iPSB755Cjv3QRpRs
1xIJPTgp1bXanWZuhvCp5h+pcTuOwV6A1Kbuc22rsEAMseTmEK3K4X0pU0JohQfgM4axYWhuQGfU
zATu0mmaXS3YZ3h+RPCECcur+BnJ4qpHmROxF4UZJUprJCQNjoeOO30T+3v4q1HyHgMj7wZ1tRYh
mwgD6xnlOwtSW2hC2xr+evGAI2RVW9tRv0kVaUQlMyP/u1J2nbLmeh8rr9fQ+KA+CrBNlpFbl16A
6IgELlFD/9BdjDX2JsAxGOm76Svovuum4vIqiBq4mtYpqd4nhffYBCFlklJxVMdvszs07W8kn9tM
s2NWAFjgrdoGtVFzxOT7Hv4iBGNHAXMwD9+tpvKwvnq4LjKGJdgWLlOc+DEyVFpe5s9QujWmtJqk
2DahgyOr19RNTmXEXMSe0nct+UyDg5++/OiSUSMVDRqF6oVDCXGZrxzMeT/Lz5KHttdPU7nNEcoX
HE0zcJSXmB10g5XYCc615F999MESP/KsAlGFrmBzOjIuUoRL0GjbMoGfhSFT3mH1FPM1+FYwPqVs
i9V+7J9+4nF+6ohl4pVy9DlvM6+jd5iNp558xZS9eNOCfyBmVqLwt2CAM/3SKfsyB4i4t9RfSf2N
F2I9XATD8uKWNZWTQkkWNkTgGv0vMHq57LZBZ14r0uprVgXkP8ywBLXwzFExCLdy+NNNf4cSlTKZ
DLw7rXmVRHbNHozGlR0IzGewY41v69VXr2zl9kyqjYK6TBjME3x/oILfYrQbMYIAtATbuqDEIKJs
e6gtM8jJALdRU1x8I7a1DrdKIeHNfPD3ZMFZGi9at8PGz81uYQjpivcu2nJl+wOjSG4yjRABhd+R
LRX5bjyxRMAFb1b2EIwbf4ZonQxji5rYQL0jUOZJjBDM/Eeu7hJwx+xaULKP5sUobo3yUFo495Tb
oA6sKtnkoIOrEm/tjpeMwIICYXn2JvvvjfAXjv+sdi/IDsYZhJyj5LQT4JUPQbnl6u2/NhCyfvrX
WBjGmVxc4IPV5WHEmGWcLeFdnKjV/1XGVVIvbbedpg3+Wqsjp8PuoJM3lKmLHO6YNzuBufXe0B/J
dE5SsNnukLmS4mj+plbIBICD7Ou7cn4GyXWWT35GBt6OCeqQ72X6vxKSIfEMmX8Qh0894JrbiDH/
im/2efuFn9dqnpyDFnSgU/EpcwBGM+xhVswAmMaR7Z254KEOkn8k1YAABW2Cv7kn0MdQbzUuTBPd
JVzJMvruqkum70s+PlW6FpmnsRs/WuEht45WeczKS1Kd2s7lFxS7GytHU/L4jfTpkWeHfrgI0WeL
ryH+iSu8p/1VVS5Tef3QmA0FnMPSevTtXP4ug8+uv3LQsPZPzVMfP7NoP0+3Sv1oygOcq6FdQ4oa
5m0cPvThUHCJ9YymMiALN9TQnDFZtmP3LkFl9OHFfRca625k+cvxGix7cUi7jJ0Qcd6J07znfNpN
9UuQ8HIgWw4YOacUP8zuJbHRC8p/+rxNeanRPwvTPSUfpYcZfMoAAOqeJEIBXSfqzi8w83vMKJAM
safYTvFJTl659M3Ai5/equ8LReakJpcse59wIPBJ6eXa784ZmqExSpHR4kab/g3BRxec1fyeSUiZ
A6b5HY2Xx9jSIF5jdvgYl6D7frE5gOft+aXi6NMs1iqngycGtlh4ZXRTooOk3CyCGRXhK+ofNUWz
EDP5Hj+6ZIf2Xa9+qvExN29Y0PLk3MR0PeglO45XDSB7yHEzIJ2bfhPdEfMfNXhD9dWGyKN4cFpr
dPzqxDvCGJ64JR/A07i2xnPG8DCGYSYlRy5lZVjz/BBk4A4BEYHBnk9dQ/pZb8voIdHj59Z3195w
jLE2TULIOzfuLz6ZVrXN7M63Mg+TLUsbNdyZS9zDPi/dLPoZJGoe5nYWqUwlfFXuZ+7NqXqYI/DB
s0k1zq/EVwBzYurvKTJMhANcilnA+h3w2nYagNWcW57f4sndF4sc4joKarqxzSR8aMo/KUC1uGPZ
X9augeBMWhvtn0bHKrWnNnkblRbXw3Pe1829s94hUBUlr+MAimLySP7gpQuyjUKOk7gtpu/e3KTQ
GBeF8bqbXwhnR+EnNc8GNFbCMnjxa+KnsNEdtOlHovFv93NDhIEbIsdE38whGgv8S++kjDBRo2KX
0xPPKxhvEqxGpiEQxkHciP2D4zS1XnPyiLVDvLzchpfrXqsdBwqTFOFW3q/HfEVNNURwZ7lek/xO
vaGIL/J304pgFi8XPRMHRIIztoe7UEWP0p0C3GdY66YN/1VGFYzqjUb1EASM/c1TYPCqJzYiAxi0
DoW1qjBEO9bqdlDuBIjYOiPZGqmRNKl2mrNdCuETl/Dtzgs4lL+P78tYsMz9pVFJ7YQv3iNdWnEz
i+a3Xguss+6Gf6A1T2JvpnAeAHN/JeOqMhbHH96Y7KcXHgNSG6m8ZiEpXZComF80maNlt2F0a+mg
MuWRvEE8VsgcdOFjGr57vpaAbq3ccPvF/aVbgnVGkUz7Xau7DbCV4ZGRjtT8QApu220nuoD9WIIw
TkOKM8DfFbl2on+acUyJTtB0j+UgT7HivxGygIuR/jYVvaimDuFCFHIAOX8z9MbRg8CxkmkMyWkY
ClcLyYBzleaJ84mjGBHJxC6x9o+d4fDKyrglJY/JSB5gHdh2cF876jeGaN1RpKQLHTgg/rwF72ma
GBhdo9nUPOLirQG3CHRkx9al85aBc7ZCPiV5eXUEr+IwmKqgL8hHwOepfkb1FgzbJtgkiZvhffGr
B5zVbjyOyWdtGCuiHdGeIVtlbI+T+xIrjxiCCGjEvbgzvbjeTikH/b3UXln0ode3oriI86YP3UJ0
FRMq25YfRCfXxdgbaEKpFGRG2veSprDYFR1E7/6tE2B3n1g/rFp6kJlhVRx/DsklRnQnr/kj6cxI
dN33gpNGjtJ5ZFOMKsXxTTG+4Yuj6k7gsbKXlLNt3jo5jDwQMCTMAEVaKXT0w4wy9iNL73L3rSk/
YfnVshVMVDBT+QbKDMjaWj/AsU9lR/5TZrIl3kVkfjKkjyb+q0RbZYCnvhHUMEa3NH345QmPKfqy
lbbCZK4cUNFZhMm1twiZpfoPo1iFS6LaTb2rS3dV+o1jdL1Hc1uDt/Kk1ULVsa1VRXvhTOGxPfj6
PlE+S2B18cEXjzji/dmrh8s8/DUo1iOVkxo3gCXaTL7GzB2pu4p9EX27qKpWCq33u1Tao7Fqo3U5
vtO6yWDo8l1ZMWNckCgC/9pgtYgA36GOrfChzBr04FViq+ITuTt/h8Owh/XgVo+34XyKrBPgn1Uk
7QLWsdZHGx+wkEeggLSzScIByxEnk55gBwbrOWYHjNNduElTpF4Sr/KPwQkZCe9t8VTQgBvWV6V4
POdivq/zcxU/A+HQQnzokj/FOpbihajXvtsxq/Dx1FgbRT8Hy3QeJU86YA8m7kXj9woOkUI/tUlH
cHee3B185sLzV2fwGXF65tZDES+mdIx4ZErSsVAAKp5q7GlVmOvP507FP8e93iPeBPTYQd0gEERf
6+26GY+U7tp9Yhci9fbY48BYUp1Uiki3Vpm4dh+d8B5JJaopFLch6Vb+v4xOoI7f+MCz4U0OeA33
peDI9oyg7VQit1PLf0QdrPSEQ0y6yPKbHBJp+DZgqTfWhJsE6j7Z+eObxh2fiU9eyYZICzZ5gX4i
ptDSE7vCvN3ezeAvY8GTx7Brh8+J4XE8XBLt1KWszBrNbkEkjYuCNmZ+VNxg0qzS9JzkO9btwZ7R
7mTjUZc/29C3v7ToQbpHIHsoiavChadZmYcUO1vEr7WIfmu0y3BwsM1DA3xy/jPB9l6FzTZqchtY
TMtjwpUNxw3z169POFoMsHqQd3N1FDiOgktYHPmy1GCD034O3wSUqxxpffavI4iM545hwRni6arq
3cgV3ALTM3k/1MQg6bmc7VfDQJQkk3UTf5TGRgFZtVS0DRi/RwbyNwY3qvCXX/3Ts3fqkaK4lfAD
on0rPEkaxKjeHZfB9S4Wb0ZmrZhFO9Q5NKr2NAMwowQP/0QugbFARAvNzuqZ2+qXwjxwi47m59xe
oG7l4gNAtOCiNWOlKiYX6LmMY8C3riVQxmL1EzBjYrFhY92C1foN6JEtNMN4Rpzt+JH7R228ayWp
VW4Ib27pvuJL1n0GPe4z4bcB6bGkURjTgUXe8ujU4AOMfYqnIpUvSweUjSxaCc6xniX842JAvk+0
74JG3+HeEdOLObjy8NJINjRFhsCEH9LTN6rg9SSYpPHNyL/wXPXOS2aNpbl0yCPoMFcjNE+HFXyQ
iofMYKX5nKat+cB1Kcq70PcooalES3U7EyAkEWv1jdRMLL7j4SToZ4yXq0baQhGIgmtAjVHWGF6A
7EBF47kSKj7fTavv5P5atn9x86cYd5GRco9cxmS7atS0G/l+Dj+K6F0afie+ioYbGLNVGLhJ/Q2q
rGSzMPJRbCTp3Zw/ZwZgVBGOhPjYyD4FY2tV1yD9KHkOChmYq0zuhK39V0CzHmQUZuU7TXguczFV
nYjiKlyMuiDdEPJPb7wdku+1RCPNCm89r8iyifpNmUcTPyCVxBGueXlCihjjkuqEA4T3yfgg5LNY
vfx6nU0b03jTovcoPSb6rlCPnG+p8h42VyP7AvDg53vSyc2KngfP6uekM8/tnJrzU8LqOzCmk++m
QPMtYsBa59Zmll8TGkSNM09leiOPNucoRaR/NlbYQaAJQFHmHo1wCeV4dUfxwmZX5g4gSa90Svlh
qF8aoEI+UnHclSWW6+3QOwPcPL4ncD25uVFaV8d/KJwm7U2aD3W5K4W9FulAiQjfqJaai8wkJpK8
r9IPs5NxveS1oojq3KEgqApiJmzVdK2zxKes5KTX3pT6OACWXNyNo+xwQJArWv0R11N3WyRicuUZ
6asX/k2QClQShfB6G+wEYD6u5P4R4z1Rpy84WVl5UgKIIBvK14V4WXnlBCEEV1vPos4od3QOlXz2
MQVp/xrlU8zueX1M40cxuVLL/Qgu5KdOXkiw3Sg80z/qvAo1OY3OeGBAKD7iCiYoYo9NQ9aRfx2y
DYzNdNoHOny4b4DJIOE8UurO5nj0Sazx3yKiyLAByM/lvbdYOnJUHWm0mz9dd5LJJkyEGJguw/iZ
H8bahUEXBx4ASCdlocPmWo6J8el20IqZy4nMIH24mxt6ldlYE3bjF1dTfyz2Ca9RHeFWsWpvvpTY
cMIUnTTHEu4OR+cZhDdo7KvwqAXiJjOgUSmfefoQCah1MnWvkpeCVEqgtJGWQ5yYYWNyanMngoXj
RzeAYXKOJPkHD/bCYC/p81pr06ePcL5byRccYb3aN8r57100P2OuFmWZibYXdXTHelPTKGcVo3lG
Xwk2oXeSuNZC6tsC8NJo/kqNl4YRLZOuunVpK4aM/X3w3ZhOFkCS01iHcXwPY/YLGWbY8aoG/zpE
YFgnSJjmR+YP4UVdghJa5WzwcUarS6hRVMNP5AqUqVNq8zbO93k9O2r1M9ikgCRr3e3Xg+UMKyok
VWCKqjqyYdj/mShZq8iSuRLYhI3KbwGdSdpmpUd+ZaWvUSWa5SOlCvMrMqaISUgBoeFX5VwrN5FL
qBE9MhLltUCxliieaGNT43t3CdCtrob8G9sIeNojsR3MA1AR9W/p8nKzWmjhoeLj6IhuS9etdCmn
eyC6g/uqxI1vUVWUTPZBQmoTvT80UANp9Qb/9oqFqF3nl46+X3wJw3ufHdNlCKCniOHegPuUIc+p
za7YUYFHJz35OWCBu5Ck2PErGtEblqwd4g8ALk4tn5dfJ6EDwYyCqiPTT1IDAMpJHRH1tXRslgsd
qyXERs06V2oDYSU+EJ7bfPf1seyefFR6zxxf3ckz4UXmLS2flrphJ4admLcDFFm7Vrp/LQytbHqq
4R7RlkAbxB/fE3tbY3gF//Q7C/euPpvat5a40fQPDCrDnV91LZP2d8usVyZ8GzWIvJpew+Ybm7ZV
t2n36lbvU0fmE7WYX9Ntu5q/HVwJETpjaxBIrfonQUscHoQb8eNtqbEm+crHQLaNBa2MNr0n+IVZ
vvQt4KvNcW235Z1Imyxxc6fyyHYut8o6pgOpAbuso5gIrgPxYHxlRnQLqlMjH8UAzx4t84Zpa1vu
sKa19T6gNwD2rOZrrL0AxDwyAbZUjDTsXIyA+lYB6W0xkc890gWQtcp0H4NXAFFQrdjfCie1J5S1
fYQ6wyqM4h3C8YaRdJVdCGpDvYFPj9pCIHaZIXMUCHZLma73D/waJGbuQq/YqMWu9AZkL95gXUlM
gvSy0vDWJNJNZHiRRr9yxvhvwDtwYLpXyidksUxAZvyGSvSpfi/YOY/7XrFNSOiFQxYoC2p2priY
YfrGG1Bcpva0usluqvf4TS0v4fSxnD598pCLveoRlJJ5kfFMOcXHxFyZfcITUCGKfRvXTMOra+mo
TKs8w+GOYmK79t152uk+jA2RO8T41MezYng9jDBfMyHUMiIk53Qw6NNXMWRg2a3PluwSYZUkzNhv
xQjH589X7j5pftNB0Xd6h1Tyb2qPUvGjR1+KBOR4YIzykaZ/vs7K8PQPArt1YeTAAM6CxSfsqTGC
kRnVZ5S/cmyBSv8PGegqtEna9T3WGfzkhSt7UXy1mLCEmeyWXUhAtYpL4I/JEbW+oJ4HEc3dCkL6
vJsdNu7RsXPh4pUXkf2c5BE0KTAWwlTaMdcBm6jD4iT/glY593+C5p84PirxPCnXMYOzwaMC14zW
Esyrf9H0V8J/yrQ9Aw57wAfBfrOh4UXd4jAeZXRnWw5I+eyzEI7T9AG8LyWUpTbZspR/damyul13
BHfkN218zvXZb9cmMgRF+pUROwnVhpFwzsEet9tGfauwTocFJgb8Dax9JEHeC9iWOBmdluGfHaIp
ZRBwUIsLN7KDdnE1nk1K5G3olQMReSIxgOxjeouSPj9GoMX9/VgcwddxIKOdCExatbvZvQfr0Asq
F8Tdevi1/pFuYUst5yUjWNJhmu6ZE7yNWmrwxPzSKz+iUAHpIv8tv8iZyynafZtcYT2j/1omqpzo
laKRnYYB2Sy8pO7ZGjcq3ppmJIQYtixPmGjcBMEJpbVkvut09UpPKaV5Cl9gWx4S3VNsfLaopDqH
F0TSt1Xz9Mu3NPeKCygEWWTkVOB0xxQYsBqqh2YjACnTjkG0RRjPE4HVWuj2aH5XmXGxUDHzpPZE
MexHrizJOpORHvobVjNM2i9xfuuwOpuWnaouGA2JPz69l2zhG5Zx6icrIKQ3Y3DgHCuIgi8AVPLP
bUvhsIRO9iv6lRZvGNkOXuhYIOHWQivjGM/pInKfs4SyYcRrOYr30QEUhjIXzZkXbrN8yzzFa/Rj
1wDeIOz1R61fi9JMRLXUddxGBMOKI4xzNp5EPTrBhw54dvnBJaYnwzL7ZecXkiJULvVz1jkGMNCW
XjfgqhHQFeLtXCl1vauwFMkizJPgLZO+mkRaM2lEh7GRjFeq/vOHW1IeStVTi6/SENcqpEVQbNGh
so4DjuzitgxMxMzathmtNTlscvWos2cGn6Uj76/GfbVPs4/O+O2Mn7J/ifhy5SMqR7sQdo1D/Co4
LhsXKl+Na0AW9mLHdDpo4Yt4Q+cR4LGNftTwPeuut4+eQCgcCYlH8JdLqTPT5OnJLsW7k+HCHiil
MWsW5r1VyD02NjQ92ZVbwWS8l3PbQXbBKgWcgoVFRlgOW17UWRy44Cd7vgQNbxBXAZz8lWW0LrMe
3OPooj2ErayNkCNw/gL4XL4hUH++bEfnqmzdiXWKxJ67lO55xGx9p7FrrzeqdAyyE/sOhtU9zQJ/
qG1RL7GskxnwqJT8RvuMbobprwbGH40rYqAlp4KhI0GS0dWguPB7og4xMERUe2LkWbjvuArRQQyH
TLUY514Chp2zF5KvxbVfnPy1whLkIH/CYEUyrtoGOvr01cUuH28UO1wHBMV8Milgcf7mpz/iGB3G
AFlEfhPaC5MvG5hme59YfVPcck2a1xFrOlpSu1uBCJF+9fadgAVXbk8YyykMOJ9Vi4HRugTgEWiv
KrjxN1Nt+a9K2M/tWbLec6CUssyhIe59le60vBOIw1yFa77CMGhzqZa1lyIMiQcKkoigtm5dtjWU
7mdq/DMapoHipaULJ8Q6G7CyrbIXA+dV/FVBmF7RdfJq1LkjDRs/goHNRp2wrgJhfQ0HKeNcDfmh
av7SmaNPxLAHqsplDyTjUfh/6uIx9jeDBflh2YpxsID94zlwTNML/4DeogBIZhyvFWocxQY5nR2W
OU/47/8XjPyOJije6l463P+7UFk25htL+Cl5zorxRylVfK47M9+X1jbgIe7+QvUrWLHqONOi5zED
YX7o6pitzhYyqTr4lowHUkg0a0HAcbOai00AEyIeZjtbIKP08bLwpcU7w8JHvqIDA0dscWynXADR
LQqPyXxWVj2L52eW/mOO7QjINdiTs9YXmEKclf4qXUTqCKZf6BNhmRFO4GXA7TU+1aD4o4vF1G4v
F8rATNtuXAlJA29D2h+z2MKJ+mOIhPPM22xDJhYGhQpdM2kbwT8z2LAZ9ai4tGk/0nfzNBU8uBRd
vZE52epr+m9Xh7ImYVfrxNp2ZlImpEvuAm8iXqD2ZbAGD+3AtczdItFMEWaNBju3NWGFTFpLdu/v
UluSlb4QhmWbrJ+h/EDdsgJIJVCiGFyDmtO5E50YxtlhE3LN6CVTU1w2iNMdwaD9ZRoJpjcKnp18
jaavqviVsa9045cuvhFvwv6RDCkdJylCvvwWsSftEQUswzddYRlAZyfm3wHZow3K4+igj+s2++ul
zwnFcRb4NkIzhtZ/DY9AZkd2V30FtDCMs2TxqfLrafMeBSvyRLJq6WCAhNnKCg6sxuCOmUzaf2i/
U/Uh99EKiOZgl9NpKN91BZnaglkpf7Eo1ZZHuq/aHwfUJ3zXJHix8gjgEGafpXmKPEBUxtu4Mbe+
ehfypxzt5lZH0tuszJQVHhGe8W3kXKYVIgxvGcPbOHbT7goMeZkIE/MBqw0xZfAug/ASwp8++zZY
QEByh8AAIKJ445PiRF4mbtOnYeyi6Shrb7P/UspzOt2Xf7UlfJlMGHLkQKOJpZGDTwhvVglBmqYO
XC8FW6rf6BIghAm+Iyt71JG69FRZr7MiTYK/Mfp8sanVt9IaaR7NRibvuAC2LRIQjQlR2u2sZjOK
DhJhrNYuNGsFhUHRftXY5yFt2UV4jwZ3ljeE/FrLvGNiHTwm65wJFqEfOLEeRv5OL0Dwh0so7LhJ
AOZ7iNrZS1ESbwXBrrCkIGlGtuqJu3w7sI63dsuvQuBhxpIjD787VI1fDRvqWWztVPntUIgZ4Rfp
YSzmZorIj/nJ8rBJPiS+X4xGCLTTkAZnLwjg34o1BoG5XZitxbloG3tJdRxfE+305C39kcJP6nIZ
hsfaGZGBsonK2VmyWpiItukBs+z5p/rxp0dysjRCaSkwyWW+rF+Wq1vrT1/I41Q25MnwIvYyKC6N
eKb5VpPfkBgVMX4P5xu9vhR+jvU9RbK0jC+67MZOUsBthA1oBe6VLRwxN2jtN4Y7sK3b0cOxyybv
M+ESbzgSuFurXkTl+qPVEOz5WRiwol+TGFt256Wur5aprbDshLrgCJrQLpHgqsTcyNeGlabEydw/
2LDV8wGzHwpYYfNiXKlREfAmDiqEOEAjgpQzRGUqK6I5c02s3CCXyRtrTlLJiX5VTeA3sLvy9tt0
erC9K35GjzdRYvgcag928aK5JzCRX/JUC2/VBD06+vTHXd7Ys3Jsp7NPrdg8RfEiCuec5i9Xd0a6
6xwUzNa5tztW6Ve52/gzPOtq2zLiYZsLE8YjTMll/7HMmtwZfjTzGNxGuJuINzfkPzm71+La/6yE
G8oog895nG5Jm3FcvinGWke+zMqBcUdk7qvqpItbUhioPnMHyb1scGSI1CEzcVr35XxUM2/p7QgP
I4fMITS0jC8gVdPJM4rOxQrK7G0vVMB6PDnZ4FmhEKrwMZNenaO24L2TRsY/H4Z+jrS7gWQ1AZjj
R++K+QmvHijQsLoEpps6rBEDmwXRUkOhOxuTrwSVijOuq2hLFHg7PqXoBCXNJa+kw1lmR+teWVvm
IZBeQvjbyvfIoL25xPGXgFEuayMmCmRB5j4zX9QMAaO96jNEwMMREegr84tYd7Ln4D9Z68Lr4IOh
aSdGXdtL+Z4Z97LDwC6xPGVosZh5uGnJW7ItmJQA500Pde8Z2Xrh/if1L10gT3xs8bhHP7jEwnDd
WWdJQwS3cL3tvriZBOmuIgLLGH8A58kcrLOEFbX5ZrLC9aB+DCyYiMeM3+Lx0I63Qt9kkEKMFXum
EbkZUhdrixknupEWpsvXmP99zgqU6xHowU2i0rHHhyWEcbbH9eTys6C3b1y+bT5PcztaW+FVMsoe
iax/p4pHcbPSJHsphJOeCTpnhzUBKIbHW03QsMzMTmhXlwOXfaywZiuNrYSvYFy4VctTn9MA9ZQu
bYwF1A7qfaPtFxCghmvqG18ZRtxdl6GmExhrmAPpp+gT1yNJH/n856OJAppo3Wper7ollIESLC7v
Q3TiR4zX/SYe/zVXSdIo0lWbbjshFp4oOWGXjK4sr0n/ZITIy1ztZrYrdGOsmNBZ3ecF8jMcDUb6
UnakYsBq6EW5wdOAiJUF10B76bKLiQ+S8OVXr0n/nErYI0nnGj7pLw3DNkQ07wkVXxk22DJYBRt0
kTPTIUyYUHb3E48vIUQbtVLJpfwlXo2KmcMV6w0vbr/Rt73mVdQnK0Jl3XK8WxMdQH7Soy1c/0L6
TKnPWFsrdB4zVWLHgFU4h7LCNbgOswOmMUV+JDRD803pf2NOGK3cLS2fnu6BV7HlHZnwIG2HNwqJ
w9T5/hHZhclXrTB1s46TwgRZTwlR8Vdj/xFIXk1FeA/GxW0GdeynGdjKVeKa5tLV4z2hOQR18LnQ
hczUPxQkRJC05Oaa4qfU7LLiYtXPpeAqfzni2ugzNmiyTXq/nFd+GcOPDqcwa41xAKgFWrRhUx7E
CMtIVgt49WjvUBOJzRcocjs0vFeUeNxDKLpcTdsi4WnxuY3wv0KiVDAd+GBKWVqsAPJg4Xmp/j8E
ErgoDdaYJ5TgywW+jKztl8GWhDzo1X8TtOZQ668axkMlfyoJy/Et666hv/EYdKk3feXdvclOItLU
objBO1mlaPgbDk4WU4SPMu+xfZjUB9mGoBDDNKxWpomjAbG5cikMxIe0H0aL+uolw2hLCXZYlDiZ
eai6ymsSLkdKs6hcI38REUJYvoJuiUn3csw1j0pmrcaUc/E/O7zMkraxzN9I3IX51W+/JrbtOUL+
5T2xTJRBtEiQXdKfKYpZ/iI3vjd2vJ74HtdMK6CrEPihuEHpatElt7HLzs4gP8YezQSbteU4nZkA
tc0iDKFjn9ovkC8Rwanzbll4F/57yQNB1slqXgDg/O68Nqjo3JGpDzuEsNsN5V8Fm3xyxHCrGpcR
dY/GzzS8dehHrHde2Cb/pveplFtUvjGlwgZkCBxgKVbUSz6+yRx9Yfsw1e9vWCJ8v6r6jh0bMssf
eFmmsgUGrFOw+gHHs2pCFtFDY7NBKjSnuabhokUWJaZ/C+DpEXRfLVKS/5F0FkuyG1kYfiJFiGFb
zAxdvVFUk5hZT+8vryNm4fF4fLurpMxzfiR5/5/43OHXiQmSyt1vaPyxPZXJvs6JZPtL05/G1Rlu
kds3X7ZDn/1SZ35T6Neu3yln8FrjrXgGSO4xh/4qkFC5680tG3SF14HHS/rgzCkGcmaoMzoQC1TU
v2G36bIDS6W2Y1bgbv3RTCjQcyluP0pPj718Fex/sJLpOidPEX38GQJTdoqp6SLKpVirKxEZGpuI
k0Tnf5/zUPEOCbEGIFO+9laN+WFQGAgx2PECOwGAAu5fKJSpFH0WVjrTTBAbbS61G8483TzYTQrG
fRTahr7iUe0ejjIPbDrl1y1EHrfK2GJK4s/njVgkSwut0CJgmQArDejpC4ShApBRA89ZMZwC+igl
dUzIHNxPW/kbU/axJRqOyejtUaGBuCTT75oIwVW96oZNPe6oAONBPbS+GEAIqkn6j4rkKolAT7yJ
M4zirP3FlcxMkkoE6yKlAJw2ki14nyeqgCI/FHgEi/YN4GZY6yp4Aqh1IfumvkBMxdts53Bf3VIc
8qHD+YPsXiN4VwMoT9fpMJPSUzqu62hT8B2qv3Ht8rcGaBJyCtNTIG9j1FrmCyZ60tZbprbgXGbK
zCfSpimg55HwezE93kQwg3eHu2LObTqsBGrjNg/ZR6GhCMJkgVjBr2aaj50JMsHDLojCiVvIs3YO
JQ0sDMEzQqLbXc0Bbo/UGeBflicX3SKEnXD6HbiUR2RcUnmLQU9YxVz2slk7rEqkNOpZU5YmsWQy
0wdTl5j9UJd3c8nbQYeKUx+9a5mQVgcG1F7ycWtFu0pmuWM4HA5tvke/MgNWlmF3gZuk+IuECVxb
dADNG3uBI8s06Jfrr2iHAf5VbEJx82H+qSl78rq2lzJ84zgzuQao68Y1nq6ot5laeJzlPp1q9aWc
jzSM7O1qWYXznkeMqw9zk2H9CZeEdIhUfn62jQoePA3Q5/hQdvYpVr98+8wj2as0O+ZLG2pMJ+OD
RDlQjKc1J7Kj2wUshjLkaHQW5ykXF7mDiKZ8OqE4plj02pnEkyRP9grkcAU3Q+GK5Lzt8uE4K3a/
jP9LuqqpUjfqd4vEHvjYZ+M1st9mQdCHy3nfT4E+UOm7wIjYAkQBFvENWNW+8V8uYRdZT+i7m+Jk
F7q4JqFFHAQ8oOAh+yYptyRXieBEVfsUkH0T3kz+VAKr5eHC0U+uCMLZDHy6A/vEqCAYCPniE1iV
qO0iUlHNegJ8Ga0pCFx6kB0Um+Br1AQaxlEjXmn0kfaQRKsWP3CMnMGWsTb5N6ZAhlS0ohTgkrXu
DmIufxkyqMfbMPj1nLOqDJM36RTaqXFW5rh1q737zX7RfHvyNsoYe23+DMC8kbMOO71L3pQOug9G
zKyLbrNkyGNi7CJ5JqIWMO0Bcv+D/cBS2LXqZsMKNyGQQCyrFUpSJ79V2e/wKNVTViw6yEueBWVu
BjNl3Bto/auPEtWm+rCm7HjxBRSjdNEdvZP9QI3YzF8YGoR+NMOa2UdnAwG5S7NyQ8qKPYETw+XB
qf1rS2tGZZWvKSQgCsc52zGEqMRaz3wWbUPk7QzMzAX2v7HKkE+I1Y4lTxgJ9Cry3pan4m5r5cmu
98MpWqLq1NfVMqPxY8u1j9Vlz8zgKljjSf22V23R8r09yEEgTOKT301u966G3mJhgBdmRFiwbPtv
v/mqlc9/6LRzrxGtkS5Crd3EwizCw10EJ3/hkO7l7Mi14Pw6m7zTqXJQpH0/Y9To82OB4JWZiSHB
iI+9CyxZonSMb9xFEdAQHbqk0aMlRq5UarEAvCVsbkLS1aE6UYx98hk4rPL4LgAwkM4QRDFDT1ov
zGXuzTFwsH+vWAYWdrWNZt4sGHET/Dj5O3BeQ7hhV46DS6esCukgACX+yilpRWPkrHdQylkD9KdP
Q4Cccs90g1l5N9SXOn1l6ZauQ0QOS/9XDaB+OXPetrZqXRQ34XfQHKT0DsZRGIvhPQQfJDSPxSvr
7x0bsGCqha4z6EjlWnDcaIjTAPOLp6K7U2/XkMVpt8VUn9nOz7/dH0Q+kv5IF120JhQWDx8KdYYq
sO9qPi5aOBRs5BAV94GXXzpH8lnK99TyMeCZCNQObvuSjE+VCEuhCBddZYP3ExqfUpJdne4na6AI
F9K8LQXH3El/YjJMgh+5Pla/DLtQaoRB8q3dW4Aoqbs23NOjcUEzTKOBZW7c4KCpR7ndBsmLeBPU
NP1S9w8qQY24n0eX3S04wR5wD8Q1AR/HTnsJ8oTWWur9fCQhM1I1GIySNSblqR3tA3n5h0q6fnkL
A60+sgx9H3G5FVA7Hq9fiWiocXgFAEkTVjwhsBvtdyXf2GYsgyiOZQfihCaQnmCHtFOujvYx+D+q
IjTh+GuehX5wSJxj+OnTsxCBITdq283gn03UybX0doZtXMiTOrmTmot4GR9POz4kxnu9GmY6WE1h
7ar2WUkbM7w48SEeDaBR3rzuAryIQwBKeKVLC3EEMDI6sDZlsey/MsIVi03VA0nsCv9P6k599dRQ
9+nHIjp5IzffKm9p6WUsoSxsDjeUOMgJ2mGaIohroJDmFNYB3inVLuiQ27gLrz6OMhPuzrIvjXkN
/L8gfHRQCQ3yLuBLHpGSujuHFVfnn4NbPiT0WhHe6cz4xb3ip63nMPYcGO8KgWKTcDoXp1Ga8r5J
4dnUTpJ816H2LMTxQnEbV1dSQwEADoKTE8uQE90rFI2RdvaUVW2vrGFRzLlIYMmvEcQKG3Wd4zow
T7F2rQeGiOgraH+iBnX5CRYArRNrW4/5zSgV2OE/UyLGeqsgegbnLWgSWzvZS6zpcnVxrevPR28a
M3cOXGF8lgFwc/OLlm1AZ3HGxtiru4TrPZTeUf/ODrD8ASW7zF65+S0oJAsMZ4T2slLkAWWAOm2Y
CNtiQ9hB4GxpbpM40Dvot5VVbtP4o8yfDSbL7N7y1WjK/ZT7Lyuz5x0Yu8qs3fw1hiWec4V0KX9p
sXeK7Ykqp2VT74CYykW4DhBro2nlcPI8nm57Tv0UwRML6O0SXTTKZAyFmFvqP5/3WmcAqZ27qE33
GcG/cM0QJD7NFYQWwiiffzqECdjEshdYbAf1IAVnp4C55ywQYHOHIHxTV6c82lfpIs02/oLplAug
X4JtmNF8wD4nIpoFRkJNGl4HQZCj2xTIisYXokT4+VEm1d3GBSwQMo0pn1d1lWkVHsu3bM6bagYb
rZ+KFGX5PQ6ZbWJc7vRgBRuvvw0ZRx5GHUH9NAUDHdigOhMjBlQhiuQSrRgzm56tJH8FfmSUn3bZ
M0r8KCy31ldrwvxa31oNST3RCJ5OCaMqwFo44XGEjf6B28sBY/ZR0oC8BRqqmFVhfg3WFw2gEzXK
p6p0bHlnjPwB7MrliJy2mDL7FnexXLdwI3366XUa3BzZ+fwDpsnXCCtc6juY3WrS9qdaZ1CfYH+0
9IVerBViG1sMEgHpxVb1x4aAFGWikLZr+T6fTA+USrSSSVQnJQkt6S3b8YvfX8AODhcKu7ZMTr3Q
3sN/djx7R9U5EWHSND+ZfG/Lj1Ta5PXKJ7kCGBN5H/yoSTLDwmmoNmX+7tO96d2gD6YKNE/D0VDm
vFSQOMSEIrVhfcClKMmPwT2Z6a9XMu5EO0PaUINnIagN8BYuZJNlZCrgC+/qcU+03JRVuxy4LOja
nVb9OQl/xA5scQrapG0oEMO0KjA//xCMij5n1nafEtMljLOirRFse9qCNnJ7iSkcZN09/lNYjKeA
sZSgGRt8GjGSrL0q8B33BpWakhE1sODLcyujHoAjOkxraswgZogI6xCnWzbACflmI9WEJGNPixL9
iapwLFMr3izYKWdk4pT8xhURcP/GAKdch+6ygTj2zGso74SkMI86WMwUpfnR1S7+cPSST8OZhuMm
kkiVxH2TTyGrkZFOyZ0kCW+COULd1AiXBMkxM+Vu8vtd0uvXVaSQyBRJTsEWm158LXl0rocLyFgG
oupb50a7BpPflukfFzWyIXCjRbHy171+ivN74W4j54BSk4+ePByMv1HfCqBBSLlHl1Dk+INM+kD/
rtXbiGyPHrVsHtQrM16o3zGb3QwhC8m17swkAIQUY8joHGVod7G0ndYu/ShGJ27MCmK8Sm2H2h+N
PPad2oIu47rV6HJjaQoAXisktVhOIIxSr16q9GN6LZpXjvFNkT/4KnyHW5vzpaSHpkAWOwDn9I8C
BRBfNPTDHKKJAYZVEMi/A+hTmovDLdqVx26G4MSnQw6yb9ZB4+HNYpeCHFh5y7b97fJ7wPphk/ac
3EILebhxRpyM93cWsvF64nxiqi7pUM3Ylees2aRNAGKBtCEyZHDv4GW1z17/iCCO2lqbd8XNHp4m
wY5yQCLLb+JvUyat+TDTsp+hLhDm8bSmIAqM2HIEPDB5ErZCe+Oi9suVeL5I5aaTPVvb9rjmWZs1
6kHNzlAiEP4MWmv7hbJCHGhuwSd77Vib1PGYE/LhC27Gz3ET5x9RexTnq4vyjzjH6a+EnkKP367y
G4WcST7Kj2rPpwfKi4pvZ5YrA0bI94+IoOppr+VQwWRGAz3FljVplYtW4ufsL1a21uwzxoQSq4On
k7V4SXt4P0gQ64oEl3Qxjv5wQ2QSkWwfQ83VhYd7FjskPQr8n1Ip8cml2op3fG4zYYtj0C4P+ABh
n7n6gDngCwQuqHPrFnt1OS6s4SQtZBxd88R6qfEf7LwZPokT8JDry/rZblfUVkoxCioClR1its25
y/WRJ8p8qIqFPzAjIKfMZaoAf/whXbR4CBFX6tKP7vwF2d0jEoGbn89VCxcEv00GbUMhNY8TZ2Z3
jdhQMROPykNMjVrwGU8ZWarTD9qyrGQFCaZRfylhsoWgi8x6wIsGgUj9k41L1Dnii6gLnHq6SogO
6TCFM08ADr8l6jbEEeag52r3A87rKMWxT3RTimo5xjQ9bjPOQJ+TBa61nBP9ImawNFp1R04YTE3u
+HiJcp6PdPL2Ua5xic5ybm8SwAD7bQrFmF5tZ9ZKCSdAPF33wtpN/2UBFu+9FFS7UU8qIDUDGhuN
etPdDW+59OZp8xnOnf4nBndxALx8gFw7r77dEVi7Il6It94nZ0nYRgjVKtlDkIy+pIgzPiZn/zCC
BLS1RdHZEwW3NOUygnoUhhUo424liIM6+Kot4TC1k0fliXwiBygDawyvejUK2TzUIcI47JBLyv6W
rXXWU9IN8adZ7vSboDfUNoKwNM999NELsoSzVsC3Jf6YmPpnAPz+zbPOqwvYYW5hakxYvZIrPPbF
5aoVcBfv9MuzwPTqPy4rHqJgXoXk9tvqVEOlEmHepEpt0jKhqtWHORzGpbeu1Kc0D5ajsRdARkGb
w5JbF35PiIRE5HWDIiPiSqTXY+Jzddn2NRA/BHd9ShQcmKm7cMtPldJnX0NzSeJOiXHr1HjoXOy/
qCagQfvzgByjhxWe+NJmBPq5XBYIP+zJvXQP7ZSupuatG1/A9hMV7BFybYZkWeVTcJyZolBC1vHj
8P2Rf4i/byUODR9pKUQWw0at/fJXeO7wgsF7apSMBNveAKrsQMXUz0E7JVKzyiwLxUNFr2uBNG5b
+chzTsCGM/biqWJzlPqoE2fR1BzjtZajnOfhaO10YjJ568Vdf7fmt3BWm8EzxezHJyPD6cfipOD1
fOQON3uGSIjVDIyDFFd+Ugegtzq36ImIfxYnQWmRhDSn+mtqD19qxycRYYu3PtNS4gZGsaR/SdHJ
MU6hfpCSXS7/WdlNdHUb0J3eR1T80I1GpgzPrr+tklPFXs/ySUJJsTGiW5rg/l0O2Y6RGYA6kFlH
+RwTtOgRrzBQDu/7vcj3RXFujG9KgSeHcVyPKAhiRYBeJbtIjXCBCXjiTBuNIYvbkT9CuKYUjpYY
S/A2XbtLL76O/oUgH+K5cb257TnWBLhKnqw/kk8Ae1gQ8ICsx1uPG6vBEMQNUPkaa7sKfRTNOvix
Ak4gPIhGFRlLj1fFc8sqOCiHpS1LK5H3ZaDINzku+BVckr+NzmGvYLYn5aqH468Z5mWGq2z6bQuU
nLstIEFMvD+wYANaWwRdRTxpoBC58aYKEhMikhjCXhbx3RWCvTS25kLJRePeHFlt6YLmBQq7yINU
OKP8cJVXo22y8gRRr+cXHDOW84piiz9fWgwhi0frTzR56sB91guP7ZIgb8xnA+UnqNO6J25CgGMQ
uU82WdKsQBiZGI/4hwtszvzMHuZmym3hYW6GKf3TeBsjkNyhRHGbQdJFajtx6ISooJIa2r6FS0Ns
Qu6IVWiTx6g9p0SXGnsTaRscT6Wu8nAXyWtDWpD0Kz9GY0Ver2mz/SIN5ZnUx08LKWi8Ste4OdQd
wYNiOcJkTNWLcFbXPhnh9doJLjqdVXYNk76K+RE7Lk5cs3Dd8078LDJHPsOd3YKAooonmR9z76y1
X6x7wnqQ8S2LeVj1WRSll5SvooTCUu9WSVfip7qH7R5waHYBEZnDtHPQezsh/Tpo/dV8rsXNDO2u
6DVitJ26BuMXloeZ7K314t1If3l4Aw5Ps1OLlsMDKDeQCiowsUAG867euxbC8kMXv1WbiZP4zwrM
BrumUFVZDLbl8MtsytfIvguxa77zlIVL2xP7P2srrvY2AGIpcPtdXL6P+NMPUcqAxLaLxtrF7V9e
XFXUHuRj8WyR9dnnsxOXNyFNqNcJdmTUgoU1ZzT7ydSt4YVE5cO3jzeIOY3wkpXq0iDEt08EhW7n
xNrjGH33+AUnX136h+kdJOGn5N80tHdruIqvozQfXbDP4WGipUMluorNbJMOuwjQVxP6U7hGU7an
EcdpSdhv2HIhZs+S5CSJOwpjJHLANFhoT/ImxHGqSBs4Z4ccF6KzwZEfqYEP5NC4MJ0ennhyrQvM
cvmaTNNc+Qo0xgpnK8nvsv1uNNDHlJqRlMTeyuI2zae5hYQURaTnf9vkiXFNIk25xuI6rrdqcXHV
fZFeXYQELoFfgpL1uGo79goKFYjCynk7fgFavfwCkKFz08dzzTmQAotsS2Q9GhP5e7DfbJJTrpzE
BfD7NoePUH1T3TkzyqcGc0BADrDksGudgKQCgCDEqwL29PI/8Z0G0pPsyWmPzYPgIUzUa45nvoi6
38jAnzgqEpZ5Y6UHi6QAv/2wpY/c+TP1LadCJj1ddBVWLk+G9MknI9U1JhwQivaUhQeT9vC2ZqOJ
yCRZRvNwERLEACWjoZ1HmRN4e81aW8ZXVr91Zpfcv4wSgANxODMALnBxCVFiQ7rqeFHYNLQBcDNE
+xje7HTHfyJgoBA9YsvEYGtPNdR4b2ksn5EoZfngMDPLXinVOmL/BZexxkPW0vgCf4MYhYZ1NI1Q
Of4ptvcxgrO43sIykPyTAjqGUotghCI7mb/FvKa2VyFj4oAPdA60vVbfLOMvgHHw6zMki+sRC4aU
0D4F3c53z151x4oG4D13WXPMXOLPZbNzX2TeCUUKyCLEBFdBlL3ddu+be605lQBByU9EpulAewRj
ZW3PtCqYJsqvPSOy1P1BoDmNWTfDIEeZQ8hPKCABUah6RC8pNt62UrFRYe5LkWbWCJ5PKtFZhfSp
VdTWWx+98RrHcm2YGpJKii5s9CHxjQhvDAH0pWNuw7+Oko+NAk14alwqX8VwUO3iEqyafPuciBzq
5dDoOpBrv3nw5xg3tbzJ7t35GxbDDI6FIbKewCx1Av5z3C2zeomDjGNjcmmJhP0C4Cg2oQey6FAU
Zu9FDAZF53OINREfZlDSMTO1DS6JkF16ops7iGrJ/RDqdat9aONFNZ7CzzdyYqn1N9YssbCzD4fJ
p+R/+cOjG7BqbSVE27wcPJQq6uDKTpkIcJJhvXeuQYUzad/3Z4vGwqTrpnfYuuCvQiNaPeLgnJYB
uRlvPSHsaZIzYl+JC0cMgqlvRby1+4eakXRS4hVNSLPhltZXufwEWGAOW4waYNiyQ2KfyR90/UyH
u7Gt7XPBFa2h2sODiHKdi1k61hdVfvrVjx3t/HSORnfXdcugFcihNzfpdLr6zpl/i0y0RUE3GXet
igAAX6MRnMnentk4S9wO2rzkalor6oYeiwKNLqlY2DW4z6YKd/WbjG3/IHcHl4wUCyYQIhyBxMLu
Pio8m1xU4l4GLUCitZDTXRyTu8t5RsCn96PSYenhhxWAfG+eCRL0JicdAay01Z4kBZUuZq8v2aXR
8ZDnvDsA69K3VX+Mzh30tIZrsdnA+vFQgrG4IP+PODl3AIldia1jvA/FWhpWrXpLMLOF5cSgsICe
SxJeL8xMs+qFzovATcK8sqUzFyqPUbkMmCqB2dXamSpqO3Mg+1MDWnhvq1vMzXr0natfFstEgfSR
PzUlewybv0qETTgnglAOd0m1RsnU5ttQOhCOPSkx0yqrLEarzmlpUMeAGFB871rgTDV9YQRrN31V
jTMZHG9lgWIJwW/t8lVR/UI4IGNXRuSA8JojZpCeArPC7TCxoR50Wp35JDz1lVjbjII+xCYki2dU
l1TdqzLJ32T0spyta+74egf/hPcBrXKJUi1E613DS9gSEXbRXENuIeUHKZo3/cNC3UJG+yRyX3eo
6/Q8zHK6R9dFTq8oy9ZR/AJh8NRkBGkziF7lDiVGeDDMBkcGwhar/+5XAfARyzzS2BNw8jQiqbGQ
ThWeDdTxCqHjYz73bfgFtv9ZNJ5j2JwTGJzmcWc7PCDJWzIITqymcvJK9EtCZqxBepSnf6fVQcuv
o/7pI2FT0cQ1dwYqtCDSB3FvQTdjEArqhc4LXuzrmTyVRgASihI0ojUd4psNXnQZie6o/ObapcbX
H85T0GQXI1IU3xQA3Crf2M0J5upO1O7EML4qeZ/iJ653A92K7A5D8VDROoq7VuVhTDUUtgbSdaDq
Fm4dbQLKOA7TAql3mK+t7GigCQ+WFFMwNEAyEwsIe+Nvw2RWx9dEBqudvh07JJyIk3woGb3Z3t1P
J9xLvLnAtmjtZsQd+MVG169CuCIHH+KzdTrMR+WtDt5Ogj8QyK4kdmZGois3++eQfynWpiH4Jv4q
1VU/rIPgPnTPpPqQ0t+w/koNbiH4hqFcW9xOoYvc4YiaCvfRti6eGfg0fQz/tkVFJbF73xXkFjMf
c7dnxYnkQ6/8sfG0pvVtBEtieR90qpzbL085ZsXWoO4wUj4j/dWibZKbLznbAjhwgafBqzTdfYtU
xN/I4PGhvuPkRrP6W9jzMcBEurAIR1RXvtj+T3QTSt3dNuaZTeBAdo5p4JuwrOTHSP9rZHNqYyX8
NpH33a25MSfPT5C/rv/T9WfEnhT2Euu0aZ1bgbGFxgfQlTfPWVEgSbaWbsDeyMdQbQQ4ZKCToLGD
JYsGY/QUg3jaUQ0UzxBl+RAfqnRj5oLxboeneBGxfgzgmBiYFdKo2EB0wFvrK+SBkJRHAdPa6j98
M6N8aFDUeNQT9ioeiYVSiBtsq2Z7LVmG41HWHrl01fA2RMzHyDFglxYK4YjGPNkZxkeWvuJxb2l7
DIVl9JFwhOX2GdUN2atLJgZdXZoWAqNTW6/6/pRbKBecRZTfqUBIUUKwlldkbv9vxYIg4bBP4o3A
/2uOJ91YiMaXiPaReVN/2hnBk9ankEGiJG3MBWKpjuISIp2kI96DAaszE5OzC5Vr2RE89KpKHjuh
ExVcJMfXfDRYV1gjqrBeqdlPb37laJsjwLd5Nk+aU59RkbLtzZVw8oWfGu5j3L5E6bpLIU6O/H3f
LqV26bQQjaRooCzOvVONBIrp59v6iLaethWOfqXm3hC6u7Utrzx11emTtFxq8hf1GE59CkjCRrVD
wO5CtmkguWfwKgjLqQx8WkDlobr6ZdavMSmJQxoez2p/M+9K7j6QG72B/+6GILvaFoJU2IpqUT2s
ah0CsXmLVL1YxhGnRvyVEUEiutwAoArvH7Lp2P/rDsAh5SMZt+g0H4O6NFSGFHaGRVN+JshvieXu
DxC1rbqhgQCGY41AFykDvNM0ZzS90/hDXeJK0xhEtn3zywiHkBRklx82SC9xiOy3A7C4h3Qn1txV
phcswJrIyDgEyTfXg5/cLJJ/pH+ZK1G3g21FUxWC9yrLkRytmyfvcx5iE3LY6nFpvgbQDIuMa6U8
I55K5FUqizhVKdo5C5aY2tpbRDSGrc0qPlK5+le2ByEOIBECuTaf07/r6SgwsDB9WXQvCE/TSDiv
ge0teRkdSBSWayyf4z6pL2l+cw0Crr7rUgRYHXJE6iaoXaWTvfNl5ycNabW0segP8g+Amkm0xmHj
B6SLHWt9x6yUVBxCGJNw8eZL+S1TEIR8wxGJD4T/UAsBAngjDSDuf3J3azOJU8hQgiLJXDs1pE9P
rgfsNJNdikplXwYkEglMhNcfrSI+Wj7PxWgee+KFUJ7m5jprd5ZP0NvdYSogZSBninNUrgLIfu2Q
8WC7iFA2APw5+r0GbEwHOBPrTNzryyC7NFGGOzKejdWTKDE3+RIPdEGjR6wBbFFtubDjU1OREkcL
rIo53cDnBpwmsljpB53E1c4rgCFOmvnhVF+89FMfsxJcNwdkjThUUz7LBlPAsqEMD5M1wxIlkTWK
ZZQOuG4Fm5p6V41Px3dOvbIeFvrC8bDLZ2iH6rlnPX6/Zf55NsO4+9GFVqO052X348KBoZKctSjn
OnnbORvSp0OanBJE1c5PZ/2Jn8Ek08ItvGlVnasMmHHuMiLeihmax+xb7J0NoWHtLQSrlNQ3Ocpy
vsOfThaROpCV4/DKactBP/fSfSTM2dIeQ7zxvDMaRVvea5pwUgOJeNtAtFwsdW8Dbtcr97p5xM6z
chCfXjP54LnrPNhbgIfTkgi5NQo2qsx/Iq7vsboU+lzXfq30L9WIZ6CzZ1HXn2Fxd+Iv1bnJE3/u
NWcaG6bDQqO8/SXDKgido4muwepTpq0M0+qzafYa4TXB1gpZSxe469z03oINKCVVqTxGGo8GkQtT
zzppBkaMdecTqjlDtDwj+IVTFivL6M0bMCkwf7/e6MwEWr00vqFcyaxBY0gakDCMm3NeBOsbCAg0
F1UOfQHm3rJvVXKJu+9gOGXqTxeo67q61KUGpUwcECU8uvWOu92YHiqY2phbb4QiyJWbfDXRPyTr
f1cnzJh3FclXifk00Bv2K4KkeaQPhJxp5dXOdi3rQ+nkCwJvCMkCRhZ7itp86xg2hqfIfqm7ZdUe
6/gsEwSW7WQgUMAse2Zg/Qg9MD3OSjcV4csGwxcvZbLkvg7bQzvsxgq9bUzCMa8UuJlMDNaBI8Bk
BkNYEVx8449DgcwUS19RYeN6v5wGCOp+R0QaorGeQcXFDqn/Ut/HbwitCfEYqS/SBgxoyKpisuu2
UbRpxjXmgmnwF1eIiJ6tC6X13Vdrqla5BrNuniPP058x/2L9NARfUrJVOSw6Igb7awuCUshMs0Qt
6MhunfRHck+5sahG5EiQXzvhdVUx7RTrVuK+tjizD/9kVNIN9GiaFmRvLpp4q3prW3qoBj0xS6wa
6wjXl4Gao+EFis+E/GlUfiLM5NwZKaUEAmZJEBke+EyFE6CTCevb0aOV7oKBUNEl8sg5iRNp++yw
ulfp1lJ2RMWV+d7Kz82ETEK0CMTD5De1usD651jOLfTmszBZcIeik6q7Qx8eB+4XuaEgh9kRopq0
u4+GiTErblX1MTDPVxervDhcopq6IjuQZvFphEZHAFWFdDHUO/1A1HIGfjlN+lerc2CN39D8IrS7
Ri2DPN9uK5xwG9LbTSpxz137omFhikshBeoDmMAdyEqoFWfn6g74C1YhAuG+PVvun63vR/TReYe4
jxNL9vuJnx/VapFriBOYu1Z6uHWak9PvyNYcIN7JbwfNjNpn5HHeVQebRV6lY6INjiZofZ7WyIee
mraWsk2iH4QDeyyX6jyhORfbF8E2BwmtQyhEBewX0SJJl6SjC9+M1j8tYNaICIopkpgM1Jms4247
mivHXJnpSSn2IVIt6WSyweWIzR+G8akMl0Rap87WIL+rAiBVqoXkF6RB2QRsoPnDElgfGAmnqfmp
cApYVHdzlhDXizrVSj+C7khIB133+7HYRJhKYrQ7rN7zTjvb738f4HDFUjun/y9097Jz7do3SS9c
MZK7R1qdKsj7kDKnS7Ey6dFV+JlDXhwZK2flPhXnHSB1qYhF5pXgZOwWloFHb+v5PyJxriQZINuk
eCAd7cOr5CV6bmdT1SijyD53rGk+b6gkri55JdxC5qbByjGoT939ruxfZDOzGkGghdxbnCp6fYQG
sUPW2hkzMulVxNhqPWg6jmWFQERamFwUx5tegyi/1Lww5i6xHzmlo6SnWjiG2C9kIvb4tn2ydHz6
SBoELC6PZa+TloHhJOW/Wju73/j9T2cXoNM4aNhZsZhBqpRkcgoLdbKt7MPYIw+fMZVGPFXuEu0P
riT+bI0JAXYjUK+estVZuG3jZFJuJfR8CGVIx+XnzXxiDSh2mrbmRjE3CYBDCjzWgJvlHf1kxBFS
V5ysM9xu9k4co5Uzp2h4ZnzUwzNs1jbrUX8jKzKWiLQ3oJU0aIBx4HjcM78k4G9o/eOSyPozRMOU
80W2djltDzOUx631csWiTgIU9NPcIQ1ZJld2q13U4JHiD7Kw3cEyBidS+4bgkDeLyn6goUF2z+uI
pdUZLkpwI13aATdVffeQq29R1sIJ1DCqkCXQAJYS/pT0Z6k5yNEDverMB2cmZiraIisNzFM19RdY
xg0M5sZ0cFdePQOp8xf1ytYPPmv3SrcpvD0ysydEbjSIjWWUMOKWaEnXdPDQcUXoDeGJOFwRRxu2
j0SY2McXpJkWEOnANGY/kaFzRzXxSTeeMUW7g4UcODrG8Q0hBZm+KhGgLqEE1s4XxEUEDU8qFUMy
YcL/9EI+r3R0aOoFiBVbXhJjJlh47qPXCOU9DA298McIRVNXrqy9nu2t2Z390J6M84wARrgSzDLU
5yzbCCx4Q6iGxrCebVr/ZiN5l5xZ59Kq9InIMJwCSAZnscujKVMBZtVDaQCVP2qkD94K0i7vd2LK
x4kq8bbxxvNwju1GGrbE1PIwamTqkZ9mWKvHJ1WB5DrKHeLsU9wuM5GwRSqRc4+ThXD/5Zcugyta
c2t8/fJJjM4NZIhXh8hscm3/BfYh1yXUFiLSQj6TyURqz/3+RN4CVlbPsKcpFv+MYHvZpv6Xm9HQ
aqoMJszRE1bJBbl5LM88k61D7dyqjc5QJk+NfHCWZ0SM5EV4xjPjDfHH7yikWE/4HEj5xA3nzrJ+
P/ibuGR7FpAsSUrtsbIQPyy1nmAkskOoqiF6Hm897mqlWfJrk0jTJc8h3NvxFgm6S8yBvbIROpkX
nCPTqoZx23lo5EkET7RNQACxQUnlASIDPF5WD2EF0gsnkhHpkeYkKfMLgBDHqPw7hvthViOHEfAk
EpUuWo7/kXRey40jWRD9IkSg4PEqeu8pSi8ISS0BBe/d1+/BbMT27sxs9IhNElXXZJ5MXinAO7fa
yWE7GZBFsZjMzJqzy6uL1LccMrmLuBOEDV/X8lHhzzV2CUW6SnxlQbuwdW36NNQDA50Vq32OKq29
kMWRD9eM3ObRZxc5gSlYRijELUtE8/+XRgtKIj69HsIoIPV8oTxxKbflarxDivRRmab9rTTAlfgH
WX/37qqdHLPsH/3vlDzi/GQlW8JhsEjiN0Wifh/z+TR48ZK5Qo2vHaL4nTBsHCZPTawEuZk0e/SK
JiiqScw/iHtjviYvVviZofp2xsvUzdnyqMzDmWgPPjIrn1CQp19sRrF2vEf/TBm6KifFu5XFznb3
qrkKQ2zOwDHrAcHFNZ7U3AEzmPD9CViAzX+v/0j3bLFojuyPcBWsIB2O8l+hcLRl1qxX/mKYftm6
aMA5Igyuctx77jVVd0ZHdiBdHLjdozpsXHWuAoUYJq2fODT194G3oaYurcoz2MNsuBRk+fTGKYwP
KhJb44z4JS7qNyYB0/Ub6hse3qL4JJ+GjzpiYeATQjXhxQK+rd1i8lVm1VdC7KBG0c+pCQ4tQ2DA
tLegMPSzVU0DO+knlVOF0EO5TX/ABpJAoq4G590nylRivdQSJCxQEaM1AvSmRNs4rM1oqWhPg1EA
ISjT4KXY20jJaIRsfI7Bhjy5t5omEOVZK7nL2ncjgAjvncJspcNx7V0sENj2BHI3AIPME9uYG8o5
WXNIedm7EkUzh0OUweQELpgmSdznCXZKOaxYjXGVMsFZNXJNbrBeXrA393T0TvkNh29Swju3capV
Wtak5nXSMffuz9Rid5sCfkf1aTTdIsWu+c1T4l3aZtcmB6E/JtswE1s/2ln9VjPAP8/JXRnrX6N4
Nda3j9ohQ2wrKgjMjD7MYjkYC9N6DSxTQd8F2mpq26R5ndxLRjFX/EPpHllvryqUx6x1wBRMdbJw
Lp14Mby30Qb40PhYAnOEFs/MXHbpb9E9KIjiG5VuWMM9nXS9Uv7V4iq9Z/I7hqdvkoi7JbrNdPzN
WtqaSc66CwlvSDch75dKHBVjN73Z5smscnGBqSyrt4CpIEIyicic88ilzRqQqM32SXfMzM5KTrBG
IgCaaHbU9ERGyTLmS9pXV9U7QPebNF0w1qij+W0S8cqSCSxZHHzV+CimUk7XeMQOEx2KMXSOWcZE
0c5K+T1VPmr3joPZZPCg3dLgowLaat3RGTTTDSxxlqOP3hoOKQ8PNdo002jAQk1bX+JimyKdAVts
UFUP31mFCNWds1/yfzvyVmxQjuh5Jmk4iDiKHpv/i5jRPuTIYUcNRYv9ODwtXx6nekONvln4w/5A
tdptGPIvyHgYmGk1+0RfFUyYNYrOnyrYGjlSWbRd8Zrtj2segEu+1cV28iuyvZ4m2rT41qUEwSFC
oMX6Uy83dTNxk8142Sa8IDJG/sq5A31W28T+lzXhR/wDxTr/gdhuNuRHbnLAnB1b2UcqJqwmiwD7
XmtAde+2r7FDYxnHfewzRA6zbKbRkVswhDt3AnCh4lpGG1oFD9UiDb08q/pRq3ncUiifewcIBKOL
wDxMhumo+py+5tGC3150C5of2MhaxhID5CLz4/IExn0aburySkABXWytn10guBlVgI7AAZLVtFkI
9V+tviYdjQ4rbERLwWae72V6NO0TxkWiYh8+WznqmVlb0HIpeH5tmhXo16V8Kvqx9tAmdqzVP414
lfospyRGKAKvQTQoBlIkJnJiP1jsXBh6Fem/Fg6Stmckp8tHYF6zaG1p20K5VRnaiq2J0gVypLN1
EoQ++oK5Mm5Fzowq3OXt70D9m4THuEUJntKO2l9lxCFdbHpigkgrmzosXXyVSQpG5iPm6rMJ0WpZ
mELbMuSAvcR7llbxpQl2ncRhb9CDsXbpcEaGu9ICKZWXvInzrPPvpekcKyX8a8rik+QS7io/Neam
Is7jOLmOqBWTVP3TDfccJOMzUQFQlQJIA/N8LUQ/Fii7mou4zDfEPR+FvR6M7LsbPzvSJB0+XL0n
l8tXjhYs+TGz3qsEPFrQrhzmOUHh7zIY92GSHEoqSak2rFTFA734rMHFDyamuzooScGuIi3E/5ZG
5G5gsiygX3jjvgs0LlNsIIWxdlmmNC1fuDLi0ByWtNZL9P8zTeqHQ9A3x1ZtjrYrVn7uXDstUVm4
NJy/ixxtoB4o6GYwhLbRNejHlSIMcKPuSo0oN5X+pLGLRJLhZC5kInvZ1tayp8+aWJsdZ02p1v8c
I2TVYF9sd9rt0EvE5J8jfHPRjQ1JtrElflEgf8jMA6ZOVn4tNEixAyw6qwe+2C/CDJqMPayyEZ0L
2bOeg/QKtKTnl6t8ZAPMKqrWvjmMlbZbi4TMQX3YdqpyiIN0n7eS4LBxHSMTbBA+CJ97ky3CkHRk
r7k8VEh/tGTZ5PqqoecsALxKg944i85j4jxaF6tHa5nnfOwOQZivTB+wL3pkOxbzvphic3IauhGt
YYzwUTlYcmskfCOosBJ8b7RgbvKKcZ/0fn/0MQVB29ybMATUqFjUNkxRuI/TGiMLxaVywbCRUUY8
8TLiMZJBse/4alCYANDTyLQsVmFmYzwDSwTaHm7xsnUAabG+GAXJ9ZMIqCSLRnBTCjzfTrsXxpei
fo8AVfLp7PknbAA2NhEEFTytiqUnE1OPisLgAoyolFjagnT88P5NZUmMbMVkr9+fw4BpOaulELVh
YNImoQyMHBblJms/qI3sLQzmxkZ4dONXTl81uHTOBG30R6VG/0Aw5GhBpwGtVWN0NhmoWqyJhxGd
WA3zOYnmYUOH04N3Za2eJ8ZMI5vCARc2cGdrlBvul4t2qSAdTCAl7BAoTD/HoMPK3Q+PYr/Jm0UQ
iTcTwxUnsK/SG9NpynHpjbsh/ijGaskLXRCzuYhN5HUjhW77z6iZKTEmCU+OvffkLsX1wTCVSnmO
NEmv2K1zftj4FfqpGw3ugbm2BRlgbC6Jraci/GzHK0V3Ej1zPL4NGWTSRmTHbAIZmlS6uR8kq4p0
B4d3JMbrEZMB8OYxKPNUJ8RjZyNEGDYGADc/WVRoOw0GIUqiPpgoNhyL09s7TlwbohAUGPg26mrb
4G1DOz+9OElDG2ecD/p7S4ZRN8kv+RfmFqVKSB86SVpi0gZZjJFoMvhI3rF7DNRUDby9Afs113Wb
zf1OWWgSva3XL1MkeCNeATtd5wHrx4rxGk0lwuwciYIcqEpAA2no2VMBMBUTZQIEqp0qNb5KJXIt
9AIQBNA8tLznRrrWgXrlXrQ3SrFIyoFugwaOweCisG5lzh5M/maAjy1mGBrf8InuZdbJfGSdm00R
kC59dMUbyOEOvrAcrrKmM6YTETZjN2SmGckZLlKHHO26DcXOhmAcUC+jv6r/jOTLwUo80SkqjXkw
y8qpYmV/L+L3sgU5q+9geN0h11d0wgCBKBHTH0UyKWZELjouMSbaeUVpaKMD64dq4YPbq7/qZGcD
QOuZd1Xs5lRu7YzXqgMi0VV73bXqmxPWKCvCGWYsXE0ZT0pdoqL9bMV34MMSTXibL51DiimtZLXQ
emwhI+EAnbaLy1dt4QpjjdDV35333vZHN3jE7inXn5l2qORLFB9AK5zyocQHvvw67aXoqVJMGhbG
/EgTco16sAIzQP9R0xL0/H3WL5vK4MpAQtF7W7f1WE/9MzowwN1vg2htmqBOMxE1fMbcM7nNFwg/
5SXlQ0mic1+w0de+UofZQyweeQjeFeYIVot5CEnBSzEbZIQSINvIoIj36s9EtWCZaVoHAVFqsIEd
D9yijzRH1Cf57L7H7mxbnwlq6Hj0FpP5wzUkupJvE6LKX6Ddm0ZAtmDmFjCMhZhU43KU8ktWTO2J
hCLaIP3rGsSTFmoH8VFhNMgBh4hfEf05TKXyzxQZaEgzd1eTb1wKXAGkQ16U6CRKmF4fElX1ZMLT
rjIEu455T5TZPNIAsyVvmxFHaPHVGg+rv/NOdHhBWBmDlosUArnkLDW3vXrx83tCkC7wo3BHBKyw
yBHiCWTrTeJRthkYD6nBKmEzG51FdGohar012ksVtP/KMmAhGPMZAb+w6eN0HGpFtTLRsw36LJHe
zGETUFOFBgX8aJUQESWHI4aBVOW9wFFZsy0wnRf/CKEf1ifrK+GU6TOqFmel86X/T4odo/XDZK5z
YzdOsNR9a5fS75p2Pg8YxXmQbKO4Yq8EMbL/9NoJDRi/1eyBNYYKNIUIhglFZKHNL38gicDL1n1W
rKNyPuWH0IjYbNyRVZwYVSkRYSpHgxg22oxkTd4b1GgQy292Qv/QHci5GZBQdstsi89xTJawmaeK
XXvwO5VsUQxnK9z78qqA10PT3uxU3Iu4eoxsk7lw+x5x+W8E96qA/WwYU5jiPn3Jk/yzxJbi85Iz
t+eXQrIuBBH24UTISqZOMV1umIzrEHUQugqN7ilWQelLFOrGQw+Lud6eDS9b6uKqGA+FdEld+xbe
3Uq+hf/Bqny00v+OnirACW5RtiOFytE91f1Xbn6k5bGxffhHJkEbtIe/OidIdpEpUW9/WnA0SCSd
Hss0+VXth2Z/V/1O80458Bl7lyKEETrTxd+4zJeD9oyivRJuCt7fyl/o0llaOpoI8dcy/PbeYZ0B
hS29He+ldPZME1jbsYypd6q7J4oH333l7ErslsmtmK5Z+WXQ9w36XeQfSYLI9o8/szvsM+PGEzKM
r4xrNh1+OoR8SfEJ6DeObigMR7iY6tFwKgK6SUvWNnb/qKgDEtIPK904OCxSmPnXghPxQ+X6CXG2
l+5ZbZhRHbziajU/abEuegeDL32LxMRHaHw6cu2zmSryhxbYPDGPNHsfBnBQ3c2sr1OFIFS0uMsM
+6Y4p1Eyt4K9Jq6teauZocRwi6+tRbrZ1llq/jFsrxrF+7ALC3q5Iwnp/N7C2XSgLcZzwHzE0266
81HmYmZyp8bRCUMb+0RXZRd4Kjm9ytsQ/CTJl0jW7DQb45qg76ZZN8eTVm9w4OnaTiUtRIQ7Tx0w
1a6K5l2qiB33cXR2sq3tXQMGb1DtOm9Xsqpsj3mxNCrgC9vGvOoNIkv1MVr3Dv2CSI9Q0EtaRkcw
vKlOGYYd3nhPvNfptsoPsfiQ41HtbwYHQSMffGUExwD+58L91VxzL0bEbNyY0x9Hpxet0u+Wta4d
3RmagGGX/p/SPhnLi+EgQxanbzlYBEoyX99bLOswL7JE8TEcMrvssnsu7sQLIYA9WSEWJHyH41kB
CzktLe6Ws6kZBhn7GK9vuMxd1hXmnt320LwSNvIdjh8620nvSt0YrTzzxF+U0Vl17xajWMdkRJly
oiNNiM9m+bCtY1DCHLoExS4JUPFv+hFJ5Bq4nhOcA+SLREa4+ik0nbmnUoWvuORYi9uofnto+V13
seJvwA4xn2jWoMsjy6XPqbU4PdsbQdh5+hvD1yz+RVx/ySHw5aJBseAE9lx4T89YtyUalGWBZcn9
Usrvwf8aw3fLwZuq7N3kTHcwX1GBBLCNS87STP+Xc9c4eLB61DRVhpanCxeS7Vbmf5k9+dCUeqTh
oO3M4uMQkFNPBxqxfgjEVxQ8s/bdsh75wAJmUaYLzEDesKvbvRZ/Gmzn05MfXE3+HaRsM1DQmoPR
3lXulfCHw7Ey55qPJ2EmWUuB0atPuXFgwFIxKcZAiMwUQcJXgoLS8a4uC7TKu4aC+gnuhnbTvH8q
H0D24BtRJFej4QP9y5mVIWLko9cR6YK5bbYGwnKfb+3Z6Xe+92VU21wwH8s+B/+nVldmx/g7P3T9
MSQupt2E4QmeMQ28063JqMNczQEf/U5PU3OumoOv7bXyRY+tQvQMw3cF/iZllKH/tM0zVFcFqknW
Gu4uztgQb6T25Lsa5z9VuUGW1ztkjiZvGRIkgiVwkpBqzPDkKTHbCLB24lLgnEw4i1vYkOBsIbXP
LDjPCfQwRqFzysLc8Weh4zCr+p0esGl4kNfMCg+huUvFiqOtMZ45GQDoF83kr2SNL8mYpAOcoUQB
rcMry8WWMGRf2agW0y4UqZwmTret2g98EPXIjGvriT3DQxdXdei/NGbcVMBvVYdVmF9jb8ybMJnR
UZOpunEaAkf1X2MKVKCm6dD2RfBrVWdS2XOi2vbFSa8mg4V8G4T3qU3jxbblN12qD8/dYQw7FUYt
ilG7JC/DQ321T+NfHUdSy/hXYiw05b0bXrR3GeVPeA6TC0Ftqbcsisn0kPhstfdOdDPi30aw3lc/
euMnN3+K7K9A0J/OREeq4Dbo/llRP8PgOvWHjfJvyjxM6MPa8mZo73DBKqoQhWF+cMWwyhj9U1cR
buIlJUsq3njONqk3XgXKbCUI9LGBV636kWz4ax3dHIdh9ytwj/GzJHcBqqIK4w6JHZV8+he7twal
b/7DLcofvvOvGRwcQDUTYxaS8TlnKiJZJu55uZa1BGpACKXFE0dh98ZDExTvPAOxflIwZmXPgble
vNbM9ZASjnqX/t6GCU2NUm5L/qIgS3fxMLDGVgeuY+qPEtw4Ilyy0SGT8ekUOBLY0LCPemODB31D
IyVIrviL0L6HDIg4JwYb5crGJF8SdVqdA/tQNvqAi4KDMfZz1igVFwKPzIAUXtqvtZEPC2MI0YO4
n20yvruW9szVkiETy0pt/HK8dmIdXhwuAQ2Fc5Okx4Ff8bF+RkzdpG0cWh3baOeADQq3la7zyGaI
OX680qSCGDZmBCPO7ZNN4hQ7q6c2yLO9h4o+cdgSO8D0FETfSAF6UJVZXJ4t2zvv8ybZN6Y9ubEW
gZqa6Hesc2gbKOfIt+KXoN8LIQXUUtPWcbTWk2rXd/q+UyI8dG+j4y3HIV8qDCldOwRhiIoygBAS
vHqPFsXGDIi2AEfryjTrVdISQlHmxFebYp63Vwhk69EOjsLzL5XTXOoeAoc70HLv6+TmA5Vuv2p3
PLYUR3UASCBSFw2laZP320J+qigGkoG6Fr5To61SGR8SItmLFG2KiXCYUDerPXmc9YJmXW1vGARy
+zT4/TphtFcHQESQWg0sdXQYQGH9pWaXSb4rccFEpMalkfZWsERUtHtUDnDAhvcoTHHujPsGDYfo
MU3We3d8yNifjynRSBmJPOR5RcYwU/MaVfKwqaLvFlcYI5uITAmsfms+ymUWY1TxJmtc9uMDQ6Yd
zbGvRH8mwxAyQaFaacjr/FXED0oyQmppdAcg6hiJ54aGsAtwvdIOS5f8MovIL5PW0KQYyxE62hqu
ZWQVFXkzbQGU316Qzcx5xAfNLFajbvR60BNeMbLDJYCo7tqbqmD/a2LOncrqrpjc2uSqlOMqkySV
Nf5eF8PWqZob/sQx6/fIM/dqPPBAiVOa1hca4JVBSh3OGlyjkCJ6curhJ2ThVSXbr3CU93jobkr9
2zty3dnmA7yu6QxXzY93be6vDXK0aoy9dazvC6O8K0X4q8TEXVmTvLfq9u7D7vOvoiOm1+q+wyq9
5YLvDnUpNv/Oac6d0h87IY6pNR6DCIkxp2QdELPHJsy1JpuwPvxU8J0ako0mDb66QPiQkoIUF/FX
VeYcIqwteiIZKGicmwsZrKdFRzLXulcBTawwWZLDWrZT+aoLVkcHQGdfTAgWQkk+SXrF3D/vZHQf
AvUv1nXAX1F7rNy/XnS31jEumWFCom3nljGuO5K/U7Obu2p/wmGGKkKFNqYbCPEoL1pedNKa7BRQ
QWdIQE0ZzT2+052lgJ+1P1A84ORJvnRvD1yG7ZY5SWAMyJiVS3STgFeivGuyuBFqAxNa3yd+cWtc
zGeJob2yIWp32gnqPrdpkb38biyxUf/0yvCv7whGQaC4KcDO7bkyXabyLuPDuGneymIqNxDpxBnh
bEXkyL3njQ9bJmQ3DPJCACLCJsV4y0j1DWoccR0naFoQsKuzbxXYcoikWcGhuRnlOqR6mY05qxrD
LLd5+NIJqXIR1gMeIK9Frh0tWBujt9WdclMOkHuhrSD5rPNwp9HSNjGqL/QnicO63Um2Y2CSbtRB
6zPWFnQKVz20pE15Ou47GCQ56xHUVbxDK6eSm6wL52OO074uL+qAcTwMAJ/4M5wlG1vv9pYPK19V
5l5gfUigXLGXzGTHc0b2rdpVq9JqiMzEIVy1dGHhXtKwDTLbgtW5CgLc+fIvRhtLsiGQod4Lo1kP
DdanRt2K8L1v+XKLUlzHpv9Qg4qcD1rtMDipQvwUiHTTneN5KAuBCBf9ooibzSQFYCzf8KYxdyR7
DYB8H31ZPst1g31HWJ79vNy2cvwZSUjgGT+7hrXpG+7KCcFmcUMb+TxtW+xKeONRw4hkPFQKn7c5
7o1A3Zm+tmts6B4Suj4Fgs123wg/O2hXMYylBJlKMFBjW5B+un2Th8cilNsO5GQvkNyCRsA66OXD
oWfYGJj1Wh+apeJDazKzVQghIKndI10N/qyNrxTH6W9bQKltHpIi3LHikEez8U41O/myHxexozDk
6zdVWKERqrcjK0CHqWcBCp/I+CVQJaJIhTWrQe3HvjhrJWCdU5Bt42Dp6Ufik/nvwNjAf2ibs5bR
RjNnqY9kgZZgj6T8yXv0eeDOB/dfpb+XUxuZfGXKyvZeufqwzQveGhHceykYAgO08PYl8++y+JaM
o/yoZcjOYMv6qEtrHjM8GM4B51gAa7IQysyG1OEGAs4qC0xIWdiAVYGDwj3jn23cbcfB7svPRj9P
8HrTY4aibg1cXm36nCabvnt16Rd00Bp9dW7r6QUZTEYLklerEvyZ/eVz2NbMztmw02AHDTmHsEx0
ealxj1EV1QP69gPpWXjyqYP2AcETPuBsowBBHC0r5ZMfQvZC8HTSe87Fk+O3tYnZrWcul6RRuYjJ
98lwsYtFo65H2lkq35qEbaN8RmLNx1HFW8U7Cf+rNP40HXn53Ta+CuNm6fSu0HtVlLv6TZP/+L4n
PsTrzwSspW+/w3TDdzRWaMb2SzmR5A4ZUMIikHMQ/U3PtIzZvLVENo4JRmVFHEXHHpWXGUAfZ1CQ
YmBQbNJYmpzcPx5wV3mzGriE+FFqKBy1DW0da3ZHqu4Yv0KLCdIffxBGQK7COHarPVrQkRrXmHNQ
4nvG7NhpMYRIfHEdyOZq8ke/KsJGNQokLutimrUxFTbHbx0QZs5Ejcgegxgfxfm0I8Ro7IsSH4mT
V86+w6DnWI7mQWYtYoJ4StZzlhKTUe0uvHOvs5CL3LUcGsx4aMJ5c9GVkrjAU8Q+p6/TlenFy7Ce
nLPl0mJ+7bT0C8MG6QeJaCyIyeaIcPDq3gvUMqkPIGFTIMX+Fmxyz4TdC3W0SPXMtwjQwPbuXjvn
N0i4FFW2YZB3DEbJpt+zdHrw9odLibitIT4rW4v4omgPL0zYUXwl4a+qvURDQ3H2+g3Zuu4y5Khw
rGPofOYmcCD/xxjOTnLCd8IKkUJ+zKESy+8J7aZhaWsOfXNO2cEMrK/+67fp5Jzkw5dvnXimwP5G
uqUWDkJcPFMf1/eLMipx/vnqu6XBE3lEHNXi1rRsYWo8/VZCi4TUvHta9t7mYwi8amcp/+KaOOFn
EF1G2maCMkb9wdPhOLtAucjx7tdUAdVnrH1FLB388eVn2F/hVLPV56SZhZY540JlZs7mWXkRBoUY
/RYkuJsUKCGvnqWsg7CPx9H9ajJ1OUYCD9e9RCdTxr896Syt4NCVf2Zisvhj9T0oGDlnikFQFTPS
PL6jg69RvJjWZxjz0kYfiCZ5Vgxlm9/IhnCPtIN1JnYXxPRzWcdzdnjLzHKvQx2vpq9SExSLiUFW
i4VPrTGN3ionX5s+GsYewpdoyYMFmhShPkUYqy1GLVgwVcIsE2Djwf6npQs31zauQuoget7e4koV
zXwwvW3AtMnrjF0f5QuLfWquADQjB9VyGUka3TLkCu4g4hphTxII/6yabPhbUaiHzu8uPdu42ORh
wfyckODZB9GGnpn0IrKcWoeV9c0POS9H4yiNfC2QbygeqnlKDFsES0dNlrxqMsfTZVZSK3fFKg2t
xejECF/ERy5hnRQ9weGQ75zV0JlHv8SrlQVsQCYBBCsZ/+FDtXAihHqMfTvUH5QH89wPF3VxM4OI
VEZS7QI0N3IZjGz5sCt7Jgo7BL4xDbSqKtAGo6XGHyHsecJ1b1ekJ+mkeyzQIEcKZWmN7pPf2kH3
JFQUz6k1G1VUARpcEA0iVhHBvibmClKIaUCFA4SQAGQaNfTAPQcw8siYhVHWsWrDgpPHC7hFswou
mDmNnutinlHiUJsF9b4nASZMu2Mtx0WCyiMNId/5bP9bMe/qYdF13lZhAoQ2VwCXKvl5fWevJQhP
M25WzmAD9WTFrqunhlna6CULd1aSX2J4xkJxhsXgkq9Ol20BqaTBWZh5tx46bC8oMmpXLlvQkSpS
V2lriJdGXDgHy0K5zu47A/Xm186qYBLEyGJwHqEIt0nhrOlLGjWb2w3Rb4r9qip3rjKYpE7nF0EV
fE3CdT9W28Ah/3M2KnuLhs6irIpYPg7MQFzAPyq1pE9w+m/HJMhAcdJNFuU/JXpXc6ZOUT/v8MVG
NvshjIquxA7XfhcwafITZFqHHZxuzbJpRR01CIvZ7xLRFkQvuyCg+FOy3B9witrNyWjeLbZEmbep
rGtk/hjKZ0vPH6lUM+JSRrcQ7y7m/J0poqV+CfyDn0VsCceW11Qdc1O5y7DcMJ/JFhFJ1GklD1Nr
mOfj3MWv0xOSkl11gDLtMg5PLUiFWH5o/b0U33Z80NtfM1338l1VlqF+d0jwTFeRei7Ln8TZTGP3
Ies2Kp2cruzDbg7C3BNPD2JwcTGbaJGQrCKKn4idmawR3DlfjdhPpiMfXDoKUNX5TjsU4VeXjYaJ
ytAzJsmJP6ubbOHahK5/BLo56xjlRezmOvNHnbyZGJiWRtJspYJvTlJQPl31USlixv8AvIcVYa4M
F80StgTzUqR4EJOdJcheQB1HG2hBn6QksQQOQbUivIik8JIIY7Zg049JEswT9sB60qXBmCbeaynR
n+stOes33T0PIYx9issa2DcORDYQSLFUK/nXsBsXerWpOUKVyGQ1L5cx28gWr5FyrAQav67e+iUp
LCFsA99ngAt3H1ZkBhmj1Op5iX/P6FmHWY+U+7ByG/bv1Uqk46p39UXXq2hT+2WeVzdF//Q4pm0G
r2DKpdvNdDdE/VWt3EJftpY31z25FLUxbyNn2eYFmuxPfaAtgYvjusdKPjwteBvdc5zZSPVtKJ/9
ssR7oDoeh6qO7yH+qRsMbxEvn1VeX1EHglY3OsJ8iKWOT1lknBkNq0PMGz6VGtg9yNjrXIJTUBEX
yEjZ5IKbhFVPNgmNdYrOJQmGVeIxtPc/UuROIbIK33jX0AqjsipIPxuLbD3ULngUc9FH8JlQW8iR
fMehJ7Ad8T1m17wg24xEDXJ6Ew3RVophnc1Vxhre5XhsVSbTNSqUv54KtCP1aDpPQrjVPbtf/G/T
mr1sB27hZ82GKHVYs5jjohq8WZ9XxP5hpOTF1ZgtGjImY7bOEkWLttNiHmXKa2UWaPwDrjpa0VUk
n3mI+g0jB+VdrezaFpzQv5wNWaZhvEn+tJrSW3yMTUN4kj9HaTYNVPNlW9pvBh342BNdp8h1bo8L
7ixygfY13G6LpNHcb/Zl5+ycCouF1qwkwRlDAjrUyAXLDfYw8b6NApKgmpZLYDyBnPtACpIwdTYH
bZuJ9KDZ1UnywumIy5Bezzarc2wYX0NSHHKgYKM4GQI2jM2j8aYV+CKmi96MleXYcM1UjErK/hh3
zSpvyFWKxdF3g1vRiufkPNIlIkctlDsn5qFQc2whRNRrx+kJEKG2bgf1H/ndBy/zwZk561IdeNBq
GF8WmDV5tATUu6zYdqN1Ho2D5wbfY5TdPAZTiVK9M69j8pxB4q9BSnjNP5CNQV3d4sxAQQFwjp+q
iOFnGgw2dXOMXPhK4cQLKI8+8dXxw22AbLnoluNH4oYLG1tUFPbPJqvAnFCtdK8YaEulGJt4YEeO
IgpZFebCaFhmfnXSghyRelzteID2rbDQmRicaUiSTfEhEGJMNgOl/FBtdldmB+l23Ik82jBIRYGF
aN0tz9Ki1zS5wYayPJQ0ojIky86KX61RIs7w9X+VUyxN3383fPPpie7qsYtz1TsBANeYN2lQQG25
zNPe5EqzOFccmkcCXn86NA21wZQstnbmgA8sjFZqyavOyqMppu8BZWcq7pmLGEYMD1chzqXXaJty
Gb/bY7hyDCpjy/jr/GyjxsVSdHJZdt61z+wnP/YWGf5RRxHlF4gFO7SbSgyrLqHYt6zu5LrY9BpK
eTZel1JWnDqofn0Mh2UOeREpd6D/BBXJYSW5Qbayz2Nn6eQXGP5zhzyIiIctZM9ZFdXehopFpz5t
zfKrj3p8YIumNwVe4qs+9ucxxCqGnU8pUZFPeNOAMHkERAzjwxjYCSvKlhtOaPKQteMLKRz1+XDg
m4828aVid44Zb7K2XAykyDcmzdxo3yIEFKoWgnONDviolw5ARSu9JX6ywlmu+MOrRqQQBsYSjSuL
XnLlvfI+MsZvfKIvNW0/RO7BrJnENUyJs503EhjewTCFrmiBFbV6hD86x2Khf480cwJzltepf6Ua
L0RnrsNW3w2R/oh9dWk25ibP2XqS0QroH+XBMpH+XdT1ER3En58Zcz2oNzXceLtbtnzdWiLUYbTH
dbApUIoEaLNC0sUiLV6OZv0d1M6ys//H3Zntxo5kWfZXAvHcjCJpNNJYqMwH+Sy55uFK94XQdDmP
xsHIr+/FyKGQ1ehC12sDiUAK0nW56KSZnXP2XvsBid92bIubjrNNWp/nsGJAxMCDrizM8lOAlWuW
Me3Q8q4eySZoo+fZVNaWA8nt5J+d0CEyPgX841C00b2y/YEjM1nS6KKFKW9Upu9NfSRGFo6kiayb
sgISKhCkfChljoLndylxGgLfSJkaK6Jxczb7akHisjjndsIWN9gIeeUVPuwfcgh+mV8Bwaauoh/l
XTMZdaBf0OHbeOq2m/yHebVv9vJ77a65eXTlMl9ok/auXYKzHdk3tT1jxZwPvQHE5ZOMXY93q3ig
paqarAUmdHWnKuh6FUgqT1l74euj0+i7eALKgDnbCYt+TzFyoQEGOHEEpDCAyij2PWgCZx6vwAkP
wbIdPfWj7rCCRsxv6lxv6EmgfFt26qaqkF0rzqsx5gR8K7mHLqpvHkOUammJ2gBtoXiVY7c3ZB6w
WzHuy/xNrobLkRk0DHtnzsHWhISe4+LIQybiQ/QwtFQR2TBt23I+G0ZCJL6/tz05cfpKVeVRhvos
zHgqBHRmepajzM5dgjRzIMxdXbcGj97ZSdAnVcyvJklATnPqLai+bDpWiurHp4/fuxvy1Et8fTWb
IJkHDeOCfuhvopcCwWI2fw5NuW/mcANKTpj+WC71Pkc7NaceUVcKtoAAM+Fuxs7f2/a4b8Cv15IP
vmTWFemD7SF+qc22hMBfmgPF5EmTutvT4/eJ+dZU5Pgwzy3BVDZVWYthoc7fAtCJGgMQGFP1s1VQ
3F+trKaSQhvhoEiOky0f8T4tfLp/5TZajZMo/lrdg1t4M2QzRFui50P8ej2U2hnM+Hrqbmhskhw1
UYhKugpyJS7gqkvpk4hVsoYIu33vO1RZyLdSilpBOmuV4thoYDsutMGYzKcYbB2Ko5L86iXBQT1m
+x+BgKtjs2H3IcybFusg8lVEkpwZiEz5HLtzxaBbJT/n7EMvr+PaIirBGPoYfeD58We+V9awrTnk
snXh0quZN9Z7JbB1+lc2Y6i0U/RnaLjbEnX2k5smR8u5d32S+rq0h6bNATERDik7g0vuc7mGDRLR
UA8LPoSQCszxYH01VjOeKo2jL0yRAckBiLUPa9/Ur0Gnkq0nOK8nP8rF/xBZ/1aAhNk6droNFgy/
vdvy+7P4p3Azjl6Vc5t2ZPwEKkdRquCfTBbvFvCRmyPm0J5777dAzkpFs6YGNNfyJ9S55BgYIMiu
7BwSTdncOG1/pyFBxm2KaHeogn3fn62ILcz1jNoEJSpPi0DVcVmnKgU3WeLBS1lS1ewr4kdE4bjH
FNxJ2Dasag6ib5Wjw8y8KmNezLHTSCc5+mw+pKFymITwG8U5cYtIq4w/BbS2860OIn2uMRe6gUdy
J1ZmK/A+2ikA1WoIcoyKJycgs8LKh0+gfdux8Pe54+6Ui1mZBtNGUSBUKbIB/8sfVzhImp55klYK
sg/QtomObgKPi/Mv1mYy6VWIGDb92QfVbd5YT7knAe3E1Pz1OZn6cybbYzE1nKJ9hAR6mc8K/1ZS
jCcurLPPSs48nrlTffCYVRGEDjcaQdFlj2GS3AdOuctLvPqLLyjVe5txCeIAPP+AJhECThZyBkcR
FmdW9CjBA6kPPyROg1OMp9l1cGy0vbouc3BYPSh7m8CNyaVt7coEVeD6n6rKGJkGAApiwx5iI+qV
mbrsBsaqSfPoGvlL+PckcgBntCTRP/HdYsMdz/wfIzG2rg/dn3eePfZuCY/JvJuSyAQmyfWh8iCj
iYSbJG6fRNZgQ5Hm4BU8XEJPV1YwikNYXaV9Vl6VQ3RQAW3kMqDGigt7OpoyPrcN6JU0jZCNbxX7
5sbEcD4zGyh+VRAIthTF3pkTQB+pAPwejbu+w6eo6FRvxOwNh46nqF0Tj2T3EQ9BvouTZdWgl8dc
rvQa6I/GXZbtvODR9FeVE7lczpBO+76yzE415mtqy8/eJZLDdzQlOl18lza9nT13pH6fikURyFWI
7wgsZeszrB4iZrZCl5d2i0gsoH/YqvbayVuG6gM03DQH0JUHPbQwnBSKgcBGvHCE/or7GgdLviBv
cN6rCYn21Gyzit5bF8tP3TTTrgMJaUsu0wBfa4JU4ixkLpbEU+iycOHe5GhHQ+bvfvaGO/lpCQYX
o3pJ/UQQmr0w5p6d6E0iBKiX+LMrUbTmgqS6DPF2WJavzZj5R5FG56pmkOYDz2pnwItd4B8jRizb
saKgE573aEOYY9Z3cMgWbQLA+rTRlmPT298oN5biqV0QDs0x+EWTLoLz8HKjJno6epxw1zqchYgU
KtN3WcBonaKn0YWZmzDedGpElqMT70xCqIfFc+/1/kfmjldZRxJBtUiiFDFOuO2vKYp+zQ79AMO5
IG0Qz7U5ZSnKgSpOYSUHN5pSaxvYyPFD+2dEt8cYJD2Z6269eVVTuxiXUxFetgLcuWMFbyHcvBEi
jfYec0UxIWT0zVpTsmHRqNAPEq+JM85fjmgt0CbEC0LNcgNQEWxgRWQvTEQKziTh86R5MirzM/Ox
GWcLubCOF1zXzVNOe8rPRgfJNx+HF9D+sw41p+ILFfgbUceA+G2iha2OkDXHqqJzjE1NQJRTK4tt
qUtGPsX0OobtTgKzikqLgg3t9BC7nGzqHu/t2KCp0C2nhYcwr68CD9C1JoY7y1NQNiPq2agO0CJN
e1N5DDTnDPDEIs5GQbdwm+RWem+pAAcQRSBHo1XXrYiNgJCQgaJ2PK5GCwEjCMxDL5qz8Fx72y6E
mTLd0gEUG5cRsKLoL4r2B2Pa21LVQIEj6+SC1A4H76rmirNy0nPSRfQ4cvPA/ITKagkcHFK32yXY
mogTvG8xP6vSa9fyFiJV7ts/r0TrZTu3E5f5QN9Id4SlDT0iD2ndtcjqCo5d9E/xLAwl9i5DbRMo
OaAHfWjpMRSIZ7CwDQS9SLyHU4v3fT0J5b18CTXiznA8OXGD7xT5exfT9XK6/qFwMPtol8NK2S0w
mcD1ILpyvPrNS2KmaCbGVJenlFEd1C9Ch+alP4lUi21lsbK3uOrkHJGITevFqpDeTOpnphEpGrti
VC+9Fg3I9bgQCOKqkLa8BXEOCXI84kK0oXWv15EQ+q2PCkz73YNG7wNnicmSF9avVdQxBRM06JK7
LrC/GQ48qq4jYDHcE+2LeD+cSvSguOh8n9U9cFAORkF8TJnk1Jocsrwk2iHthkueS8yKCYY0vRJ1
jAsFAy7gnFWom8dQbVEAPBd2f3Z6CbaISBDW6ksP8S/F2mvFY8p0LN8kKVkfjba7nW0TM9ynX3Ik
tWB2W2o+cLxM39pNR7+4teSRJ45JmeFWjwwY8pG5f5HFjB0wNLm1tavzgO97Dho+dG/tTJxR2H0i
q6WzquE45pBykzp/GV26tJaPx1BSPwVxhKSX3tDI40OP5sErqmI7Yn7lAF5vpgljUZgNMdMI5xGM
aB2k9kZ2YUFAMX3FimxaFIsoqTMa9a3bEG/phAAklnGHx3COSnvbD1+yijgEeuOrZJVqNRybgTmP
7LzHCpH/KCpA5fPo7+a+hoWg7mMTrAHjC7SBkWl1gWQj0fZrJjgZec6UI4RGmTegqOXcvezcqn/F
OJd7GdQHP74XjfZYyJAv5Ulw5Q9MfyNGY8OSdxtuUkzZ401m09J2pcS37UowW8UlMQyYDRlojZa+
Nq78ihbmD6P8tmZtM281dP8L2mSeL49NcSonCPK9/mwsBCpLuDL2qVQG+xXx68IcUIbFwfLVDw4M
UONS7kSvJCzXSp+dfA5p7iFnmpvwJu3uC7tdM0AAQyUDvqFpNE8N7AEvZ9KNi5zYITdbNg9Lnxd4
PiNshB4yWpkmz1KJ+OgLepbpGPqHTBcMtUY8EGHrnSK21LMFNa4oszdRybu5s4m7br8SzZZp5S6v
0X+kdSO50xaoI+lzUznzuavu4jri07Dp0wwGtlqgIEpRso5xjbnKjYnIxCZhpwxEliqlHwgK09Qx
sb5wBZy5ZTkgNlMtNNhyfTW53rOOSkA8Ht7etLKr9azIfcMEPht0g3/R4Emf659BtoYwlswZXDwU
EHdpp9vxg3CbH8xdZp/jnJXB4Rk7SUMxui+UiHANOE9uRL+zzc1NMipiZSLh7cYpv867nraVSm/d
3ODF4twVp8wdik4DzxgGgmDoTzf2T7Io0k3tuw3PpcFVNXVfmBdRxy5YjexI7PIg6S+jwr9v+v69
HnM6baj3DhpZwzj4VGXGvwsCJMRTXWOLogwJC+UcooETnE23rWFR92oyfPssXnsbFuGrvVq3UcB3
Jkxf5JB8BaKf93Z3XnIsQgMH5QufATMVDqCpXvJE0gwoB4rJrr+2lubWWAHuVpGrrZsRyBZBF9FU
iFlU0iOaMDUJTYchD9Hgzpe+6EnscUL6Lcq+zW0O8CKGt1pRQHcF6kjMgVFaMdqLhyNpONtcWJBc
HOrewSVWeco2DTLtjWPEhxEDY1KMBuFCmWllYtfo8RJc+7ubhBitO0ZQeQVnzWZDwTrkCcrPfpXC
dWQPeHFjAw/0nyIPfXeaqAulFZbAZim3rrWrgvl1TD6stnyrrPatz2gWRCFOljrVryqJMbf1fPyx
9p4d+ZRV0L2hvRIXGLAeTf3Oyd1fC0dXHmN2hMzqNglpp72BYZj3IkRKUx6KtD6WWkM6xGWA9bO2
8MDZobOfyZLG8nihE+gb0XUzdXBbYXOu359qjonIDAntOE9rMF7v0SnPEeZtQUtHITRf3VinbFVa
JKs2OYlw68j1fL3QVW5Wg/ug9U8i1z8DNEz2oq6csdhOg+zQq3EYob2yHUYiLFXNCXmenEcTMyAn
xZ3ewacnlQNci3dXhh9+aYglnAmlTFIkQDQk4WIQbZuuR176iAyZyB0InFutxE+UlB/N0j769rDP
6C9tiuneEuOqjtSgAesflQFhkDDX0vGCbKBY60CDQVo45HX3MFPS/jAAbkBdoidwk2WGk8Sf9mEM
y2NOLWLDBwawAailwT2T5DaBqGwzSr9kpIR2E8bFOuuhrTlITbyTmzUBTpSq3FUWlzfI8DXnyjs6
FrvINLmG9Nn4qAaF4NoW+KSU2i8NzjhEX6+mrD6Smn7T0jEkQTL5Q9Uay5l3sExG2KcKGXnQc0yr
6Pjnz/VpvCPm+aEu7ScRu09MMD4xqF8NkpO1KygLy+rPKumYJBWXmVnkuOa7uzAq7exXPPi3un3M
aBQAqOEmm5fxtbWW70qgirGxKEb5s5mofbyuf64Fju6KY5lemAXl927rkQ5Y/KxJdlRtvQ0XmAAV
HYKhlGhKQnnoIcqWvPqFv/5mYUGHstlNZqYhhGMsNItW0kqebxvHor51p4OyiBkQAgteFqI5sG1W
K/4V/aoPnXifJWrWNE1ekzKEXPsoJ3ycnl/421Aiu6tT3JMNMkM2Loa/DDtZCrpBxds20T997GVV
gn+4FcgyE3/8nBrrWYdZcqh/DFFmyF474wV495OFElMDaWkZGyQ1Lag4mWAqhvk3KR7uqppxU2of
eugv1KzHHAEkEqfc4/i3GQasnQA0rrxxjHcAXsECBR4B8XZNcu8ZO+H32Cf3qWdf9vmAuZsDTC2h
FbiD9nAiIxrKTRjvSp+tJdn1PqmXAWaEJgqPbUjh0kyq3EnJxh2st1Qvn/Dt3rrRpLflyGcWqv5Z
jAjIluDTtqTLdAviOGuVnH/2MV5SiV1vE/f8SnafAhRUeSNyist5cMqrdupfy/C5jL3LvKo2BTq1
2c/Y7UxBGxBTeM0MtKjqebe0VOKFaX4NXfDqxMcuEne8o6s8xqBofIRtEIrpX6f7ejYcPQZaNFPu
fAvSSKOe+d4S1pdpOK9dSHBo1hgcRYA4Kp+gpi8cBgcRm20QcUgWI4ftJI6YR5ltC9fUC/zXbvKg
qQqv3rIjGcb7LnNMti7meqy5epw3grdEfziOd0TRP0mbJiazzucYmg9RKDNzjlXJJ4vXXtEc6Uw9
MZ/uwk05ptzx/WxtW2r2pXEi5AvTl2ux1nUxxZBZ5qPfgHzsAu62oaHy93xGnENyJQvOHiZV7UVs
Fw1//XoCc/ZNYr3YIefAKmkoZRxx7OW0UjpQdUTE0zCayTZ0lnEuO/WvpUPMUZYOxbzUT36OnAjB
wLE24jpkUccxyZVpI66cLwqsfuVuIb4FhOgEobNRNM4LMD4lHdG2TdWhgYFpGpxThdwbaA4ise8q
D6F4E1nwkgxhlUMPJ6WBJdvYzF56Oe9MR1osZ0EnrXZB0kQIC38W+nmRHPvzXOCYc4EeCCyruEF5
1iQz1KoEqq+haFRdjWCBZ7rx6kvHEPLcx2iPLB2cKK23ccntWHj0QqYMXlES0zGaeqZFtOLwRKzI
t1ghYKzm6UW5QXDZUOwHGf1pWuTZgtLVx0qvhyq71qP10LOOHXLTvouWcZsT8LrSH+orwzhfZ4LP
y645sTrzYxzU9Sk0wVU71KvA+raq7eAyZYC5kbVzNSesVU0Sd0fOh0erIxM6rmjy2pFFqUAKVBFD
p5WzF+wXzfIlCvMW2mhb/aBNLsJaKRr42NAQ/u5kxuORutCO6wF2x8SdycjLvoV3kG1NheGsC4mw
qKevpeGo10ft3WBhasoZa9aKrMeauJkqR4+XDr2+9AZ5r+axfqwQozHEHxhh3VDrQNa3wSFHCS6P
/sCKP+/silCxpXmjt8UxSyh6NhzR5wWbp13gZ2TDJ7qwu0BxwyfaPNKGUtSz6k1Gzo2c+VeJdCiU
u2BTI1LYYJ850pLE0bofE0IzjN0OyEpoFi2NQcclSbXMKdBNkhxd6QPoc+w3nQgLZcFwuUTdd7Vq
F7JTkFFpVgWo3yBdQZ0TpyRxEdUup5k5gkrQjLuIp1Lkp9zna+XCEofJ0e3Q87N+kSXa5t4PB6Xm
YPGY2amcmdcOv+jnLGi4wD6y1FaIosPy3JOtqyZnXzb1sS/F11IvxAKWrPChtYvz4MEuSXHxzIpq
TOzPqQeUVE/ienKQ+zrVdxQ308YY+MgC06EL6FE6KYOfGTFsQkXcOnVB1m1zaKRCGptrhp5VelWA
AQGjjKOmCYInKev2kHtmC6ckPmpOyAhGwl85T9puid9E1lXHeMzXt0yZTKl138SC0ejkZYe6F+SD
E/CAtMtytzopyakVVnkUPmK3tjfFpgHApmgbk+zLUXlWnxirqtGBmqOKT+4qEGHLyNpfLZs59oDP
S0xwMdWeM00o7nXJQ69ZXDqNgp8nmyigEb+HoWC2pEFpS7ECwxqNW1SC7sjpplyojjOMqGYCAZJc
Y/tu9lHe/7QHaqN0TF6WZOyOKbFckt6JDmjSplFzXeKjS1pksvGCrGCe52kztSTm5NZTYejeKN2K
I3sP80Cn2sVEh3dltlynnoNrPl4u4b3scFOQi1qFn5l6MS0Eat9Gu9HE+V2cjk/lrKBY1S7jF9S8
VcC6tFSrPLMo3xunux5TJjJOyW3Tuhk4lOo+KdC0u+FqpU/Ec+9nByPml6HyP0uHeinKUWR6hpk9
LKaBsJop48ZkBlIuYOskw9wEyQDqp192BCm9FCSwBEg6wtCsVrsh3WYM6g5x+MaS2W8cSi+sNDSn
hirfhKp7k4b9W0iWeu34r0lvO1dtgB7P1SjmU/edvWpvPACe0oMhkCcNWiokc4WVvLUxJ6983Aul
620dbieJfNKnjK07DtqE4yp2snAi/iaBvhUDV7Q65gWJAt6+7i04YvYeY3ySUK/SYpiPC1XYhp8+
yQoRZsl6AttD/kKGWIyAWKYKJbjp0S/Pz60fDYeMZ/VCDe0plxG9wJDqF7fkXRX4z07h9zu55Mwc
E2+XxHBjBovw1QDheh8v2S6Ez2GSCPyj7zHdi4eHvECFigXD1DNUzODLCFqwOqz3ncS0McfRk0kk
SUsFG403JN+NqyX9SutyiiNi6DMMMsQaJl3Ebj3T/MgN0ZsuJ2to9ZRy3UDbMXxwS8rSqC+4+glK
n9Gf20NrzlEYTOzoNgh8TxHEVqrd0K5TvK6IDvNC42yu8FSovGyPkb0b6/l6DvH01ZV38t1hOgE6
uR3tl36pSEEfK4T4NRsIZixaAEG9BxUkG56ojqBOTTgVyINPA8C2LdpfDBiznYito5xcGMAhvVXq
Ie9I7YAzm2Zxmsr7QENeaDAB4K9HTznfJl7rX6KiHE/L3H1nqD5gmRbWdp6o7RLnmQ5sh8KyZ0Xg
LDz2kixDexvNKYkXfrJrph79OjnEwgoifqa4W+p+3KcouwPATX3I9UQ8RqTFVO1E4vwok6baMXW0
Aj8kyE8/GCLWNIQZUjFIxg5QoS5F/51y6rl0gvHeIqVj2xXhax5FH7HusrPoyYqIgyQ6pVYDAQWh
XOERiIafDhVfzQqfuPQ+fSfeL0VNa2ikQNfFJ9oF8KSuC77BM+3RV+FXPvmnjMeRdUnfTmTVDHYB
ztNCR8+II9gO4VXp8TtcJa8SBdVEzqlgwhgAPbJs8G9LZ+2SMn9SswusfgZJXSef3Yisr8pHsGM8
7YUtQyDi5uR3V4k3xXdmwZ29cJpFiFewT5ETFOfMm2OcMGVd3XqTXW5NQuMywg9w2Zke/yA7mEsn
CyvfDDQB9doEI+EQjEC9+8Y7BmostxIFV+HBf3DdCOhQRZOa3oQfQGn1mw5TKQNRHFH5m+9wiPAG
d9r6gTZ7Udav3We6hIdY4GHRuHTHsdmV88MSpulOISzfulxNlcNUiFPy4uIq3S4N8iU25Hee+3eC
w3JO1eZ79jzymyz8QQvz5dCxmnNicUi1IELkDIByd7mpumDbf3aFFHvp6ycvq84L/s5lYLSOnYn5
IMli3oeDTXSndA6V2zIP83KtNPVi3S7A7wrETAa9tQOAsY4d8RhS1XsJoQ4yk+d8oMBMvem6tyDi
ilWSPUtk1JSVPRnPnBUHJG20MAN3s3JDLPerXDvbGPXA7BQfGW5wxA7g6Nj4V+UxStEEbWbY04Wp
MuRX2hf+kUojCXF3hbpdLlnlj1nASJX+KB0xWd1rV1y3i+D4OaHEWGuYAgUmFjlK+bp1l20CS9Vz
zB3eqzdPBjVrYIK3XDaQ7zo0gxNs95ALU+vxVEbOzDN9VwxI3hcLA00feXBTI2TqPTDTVSZmZ10E
LNDs29zvEZAml2hcwTlHNQ11R+EamDpw7yi4w5iwHg/J+xBx3Uonr3DKdzBDMwf0IiTBXLI8oJgj
jCat9T7rWD6mRdOZUCXLRcT8E5/dXnTop9qWjmefcBCFTYvwkzK6MRP5gajEAqeLD3PTP+cthCbs
nuO27Ph/k3afO+YmidbVbgyqGwtg3LbLdi0StS2y6hSxBdtRGpb6bCd78ofj8whdmpWrQ9E4QEnr
aO1Y6aGJWX1Cv5yOWdLfemPAMlX5KCd99RTFJSL2ntbI0IJtmTtzzt1gOfo2w12cyNbF77/921//
498+zb/H3/VdXTBorPRf/4OvPzETdmmM7PBfv/zrdfrZ1br+1f/5z/75Y//lp57qkv/9tz/yf32h
9e3883X59X9/e9v3/v1fvtixlfTz/fANv+pbD0X/53vgD1l/8v/1m799//kqT3Pz/ZffP9fyYn21
OK2r3//+rdPXX353pfjzSv3tQq2v//dv3ryX/DvKiq/3r9++vovfXt779PO9qv+Pf/39rvu//O64
f9Cg88IwBM3sBa7v//7b9P2P7/AUuCHTBj/g/PH7b+x9ffKX3z3njxBsmQqDwPcdR7jq9990Pfzz
W7bLwNNVTiAU3/rHRfiXT/M/P93fqgG9W1r1mhe2f/+t+duHvv6R2A1l6LkB0wLHF4FvB7y55vP9
Ia1iftr5X31DU38yAsy/zUBvoPFC9+E9ilhJ+q1mNGsfAvNo05gPj7dUCw8hPXURk4jobiUrhYUA
GDoS9GBMN91T1b6I5kXOqPefbXzDVG2YLkAaQoPPDMnRm5lInvpTBTcxrufoQTqP//Mb9v+7W/G/
uxMpRKr03TqCCPmO65GI7H+9Efnqb/dh+Ifv+qFUygts7siQe+rv96H8IyA1zgulZweO7Xnhf96I
8g/ujtAJbClc1/Ul98c/bkT3D+kr7hpejy68CJ3/yY3oOp78r7diIGnRBsJxQ9v3POn+660YuDN9
Kl+AJpss694uf0Xp0NyncfvsEJ1yxPX8ilgd+gx+RJCyeP6maYJz0YlrOwJXFa8zEwwxV8PKnqTW
KY+cQrbJArh0GezPPqkRyMzEYoazDzqNVbMNZfbQhasEPkT9FpaxfVtPBJmAZUtmWz5MBvdKSt/g
MnHJMYcCDguUYB4//+xYyAlIggALEZ1N+LHouo+2obGWooMlQ+Qu1fkIwDV2wHk1ZGFWHdbdZHzx
+qTB8sBgCiKr2LpTAy6uXggRYIqcKROdwcW55LwBYc4ALYD+LfYyS7OdQSdHG2U4tbMfXHYzPRKq
3JNMiSOZ84qWjkP+SJgCFoIkrUwtz50Tx3vLwRgqa6lv+2Fawc5VdPKgHoQmecdx+V3n8Y+lmcYf
CXs1OmrGlvmvDrppvhQIPDzC39WSrxCU9lKnLci0kqCcOSZjO6NDOuiDVczATBHN3Jb1Xcp8OTex
/QwyVVpxfyrqKjtayFFttaK+aXIw+8JDRdVJXzsB0rOgU3cLVAMdQL4KKcEuYyrp8asvLBU+laHG
TIVzZOs7rB+ww0v0pNms2mMA8PLkob+wRlqodJS+6jQCCB3kBbE3hL1P80Tu7hjt4X3Qtqbsi1NM
dm5CGkRQQEyO5/s8yGiVQ83FvTP5uzTsclwUKCqzRGELmcLyolRaX7JYXuF9+l5q2gql/oxQn2yY
sq3+r4EseMbTFwtCDcakMyVe5uAxXbS3K3wzHhudYcdr2hw314PTjmCmGnCVYk5pTfv5pp3sJ8sQ
EIENDdbxUuEt9xKDvrm+zAqrJHovP2rTuLfM1YZtTylqWNT3SmPUbRomFy7t0VUPG+2FwAcmMMwR
MJnOxziV+pRgbBZZATi9Mcl+HAPnEGZ0WMcQXAKqY2BSHrpP3f+qDJ3KClnJtq4J6xGDcXZ4Iatz
1sfVue4RDVcUvhfOkKs7J0KapMLh0vdpKkR2tu0CiBBBXb2L2Eu2EWDOqySyUDgNzZ1HqPPNvo9C
ysOkJKpF63YHCsG6HNoS4W5XDnuuERrgUpNwZg4NrQ8bIxCjseE9mUkDUIA//WB0KPoZRII5qsJZ
HKymZJIhvAu+yG/LYA0x6/JTI5C7mnZ6KnrUm/3k/kgaZZ+6hYPv3LBzTeBXL4SRz6pEfVtoow5T
Yiv672F+Ug58mXh+Z1oBuDlf6DGN/s8C2Ghc6ps5Dk5zm3+LDJJ6mRT+ZVxiFG3bDxl1MWiXu6q3
l7uhZj4gmZVKXfO3weDLOg/kIbm6Op6zd2eqLgFrrmVL25ykrV7Q7J0aZG0v3hCw9QogAIzL6iNS
gTvUiMDO6UIrnImlW7vbvgyse1VUb51A+xpEy5cslwcvrGDwwTjyM+iiIAkfHAMdqPWrF4lP8NKK
GS/i7z0h/IgYQ4LKSqvypxLpp4c5Vi2PTeJv43losAXQMvIpFvNO57scnwhil0rjkuOcgLsGASpS
fNbutY8anMMMskwRUW1Cp4WtMDEbSU1/CZBgR8uQDIZoHToIfe/rJEdX43zD4HkZZAmsVeb1pV9D
JpBTfSpeRWe1MChWdqUD6m4B5nMxYImakOHYFrdyuK4JGSONJSMsKuoXVIk3VT5tebWdn1B51EsO
94dipOFT3kwKfW3en+26uIYu1R9nNV7jvk0vOJADCenq56RN7zsagrswAntbDThy5l9zND8Gku5R
hGAtL8ZjubrgOvVFDyzdxlH/in7rqBz/MQudh2a4WSaAoFFXbRN/WK5nXJsXScfd0aUPfvTQNpN3
dNeU9rYaiN6tgS3KpHuyhVmRkso5Y0nGvWWvffEJ2JJDsChtkiXV9SV7GwDgZjt04atdSdwHIAVS
lz7pjMR7bmtmV+iYVJC8RTMqktmdxY4aYZm59WgzEO/svGNPQV7YsrRHpLiwZhwq26GrXOI/13SB
EBwcwz59QCFrNnYrYPBM+f7EA9rsiyXFG2vjgGIMUiBXmzu8J1bM7dseYsNi7KDbqFGndf2CpMt5
18yYUwFF02uRFLW9tZ1ECbSsTdnsYnlhlwlRXGFH27rBsN8QdQIPCQvwMICbzB3wThN0vJAT5diA
TC8wnZVm+kgmFGzGoKXOveGu4WBxBfrmbvJQhyeKpphOl1OcLd9JQRvLzr+EUxKZUWiWKuSlY2nI
8pPmR2OJPUXvYyap7QEX/2r78Ks26YdbuKCiw/jUVJWGbRK9B0t7LVVEKWeKlKlNdIO6ZcSdAecs
bLoflhecjC37y+JNpd6X3xfN9eJfpzWXSLFWb91cv2V1yFQsoGm/oBDbpG1zP9rkPTsZN/jY2v+b
uTNrbt3ItvQvQkUCCSCBl34QZ1KURI1HekFoxDwlZvz6/nCq+rbtquv71tHhCIbsY1skCGTu3Hut
b82bydaHEXzG0t9mg8Crd1W5atc6fnFgNIoZF4ia4bZUSP0xaLi9EpN8wjwG8rHPzDw/WhawYnf6
ROb0q/PneFFKTGBojG9hk0o8ymtOuulD41kUIZjsjCw/mDytCOLb5hrSrU4w/44I7YOA9L8KtJvv
+M/xPCF/00jsc0jDQKuBnhaMeSf4If1Mt2MWg6I/OkdrUYLTSaSgVuA9lXWxdnT9zJUA1YGGKx0I
Fe4Gws5l9lwMmO2lhwfeyp0EaHsJw9uBkeiT0DGLjvlhMe1HMbyb+O8QPVE+te1PVpNCqU3nQYv6
SIOu2piSXofl0mMHWzYExZ0kzzqo4RjGLkwOr8QYHYn5oS5gP2lYjA0R65G5mOYC0s5N7mlEPvh6
5roN18hX6d+06VMQjenaqCDLeIoAqEb/tBWj3KZI+h011grRXDA30OVdYGW9tlZK0onw2mkiQQir
8CLuhiPOZfVYlNrccek7WmSE1/Rx5UubdO1x6CTUujIB0AM3w7EQUU/JrskGqCghGW6iKd9EYW0A
IiXb2tTfURINW1d8DzIkuH6CzahTsu9yAfcbT81pmMPqxA6ot0HRvmXLv+3P3SdMIDpSaITm/BUs
XDpisK8DsaSPQ4i2RhM1RYEPuaA/DD1yXoPRpxitlNgbaf/h2OmHiiLrpoa+KWdvL/3x3AfDV9rT
cilS5E7GYkga8GHz2DmV8VE7zn2jAUEnhfuIlBbXkWnCl3DocApY+EFffiU5ndcSndGVbuonu871
cZrhx+VyS6/PaX+hjIrRA8MD9MYXBy9zcN2Iot83WEON2fpJPQHGS9G2Q1Lry+DiuYKuHklgNhF2
rg40VKB1OSoGJQEpFQbdObxkR5dJrhiZLtuWcy4GnFrdaJ8wHN0lUm+KGfqAG52HuXPX0ZR/+KHy
Nv08MkokBqFdhw3aECNalbNb7zUFUmZ6hDWZ4GT83LkD0XYrKbhxE027Au4ljYIO9dF8QQx3Z/hg
D9J5M7KKxkE3Ac1gVF4n5htB5nY8LAdx8sOi8BL6MASQJZh2e3GaeF1J/zPrsX/X88fQpre1ALcY
uzcxxK7VYGKNdyTzw0Z+eRJLhj/7H3PUriLixEIN7h9GCdFQYGrSZr4Y9XyG9w8+JDbirQ221WII
ECs4BRNNKGbG5WIfAr7Q9cQWuHmxycU0YBGen6qc/KLc4fMHAqA0eD+idMKBuE4qdZqRSQV66T3k
7eHpv0qo7e25N5kG8YdxLHd9/FhA+8KlEhCRpZYbLbiU/vzWBxyb6uK9K7yPsY6B4OgdBBDQWk4Z
s7Qz1kTa88YqeZlKoF1MJ+D9gzhqA9izovXeOqYDRxG8FYmkt4YRg5A7ZxEt+x/OJIlKs3vqd3qM
EzXNWPvlqrerM4I6sptjlPv0Uq4QL8LwkMlPO4/X2VAQ9JvuUFcgaqtYCTiYkR8DnDQJzKNSGUdL
IQ5G5sZrx0o+Bs8GYiJCjARU3qM5vWcmTLQinx/sPj0x4qOBWKHd6rD+TjrBjoRQsdL8n4esXTJf
2EBDqU4Qb7a67hjokD7mFc0+B2O+6gdFuPEjUbQ3FXLlk+3a5WphjEIIWSXKux/7ZpdLi2Sv6qZQ
rFENuXhD/oDz68qb8mAjNLcB68QN0i0+EuKETe8VnCVc5yYIMM2JCGR2J1naZJ9ku6iZAS03d9HE
wGsExzP36rGcYdKGlv+kp4YhWtiRvxKgTQZzQgASR2LhA/kPAEnYI8yuAGNaUt8YNnpYc/BwJ7Ic
3kzqNyX0ZU7d+aEEWYFs1z8TzTxBD1/rcWKqgeVyaGjP1kbo7tFgE31BBYNppuO58FAB50W0HzSz
YaV0D7iAnEmgg9+FFdrPg+kzQJsTdp6zng2m82isVxn+lE3xu3gFYYUbmwJ11pcY517sMquaQwho
FUgGsQgNW888tYsfSY4oqa3J+Skhv2AobMc02Q4SYwvbzLqa8F2arPu8s3WigrNH9g2zlPacjyhT
GCMScx7newZXDKI4bXkSB5N+slum6HPqIfQJCRcVo3EdWMi1EHoSWEoURpsoqu9a3zsd9Sh6VE3Q
aCDD1wDT0JUZK+gfmAVM1/+KCobJrYA4b7C1Fhpvn0On2hxz5C/m+GXG0cvgcTrpGAQygXQlp2ro
BH0EimmB/nfUx6vBtt+siYT7iLYNZ+jiTjv4ynMd4Q3DkWwg0+xqjlsQ1ZLKIpTcI9ZmpPTfIu3m
Rs9fJPiOK0cT2sSS76d6n5HP0bZRjKa7+AlCSNh8edhLJkq1fJOnMYL/iElQbkw/OJJwGkaC4dKw
C1NsKbIixt6zElTDiPArMIYmOWOK8ejen6qDcMgxoTkDrid0DmYd40OrYSgYs7mxHCsiixs2f8v4
nhszKolespUmgqwpHwcXU02PanEDlB/zTFbGG+WhzBai+QojmIVzoKiDOQrxrjtMNRX6+nL5yZ6j
K5y4p47zClssFvfx5GPCukoMBAKZ8h96Fi4rbWnYCO8QzPqMIZFxex78CC0vZs7pucamyPlwr+oO
6maJ4NLATw2h9rFI0c/VIyOXOah/uUAlKCFoEKFFYqrLnG+cq6/OLXZzj3ahLaTGn9dccxWwfBr4
ApnDUM6yz6pHd+js7UjCxqYXn0HD2arkvynqCVtHnH7WuHp2HIqpkPVEyhS48B7cJMDBVUySOdY7
DHJ+dqyc8ZlxzdlffEqulSFxMeRLpy99alEyYT6jgTxyhy/Kg4khLcv3L94zQeRoGRfoOXjKNrj2
AlUyqnXXVdone+79bWmglgiqlHHn+DEiBj1XS31a1IABI80E2WRYIpxVPKINaXDE596AASpKvU3d
WuFt33+6Ln0IxB7zKpz7rZqUhW1tKewiZLhjSzeDeU5UuVtLkHbXjj+I+6ttRPF0JXEmJMJ4DBmK
7rMrlwHfYTbaXTRk8qqVbbNRjgMzcca/a5L4kUOV0UKcsOTQ1vKYtjJMXAUDRqUuSG2UwMZxJga8
5Feuei4y2xpfo4n6xg+YX8GyCQ+h6xE9U8JgpWKv1tchVtgVqntYSRmAK3O2Vgk76s4FurTxMtky
PddsDmrelmPx482forfGDaEE6T2cJpSVn7VRD7s24RCAIoY9MY0JDEzmTdoHj57UAFGD+FVG0X3u
p/PWrdz4kOTmyhrBVsVzzeGzrgIisbaBRu/QcR1IV0qY9qHgDK5pJOFlmBazDo3SK94Ria0Uj6FV
4+NFYqWt7L1bxB5BpQ/C4Bjq0ZVGPs7Mt8z8d+wC4LezZ3NyHLqLM50Y3mVi+i8cwSi+cyg0mYfu
U7IB0qqyIhi/IoXCmhrZdepgywqw+4neeDZxSSAjtHdMIgtiM64HP/qqTbe/KbrvjrnyCgr5g2yD
HFCJhbu2KTfxAGY6K/k6WpZLNHoPiXubpWnGwBnTPdWI4xRbf8DgFkUDUEBM9y1nCBl7T13DJ9bz
Yle1s19i4BOj7YN5am1Mp3/w+oawJP/o5IzpBOvyKhc0G53C+Cp6HWy6jDG0h7m6AmNi+MFNPkMZ
MRR7qTXfebVGSeYWr3GovmLU5PGMj2ls+6Uco2U5AIhQPVYJkTW3dH45PQ2oXeHSnKbJoHvbEm9b
gGu46jqPSIyZjJMCs4QYflz2EJ9DlBsikyK1fFI0FW0chXjAlpYhv4zxYIVgrtga3CFrj5El7SVI
PMSIsaajXqbCf2SoiCA/iNdNjmi2li/ct1yQXM0rtPzYcYDKI2Q6FkFoXnV+86ujqFN0lxAJ5+uU
im4suBnLilVAWK8C/TBr24genGpOBs9pLtd6Dl/AY1MM33MCnbndOWfiGFMFiRqSuvqq8LPbwOf8
ngg23MnH1d4uuVAUQN4EnnBwHYTKRUS8QNK9Nz1KM5rbkwUQKJrrfmNq51cZkt0XjOwQFJReEoH0
DeWrZVB8UE7bq76fXnVt3PhefQs2do0N4zpvvRuOOARiLPep3wJTCj3GyoIyrGqOTen/SIPjuNeC
CVdL1omN8pqe9TYxiH1FRRmukyGD9hkGm8FyPocEioEhpo0DKmTleGBzLeF8xumjsGAfmj4FA+Kb
VWVxRAkKw9pE1CFhOBx/vyRu6fHbMaKnNn3oOP4GVzcxmk6/At0EIJleDBLLIE9TwqEsghNJ29Me
IpuMBG4Yi/Vx9Dddj0cSK/qAZAUtce2iUY1mDsB+QoRCuS1tRMl5PZz8WJmrlrV+nRfWLzXJhxb+
X8jGB2eM56/EZnsVeS+TY2S7wYVON8iC6kGdnFJ+pu0ikAuQ4RLIdarZz8k+aB9jBXprouGT21Do
ewJi7Z4znJD5pkZSHHj6RyT1Hd1IPkNPbVu2NfsWtUThjZ+jVrSgydYJk2kZoRQfteDjBR1Ke2IV
/NQhqERjiGsb/w5nwkNsFApF/AAwML2TaXjxMVMwVwIsBS0H2g0340rCd0C0W3aILNZ15bRc/AS6
FA6tNkO+OnnbmFnGytRo8EOLnnHbB0evwA2U1TGabs8Qa1rzdYz8s9XKu9pkkyKVoxfwRCu1b13/
Yi0wO25wnh/TePbxZ8Uzq9ms+LKqAnE9dILrKdTXFdyzKzVTwud47DLVPM9LooBRfcWJj4oePgty
WI4OniSWuIof3CJ6QJ19bEIwa4rrNjhYZuwKjY393ZUkM+KgXxPmxv8x71mvpxuj5ORva1KSfGvT
4iAhKFy/R5IUAoG3y27fXTc/zVb5Yi7kZ5o970NqW1eGVR56j8p12KcjnkHagd8VHg6rMoDOcNa5
sov40gFhzEOAhx7kpxC5JGC0eRvaKar8oXhNKj6tAvX8m2VCw/QquYQOrU2bMcLK8DiPBs6u0v67
QPxILHt6H9QoYJ0UAzpa94QphiMJdjOokBmjqI0tWXKK1vsa87K6mwa+3jBIPqGOEf4TsI3V43dZ
jnQuK2beGQM+m6sehPBgcxvzQcNFa8Y0hAdpLxSHRye4Z2xPu7PlTm3pjJAc0SEo6X/yhTjpR4hK
wBlcuxGTnkqxEToSmqvLn4UT8QJmhFkqfkMjCda+YtuTKGumOmedDl4nH5G7qr1sPdUh8Va3md/R
PY5YVSko130sEYxn3oeXzXvbpU1ZsW8QbAGsxYhpb0/2HoM3E6wGr/scMgkSaVpCBzoZgi+aWvne
zYI7inG56v3setZv0swwVSjyYAeUn3FMVl/bWtVajfpkVs7WmeWXYKJMFzDAi0YQ1uCZ5E4biCSH
mChAW12EzS5nNQ0miNnZIU1DIB3kcJHmkjy/5D2MwltPQohoJ/ZJM4FGqhUxyebKtIunsuMLbpC/
5pIfooo/tRKO4YKwrpAvo6v40qYecqLRf7f+8lAMbKgiMc6qTd5b946v1mIVNrONoVNEYjLa08l8
YRR+98/nR+bRmrNHrUJmBkRtZnlOdlIzgGtS8mkc2aMw/2U0xbdJxF09NpRFTXpJ/B8dxt8IrSTM
ausO+fzHVKVHQpQeCHV4LfPO21BvuZjsgXIvRk4aEp5ikNwYZfBbB+f41D0tPjT2XVoZ4XJINt7L
JLztuH1WcZyxQBnZjZ/gqGTn6iivrJvYxXgEny5NuLRTFiHTpfco9fJlMQmFGlW9CqjC+OYl3IEe
M5NLbZeFCYV2uWoHgdrP0EczK0/ky/jY2Zf7GhcSh3njPHj1tZj919hntZ6YNYDoj4+jkjcDCZQ9
BBI2YpluIIusox74OMKrjVqsS341neoEXErlPMw1yVOLXHHM+N7NUbwNJSisxpTjGgTuSpv1eGBY
sObhea0HxljaA2+3HOAGoCvlzGeLCFuA05Hf5w4Ujcik2FSPQdSe2oYnqWxbb5Ma4l2MOGuECkBQ
4x2gTuw3dGYeogaJXcKKVdVsRoUZHDsRviMQI3+8AuwkPzg0c5hP0Xm6U0QNhbZu+SF2nU8rANeY
NKzw5sTFKQL/OxsegYjj0OBxZWoNpFYV3Vo1OVo8iqYogCjnXFoU3EAq0mgrm2bPgB7AnFhsHnTO
6UDBMfZhAjSMwPBQf5UZz8sIIwgmhUF4DQ+932S72RxBFfhqXJu+Y25x73IyIVYXNTQKLcAL0Us9
k2vP6WylsQVvAj+7VJ23m7q7smCVD4PwCQThxY7cL5EGD+Ap7zyrhLkVMd4oefNxY8z4acJNDFIQ
mAJH5NTAviVh1pex+WmWMVliofGO036rBHrcpm8PagKwPaIQXYWe/eyKETCzG0KRF5Ba2qZL6Ov0
n91CeGTusC28CfI6Z+v4ICCXX7FLLjFocpcMMUIi/2QD+LKWAOHCFnttJI+qZ3hqVli3jU86Ffu5
T24HDi1tTDTaLOvrKljnU3DX+NTYJE4AlaJj5cS3Vk9LPrejEz77c6z9a9UHt0g2iQFjO8QB3JDB
ncTWawVgNiaPSKeFhdRfbnRuf2e+o1AJt8PKfAWCTh83InRzMl+7GBxR5D97NVUdZA6SAFGpWxNP
ccShURX3Hqq6nZO6e1O7cGcVMlaHM3OB530bZUC225RwjglmYpRjoUCbOzXyhtbVh2YutQZ8/DD3
i9WroSXRzerN7DfIaG9NS8+cF5iHGi2LkRl19dGCnrFzgcvhMH1FNY1/DWFDB0NN8zDas/suq35f
+AbuH7jR42C5x0jQ7rDVyNNJpZZYnbc2DYIbTevOzD/QYlDIcZvyHFDtq/lo+D0+vMhw0TKyoLfN
tNcNxx43ho9RU0/bHswaMf/S4dRgmze595v4Hh3BtWEAfMd5tU2aKWQIlK8I9qFfxZorYAIxnXQf
K7QLqKs5Kjtjvw794ZfWSU3rgLNjU3+MPsXKTB9kTW75Jg8ymJM5s/hsiboaJZbr2QXZYz2hppMb
vxQcyD0yi1qT2Cl8EbGzzyQrXr2YkWy9pO3N4tYJuwP5HXz8aLwnrO5YzTTN6olYnVC8FR1uxb5w
mU3UIRAAak67NN6buWNlHRZnC5iJPoXZzRns0Pj2S5LQwZcGLvIx5B+n8Sv3CsEkC2fLyqCvc36w
fZjxNk4Ldl5yAYeOWt0ivHaCKHjgLB7CagElBqlWLYDZsruZfJRzceHxBBj1zoZOzRE/05u8/4mH
pdwNmFzVNjyzABlTgf1lC6GQVmA17yfFYiibAo86dqxE2cCs2UHSUqPgGZ8JizDXEcb8ddTmq/+3
kro/ijv/1+67XBSUzV+Fov8fSkAXhRxa2f9GAbrT35/xn7R2y7//T62dhdbOVp5P9JByPcexkXb+
S2vn/0MqS0hhYdpWnjLN/6u1M/8Bd9EWngkTBnmebf+X1k7a/1C+42BvUdKRjokM7/+8r7s/Snj/
s+jT4ncwqFiUvv8SfXq8KeVaSP6kMJW7KPH+IPqkYEMPFlIzLwCXLHaxvjtS30NgXAc+yXYFvexN
FNDfMKcctmYPXKSZikft0FXwA3hJ48hzG8roli7LuNbGFJGANVb7RecmKoick7r5w8X914f4o1LV
XOR/f33TXEzXJmPDWS7En990kQlgNih2sBJJmF35wFCNZkNIB8cOvxsN+a8KKdWkN9yF8IBA37nl
ntnN/n94I//p6nkcJoXncP3oGP/5jUhBRVU4KHCSdI7XaTiNq8oRejsj1lg5NtaF2v3xQYivDKYP
m6LAXeL488/fv41FmPvXy4Eox3UsGwOCsv7yHQYRjuYwiMNVVtEs1XW1GQLjrKk+Vjb25H8uAf+8
tf/T1VfcfH/6fZYlfMlfpoMmmfbDXy5/z4ghSOHj4caS3U3VbvA62u+Ea99qo003ppWy1s6h+5gI
etNdOH1YIgmu54YA4MnkLbjimA/DC87ODiHmiYr6TEw1+HogcBtE0N7GyiaBW7xiDUyarxIQQdWY
5sHEpb13cyJvua2u9Bjfo5TIDjpt29NY+c+iG41jUdchxFxsLm2SxA+iZsWFJ3KKcfdORkO6OPq/
niCBLkoh+jakWRcMgUrA2qXOV9VDns/T49CqjVfg92xob13D539GL2mvUVPcOcCPZE6AVxEP6Hri
PEbY4zZr9JUOxqX+p6vL8Wg198APhju8eqjIrPAckMmzs5aZIXwtaiYUNjSsH9rEKHhfs8O2H3Ck
yJG8zIRFLANopiaHILPaw+CMe4wn2WrAFLXPQNCsAJshop7mm9xmUJPWqb/LhLxph3HYYsA8Q7YV
G4A3xhidGg0JmuLoiqwlrC6WUOvRDR/TvnyEi8FcMto5dv02aysny8x5CbCT+lmTvVUQb4A8uOHa
D9FITCENDZ9MsE3BlradYbaBGa/TgwBxcLYVgYySuRo0cHa6JilucVPfGV4eAziwm6NfdcQSThwc
DELhpGqfRjQzJ18HN0wIMbxMLTEqzjLF6538xvVrAJ/Cs47Ni1lN3TNVL7ni1rSVlT89QBNEmlsy
PsZe6HFE0Y/l4IgbZBrWqTSsk9IoJkJpDru08YOViR9kK4UR7h3lRGTvhPTnSR3f9kWFViAMfwEn
nvj9zk9A7Xb0fGXQDS37/YAgpA88c90Hvr4gWNQXezB+2Wb3jPWkPgrwACvTyIHHUdNujKn0/+m9
+G8fOgvd9b89c55PzWf6noWN8S8rTVkoeFPIo5Djmhs7Sw6d1fYn20ZF3/c75SB2kgD9tlq9cR4C
SZGXwU2fWZfBxHc/58PjEDOU6/34LnisYsuD7HOlQl5KLZilxBndtUfRNABxPEPSi57FPpwrhpVT
fOq87d8vWeayRvxxzbIsk3QyJV3XtT3L9BYzwh/2HSEmGwVAymCjRhdnR4V/Nu7VxMmkq8H8tE2v
QEc4B2PAXef114Oayx0N8mBTcu7++zdj//ubsUwTvbtDA4O/3GXB+8ObyZoyi80RVp1wst/OaFSM
rQdBuCMqb8qlgKBj2tfW8hLZHvgSV5gbMsM7bLowYsWqGqyta+YVLT8dnasEK5SGDMeM9Jr+j4nF
uM8QsMX+XeizGQBhCAZbbcq+LK8ZQsttrO3TYHTTua/d6kEPDOranGGajhP51KTjjHBb/FA90geR
hJtbYU60RBG5u6wKgpeial7B1eo72+MS/v3lMeW/33x8XQrpPyMRyyei8M/Xh/t59OYoWkYyM34p
YR3IiW2ujdag320q0gMWKq2qSvGkPbrVo5d++4mDSrsc2BdaeGQtYDcsvdNhpm7I4EYg5i2yW9ul
HWUmnvUYT+oF8EBxo1sMcRzciCkJ5ocQECXaGAdoIhpVocbiHqooBhNnMfhyIHnwgrtuIqXpu8Ih
TIr2oC6awOwbGWFRXP4uxcXi+Pl01i1KsClyWX+Wq+rGAcPmUN4yF+ivHeJZAMG0YiNC+ueDF3g5
NBT3IRvGfN0kQDAG0owKT3vvMqouhS0xYWjyUQdOPZaKL+OQ36LCd/diJPGlstR0jayFSZqAV1Rr
0DbYFSoeNUAeiNiYIAyOuzJHA9O3MHkhOW3D0iy2ord/StqGwjMUPU/LKuguN7S2BujNuE8ZBIGW
ugRpAIWPrLIP09hHY9feVVkZEFSmktXsTwef+dzZrWJ9NtgfjSA3D7626zOkOFzyBJZDhJkVYDmx
bYGPlXQpN7kVdNtquTzmGPmbOab52eSW9dR29sUAVvrgzwkddEhKtcHqXHcON3ltPj4ALe75Zg3n
nla8e69atMDYdBe1VkfvvEnujTbWD8GASAxVCR2UYdIX15PTTRZkmziCeSSsSi/Jf97FQncEodZ8
iuKTUFZzUkxbT9byUzwAx/j7W9xbls8/L0e26VKFu6ZvCReFwZ/v8MxlMlgbOTAdx3mM6mjf1EV+
HaV+tS/DGmRYZN8xYUbmXjmkYQk47pbf+OfZJzhF2NUGb1m/bbFnwt+sToiN2SxJelsLZsmoeLtU
H7UdPsxBP79Ir7svu0lcHArvSx43d1Yy5r+kcIu9GBg5DMF8jGNQ6SpFzGL3AdBmh/RLKHLT/e+X
nPQcT+fNrYLbNzZVe3K83gOmXVT7PqfJQ3HBgjZ/yYnxRR9nxX0PMBIJRhtum+m16SykU20f7UZq
kC2o/OmtKZmjpnH1TCYIo1zo1HZieQcMqsPJ1BbTHnACeNNJAcv85lB4Zn5OXTvf2kPOzegtsq8p
c9akUTqbZByyQxiSf1NPXffWe0SMwVl5DmQhD6g2gRQs/9zpmgWt6D4BcSavt+27/6la/WtxbHG7
yOV440tbmbb/l40z7bscI56JMLWR2yEuuxe3I1l9JM0zm/MI99pQ3OehQnikQutOT4KB0hDYByYH
tiZ302YGQRMIdGjlW9bD3994nP+WW+tPt560BTYnpRzh/ofFVY7ajwLF4gpzeNMCX79mrJcdkU5u
NWUSNRv6AOZmeQDiCwcSeLeXNinowLTzU62afViU8vj7RUejPBbslOtaTLdpMAencaqDU+KlK1TK
95gO6s1YBNGTsliBY7/MMSeH+Zlh3dZb1A+eR13sL74UK3XHXY6+Iypvpy6vTvEiA8mZ6T9PDF5J
gQM5tjioaO2lOxDbztYuZkJbdCGf6uSADF6fAszzCFwHNjcL9h9DVfvw++9+v2gnzLdORwEXsJqu
ytAz9wkSTdq+lOh2agcQG1K1reeYplE95oCi3fy6C/Ajdlae3xc0TUNr7I7wRfEg0lZv0L3gxa7f
2om+ZDhU1bHDaA+2v4Hi6vTyYlE8r2yYDwDPvM9YxeMXIq2VmyFYAVExnqrUxNdujfLFnVtyxtuG
GstqLtohtcof6gk4mcieCmDZvbNXRbNpVTXf1wn3euqjW2R26JKUZiXHuC6/HKIzdswAzL0dB8U6
i6AuMMiY77smN3dmTBnt5lW9oTlvr0VtIuTwRignrXMLaXsXu1Kc+igyT79/EuWLiEBHVUg0tqVX
A3iyJHlldPr2Zdeispeo5VsdQql3QAu5soseArc7lxyeFi0KC0ByyMOmP/gePUiYzNaKkLH4XCNv
WAFcNtlJ8p8etYlZjUh4/cA6GiXToLFlOCQmOW+HbLb2Kk3qc1MNJNgMSp2z3IxOOO9Pdr2krgaL
q3xM3psSLhS3ff+SVvYnaSeX0qieIz8vSeTR+hAgz1wNySKk05l1+v1TZTMGnXPRvjBsh3N6y1cw
bAzYHJPVNi9RMjrXEwULkR21dW8rtR3L0b+dyvi2mdrihBpljWK8OjWGhus2+WN7hgIw7IxCf8+e
as9D0wXHpoDGENreDB42/IwKECC1/MJj+BaeZBv29NfhvwwwOm/KOkKdbeTQM6o5W7EbC2+8o8rh
dLeyQ3hSdGweqP+LW6oIFBLTRTZT+aEg9tBEnvVdlYjoOlLNDNSbP7DcOxvgxRi5qL206a8hOC8o
2MrehKQH7PXBKwYfz3mhb40y9LdZQJoeEbNQL8w4PmYFtrVGo76vnUztQ70Q4sDIP5gBSroJYz7S
dwBEtTcLfABlvjWMIeACLCnEkya6HVZNQlwPelfbGYjk01N4a3C4a6d+/mYouqoFvOmgR8w0WxlD
k87Q8DIrACGDN9y28oZ2knnz+2+yHpCxLJC4R46pbvo4haMRJTAsi+JuoEi+SUcN918TbtvYNggs
Kxd70TNBEsggjl3rXmFacPd5BTga6iChpZpEobmdzINhoT5gilXu0dsTZTeGGTByIt0CsgOPdoLm
NbfaSxHKdB8xuWDJhl1Z1QojDQJcmRf1FkUHzhHXzH6mPSccMLtYoQ9VPv1CyK/OnIquBhHunJhA
XxCN9euWj5teMzR46iEincb/eskGuklA4pu1ENltTPPnXiYFznxZPIdgKt4RvyHgINTiSjW0qjVj
JwYPPHKgIc/cJeWDbVYlnYMrFlpGJNOmDoB6O1gCyEZQb5CaLArnadq2KSDcWDm3c2oiyQ/74py5
OX1l4Odn10KXoYjRBcXXOKcqYpe3HAoT1TG9qxn1Scjkqfr5/R1UkCjWPt/xutJ5eOkCwO4cW0bl
/WJ2SBKOJuyAAcKPV6bTqQmx5TQWkGDHO47LS5shnEyhM1yJISRSs5gQNY0R2fWDsm+yNP+aMlfd
eF6aHHhOzU3Ft3Cwq44EvAT6NRqcVSGL8XnwIVSgGqwPQ1s1v3y25Hjy7hNNRT8mlXzxivIhaxih
trZ8kQlfsxStcUgj8vh6Bv3WIJ6JPL6BbzLdQsyIqbjHu7YxYPvJ8CasJiANjVk/Rf589D2y88qG
UK9Z6fLGXF6clKmGrl5E0Fsvv5WXvrkxDOg+eYYeohQu8/je/rTLtiC1vLtFIeHdDr+P/AlYacP1
oRn6/XWcJfXG6MgebYtkuJaLWQWy4YW9oL6SprtqrGDcKR+LEfftY+kOgtg6k7Ea2UnPnG8Xhrt+
sEPzTIRVcHElueGMmtytMqvqxLZRnQhtcraz3+YIDiPybBzy2nAfpCbpFTNDwWsAS2IFFGLa6Sr7
hsR4nS0sZOSpzKmzuj11Q/piGbVmER7JUQ5JPz20Y/vLJchYxr38Fecpc8eu3Dp6QfJCjrrA8wLj
B8hunXDtmGAlwb7TTCqkFYb7HPzbuZ0I3JMd4t6Y/h1uSYvpDmI+s1DZOU69I1XXcFBgXLnHGdP6
XvweOFN7tDy3uC+S9lboRN1Yos83/TgFGzPr223rAOrxq+cqdqo3xiKXEVcPE67JODJpQ29WYlpt
jO7kjwP+vxbYcWnG8pK5xiFr8LVVOoIajqL8fxN1XruNI1sU/SICzEW+KouKtpxfCLttM4diLn79
XfI8XGAgWD0z3W6ZLJ6w99plJ+VN3R/TrqMd0uk1xqfxmVndM7ndNf0hIH+X+yV3RHtQfdOesKKj
kagUAGQChvym0Y/MGcdF3Ar9bBN1f6IYXAxqUmR6IZV38K6VOdg7KfMy6IjpQ6SLFquK4/7aVcIP
NKsmPZQHR9/YDSiET9Zv1q0d+nSjEV71oCc+KinRr/tOY3pkZ+MxaWbvHDsorSfuyy9c10s3ajkq
x5lUA6tkaEOS9jMeyGsnBoRD+ZhuiCJL+UTYyeburDFclDY6WmRUieJIoQch79Gp1Mpos3k1FUlg
cXL/q22tXAiH4AHyHAIdsOTBbdWmh31NQHYaXYfG1i6t/cA1aL4xrGGLjt7IDX1iWi2lXez6UVhl
UJe+vnVN5EgD1Ka6B987Izmoyrj4oDncG10yrEwVupuon+vAn6JvUnzig9VOxY78DPTUcPUvVYra
yeYcOMVGNN0EOl/pufQMFXludC7pQW+ccNkkFZh3ye7V9ZDe2UCn6Bk9Yi7LeDoV5feoCAHqCvRn
dk8Yjm6gJe0MSDkk0yXBMFfTpdMyi7wUcC9Omys6AfpUJy5ynKLu9Oq+SzIFXyHzTGfMB2tEPcFo
aHDstdYati0y/IXluz9ubVTnvPK5HBpUtr1x+P8LRpNw13FApR58MmkwSav1/jmKXQzTNrv/qhh9
kqfK78yYQkonIu8yT34Uw9ze19XD2eqGd9dhGixtLefCyok8F5Z1/XvxNC+wk9yjH8vMi5w+GqWZ
57hM/UvaxxCzjHkjxiykdjR2XezYAa4vJIMYUTWjRK7PbfyQ6cLbYzL60oqm3Tmt9hvambqGRfaN
FkdbFVrSBHCsmx3xcZj9kL8g8a2LJ71pyI329YHYEReW2QRRkjTS4uglkX3SwCQt4smfz53DYrpi
XwSnqGCLjrrDd9pNWVUuccJl+lDo5iptfjwDUCDfU1jwsIuiKxP+aqsPrrbl8WsRnqXbbJ3Kj9ig
DdcYfd3nG3LFGCbcRWC7dsKG7JCO2RXfDt+PmfUnge3h8a5l/fswUfe6gSO0q9F50YXnWbqwoBuB
3S3+xQAa02Su1lOB/6TymubaY9A+xI17UsQ0KAvYsDcZHWR+A7z10FnQk++cP5z9xUbMjDYS1g/X
qUpNBuBED6Xf86ySDTkYcqn3NtEhHSGcej3H7/2hwX8KCiUs8XpWYPATPgbxayrpX2xA2uxwMRY5
wpuOFvIjw1WgcK3OfayYbe3M4buzZ+dstMUmjTKyjkxoRnS/PEtE7H4iasTiuwxZEr0nFbkzIMeN
VZuzm64it7n+vdyXL6FRdEeUz/7Bdaxjixf8Utt2dQFc5lXhhi7t1st6fnHmPZA4uR4lpYwkwD4w
NAsV4f2rtiaLQ2/EtJ5Vse1JWr5iEq//e4llekg7zGJywByq12m/bgxoU/OA3yIfrvWE2WzRwquw
JvczaUX25o8vc1RC7XWdahO5jBD6PKrxwllhEGUYrCW0qEXvMlpP3LD8tuyLlcjouZGDWpmlhFeT
liB8W4nRZJiBJhhMGtLOc+HgGjm9CXznVgKEnFrjlt1nMLNuv8cVsqsOu9BGdHF88suea5Wng0zx
xEoJ3LvHofZCIf6h2TSDiJFL97VQCGW6Sc+2f29RU6YcpqFz7gbpHaoqeooEfPIO5R1wJhMHiEs6
fJXnn34FxNAtmue7w4GNJZEEEKQafA45t4GZlS2Q1egxNcf24gs3v6gLIFoP9qAQUFeLH5Ei/Wk1
+a/Ik982DulTsiw+DD5J7ffCfyVNtIZTRdo7kwWozjr1oV3ZAXc1GLdQty6+DVsxrelX6d98wq9j
63FkFoI/snSeDFRpusujxkU8AzIu34aiiNYmWMXVXwnldfE3xIwSbThBVBEIO8SBhX+TjK7GuW5e
sAZMV36wF4Gu5aVg70REGw3h379kueNj1llFk6O/2krecvLQXos0wk5KpFIa6l7QZn6xHhWGAQKT
oZ4pBBEo6v4NSKkQpkU0yWRCbdiXHPFuGRc2aDGZ7B35Y32i3iyDJmhOxrsz4063TGcyWrM84I9E
O5vOw1NTkq7sNL5FQjPS+Tye213q9sUyZDR9SCyFNqPQszcEMehp4scOl/iR4Xe8Q6clvqUDgCWr
HBgFffpkj6omkYSs67aE/54WjrgO1uBdHVAngVvz32tqQBVWNvJiV5iqPMJzBijNe8AYDGflb5qG
h9hN0Rj5nfMQ3rOLKz2lQcOFEvy9YEweAOHF+xH0ycMd7Esc2AFCGwszvX2L2SaSusoAwBn0VC16
YmPRcU6A3gbJKh655eDk1WVkXPi3xGLMQkZck2ZHRPCc9hpzC7giqxk5+h4rU7L0RTzcorgfbg3h
FXnW75EZpS9mgx+pQRpPxKxJzHgviiep3bniTftap2F/lLqnk+G+HsbG+UnRDmZ98sM0GR19lLs3
bY7VpkRHhq4OtZLeHWRVGDuVFQ9THf6I0NMug+0Uj3iChqSYNkZGELXfIyNwsbty5NdobbheHzrU
b4D4+Y3VoJPNFTKj1O8vnjXS1OAL37vRBMHRDNu3MjIoCjw8BXN8mdIcL7Uk8IsgG/I2e9EEZChO
YCzM5EHPjccRMdhrgTV7MzdyPkZ6RVHj6vm2ccAeumGDLDPW8KeiWNqlmno25gZkHWvBaFVYCU+Q
3rEPvgMrJCVykyrH97FOe1jy7zV2PHQ3zQxPlirro3N/IQ2+pBTMSTSQpB943HgMOObyOpU0FCD1
1EeSpt9OXVL2SaSDVtLDUNaaE3Kpo6ETi0gIFS969avDTt9amP3GptrYYLdOHXHADPiISWhjYytC
xzm4Q5wC9VffBeOobVjp40OoJXQleQ2bv+nPSEP6syu0/sxgAgfxaOcnHAA0r1E3PSm/etQGG7vp
aF9d3+ifkL+uTFJfXuVIf1g19XLurOTIUx0UdUeG66LsuaKnc9IO+qGIeSJTj32M8MyPjiaKdeLp
73wCxs2HHtz744kss7svcIwvcS3iS49zgajt4iT9YtezSX+xSW9uGCT/wvFZm/B5ILOY6Hi/mXR+
CQA6WwNjhrFwzKI6s0Gtzszs+ax82i0GY2NJMcY6q9mmQmabFJ3cVndAsGacAAGyMvVWk3g0dH74
FKvzQHTgOW3y4RRZn+1I4lmo7Blb5ZxcdeMh63Lnhg4I54zu7iXRH1Y4RFvrvrlu0MXgX2LbMhal
uLSRLy4daYqBR3t8v6Abbv+3DljLBh0qbZJDtCkEgwAHyKduEEYqI7ffFKGecT98kCnuPE8ROWbS
cMiIY3bEB0vQI0NMFCJPdT4S7YneZ0n6TLwQTIEPyB6gZIKnWWfTOKM9w3ydpznxrIpQED/ymEhK
Hm8VqMD7OxwR/9qybVd3TdNaObMHLkeZwC2mhvoSxTeJDt1CI6z85GtieuW3ykhi8u7E7FACu40T
pk9gFaBBmUB+mSsYWz5d5zaVZnloShKg+h5MuKEwq8SaNu9Dd0yPbVhy6RgQlMEKO6op/rmDpi2N
0nZOdpG/xSZbGX+GILRIJA4g1TBQkaXoT2YxDISHKWj5kHqTofcoRmfIVK0CSsxGd1FkFUBVy4n2
90+v9kuXUQkfYQeTRCN48Ukby+41FPZDB7b74P7dKPcXWIQ8CiII5tQwy2yqqh/TI9nXaqri2fSA
GMR2/M9nI7krzbnaTSOMaQPW+Rj33htya3fhaVoWiBYBoOcmZycvjXNppNDF7RI7Q5Zx+k82qhiJ
hcvn8XDqtXx6tdAk8sRdN9FH2I/q3KLHWSCIsQ+QO/556TieHVYc69BcsUcAjYF9MAoAf+Ungjk3
uQD83Sb0xsOrIHX3wDKpO/x9lU5leiA72OA05wKycNMUQ3adS5BrYx1mJ6nis2YJKtyp0agQXYOk
byFPU1I2R8YbG3KYrRe8p0+enuiP7pS4J5bQIZKfpFi7jFq3hUkFa+r89A0jdp8s1i6sVuer7ijn
Sdyzxkuk0hUStBs/wBcDuOzLEFIbovKO/Mr5LhvMrkkTW+c59wOV+XB4I7Br1sRCpotyUFO1wPWA
e+hQDTpOIg+hNbBsBxXSJvLaMqhSMpQdUTKxMK1iY9IrckXATAMrfclMT3syiE29h5jpI8V+UXib
xrW4xEanfUX72vk0yN2Qn8iEDR+kHnXXhETAUmTaA5EJX2YRx4Ebq/BS9vZLYY9U+5AN0BgTCgh1
1D/ppRFRJsREYfoi3HYqjp98PGx2xF8n9odxr+aeX4K6ppn9y5Ck+jFmPPOUZHcWKRrdmhP4rRGl
jw8/0Z/y3EV918vp8PcW3Lq7apoi2yaifIjNRD85Wm9umihWW45PlLLMZf9ecjvcudB31vxg0gWq
3oLAzSiJ1zlXw86bbdLgZPORMzHb2lUePUchk5+eTF4vk3Lr3MFxtn+fOfutWPQedjwXFOF1LNry
yAKOAln3vJ2RjtUm9HxI7o56HM14d8d8rbu5yN7nYWAHp4xVONhZkCUDnvo0T5a5tL1rpOvOfpgY
SKW2H534PmAFFASxzFXxOAq/XuIC8Hd5xxCKxc46Gmp56KhRSGNfmXmKKNmm/BgzBi8sYNW1ZSa6
MA31lEWZeaO6WTuUovNoN8e8UTigECOj2tXSR5l73RExc2CN894VKZnPSZ8dCRqBC0NSdjYqhkXj
x98bX46vMyC3ebAMZOi8aDZq21qCnmE1daq8JH+3Y/slzMprn4eHWqv6B2NiCDqpdZ163nNY4DFU
YwzSxCUMYeHa5rBLfQjAPDLY4GqaH+SqTXYhNUxVusVLNFrW0qwh7I/UCKfR1Qi00y9JZSVY0ueL
mtoPXEbWqkphETCUONIp4TeZo/DF8n49pXHZaFOf7HGPM60jKWjrGLb7iNwJfyRoiMAlSn3Z9XLe
S1tg/Zsa50Yv5K7aAcSHXz37XpU/6vDUbnODh7fsZ7nJWk/edCyHSGEqwdqt3JTjOBxxkbYXDN7t
Jbq/JPx6FEFmCO9ShNaV0XacUhDwd4mCVzFUdcUjAbLtRUUDgAzJf19Vlr/oUy/EaFVHO0ziToD5
dD7EFuFSULv0RccHTyGDZEGgjN+msJDimUG0iUWWlqJ6nefMXycWF0qfJMax62z92OjC2ZW1RB+B
c556gjK4CUKXjouQ0PxsyY8hnYuj24sPabvxzbkXDI3rUbL2ZhY4Y+YD62CGKL3IDf5eHLLZVp0M
m9Xf/wGa+NgSNAnaZ4WAR+zI5omObVT4Kx48b5KMNCKpclo8HAlBH92r7eyVmWJ+FjmCH1pFHIAq
rs59JcyTRpSGYIKd+8ZOc3PrFFqd9mDquPFGmbr7gl1busQ9s6T/h3tcCoiZ0CdZC81fWpnRBwnb
vZSWkxyjmSQTyaIeQ1I3MZqz9UfkdKQL0BNtRP/D1F4F6VgPZDLVauuU5b7v8VwrOz0ZmkgPsaau
1j0UvO91d6cVXv/e66cQKxUVDq5WXBkE5pSURykSnitb//koC/1kxUm0/ZP6t6HRX2Ov2P1toIcp
SUGiMzGX4mYVg75tCsV2mr74qEUGx5iJQNSuKk7ADppapiiDmoSolsx8KjRDfPquOIStx3VNMjLV
mXwvekRUJXdlw4URdGZX5NDvDOLgsCcHrlD+Wh9JtQAAEDHnb6hztenoMoDcAFctgnqoW3YLeHAx
bxB+Vc7zsmWWfsHloS01iG+rtjeuqECxbOtduBsy55kUJus19u92dExuAZ/RD4m18BcN+xLp9a53
nDc7bcedWSFh5U7g2IS0AVerJNPDrKqzGw4nPSWgs1Di9vfo8Oi9l3HkrAx6qcAqTcZ9klglLSz9
HVY8qAeMYGGjGE8GLIr937uwMV9TjvpjNNpM4mSUvf33lXKfjKkxr76HVlF1XbadI/C73ii3Q0w+
W2/V8Xef2fxp3RSwlSlXbGzKK2d2v8RY8aXhPSAKjB1VXB5HQxAhcv9Z9Uk47IXXH3v25i+gjOOj
nwH80gSrR1lYbPMF8kK7Y9Pnp9wToGPWrZUZ65EJPqOo+qvp1RgQvVFdpRH8jTct4ZAR3dlsvCvn
JfStl8ywnF1rogHCb7Gby6MYffc8TJV+KamPL3Um3EPuJIFIuRP7jgyjPE8IJM70/CV3JASyNAnf
zTFBKZkoquEZjhf9z3bir7nx3Xm+lDY5Y+lgPJajbV5z2YTPaf1ITeSs6zpGiGGlyZmSvtu24wTX
4/62ihA2dVhVtgaoqhvH0+9UItLDGgKK3LM18r7T4T3kp6XCfP6SM2wmKq/ybLXSXtohFprZNLR9
n0W0lL1TXkOeDqtEmvG5jbpL0w/DeUwlGzS3uwqhpq3ZJTAQKjNaN5MZrgh5sI5/LyTO2cdEj5pt
qeQnRtxwN9Xktrt0TNthMtJXLJWIgxMGgX9v5ZTtfKwvqTbc8F8V/zzdeB2J7FkCn1FL716OJ9Dp
P8a6pNCCpjmkXnEFoPHO8j0MClmVJw+Zgju36qHLbPVgM4itXQp3jI/nKUeKkeeC3D0kSzjHAJYI
MWdHMo+zY1IUgCwbODFstcJTV5/clDXviJXH9QXv/l7qhsr3biBqOyGvPuMZ4DFkNsbDeA5zPL6G
GLeesoiwVQ7hx9IwHxXev2Uo6BWr0gcjBNjwQ4+qZzn7Pbar8J9bFtMpRe+xMqCYEllWP9mZOIZ6
Jy9/7/qa8JNBS23wN54KZhOzVGf2rMRtkLIJOreNDbIk+HvJow6v1BgHw5ggeMM7tiXMAT2r0wJD
8grAsD3ZMFtyJpNHG2jeI5jKw2jVBzEWzx2UkhX9VHwZEjZvGjTODbmecTCCdmQipI8N3c5CtrW6
lf7s3WaWowubnnuPjMG7sdmzdkk3EQAQAeyPPesILWS4WTPqAruEVdsNhEonGvTTLOfkyoyKlXCX
v2i5fndey/6LLdO+6kDilFPONpEaLFNlfPr76u+lwjN9olN5HvBEbEpn2OiYEPn9Ih63+qOnRcw8
yohEnTSOfsisu1k9JYZngHAAHsj2Lq2HQ4lwJE3cgrucd3+/nocCHlUGJCBB3/QY02PutAbXJnkD
p8hMWeFrpf44KcEioHfqp1wQHh2mBJiXJVlQENTHx5BPJSlM4whIYnwcuP3cOTuVsiRv1hzuoRvs
sYb6R2C+xzk8rSjqvCPzOUR6emQ/wJsKd7PHIGDuWH734zmOupF4WtktZrCylypB2te284Dm3TuO
/AhPpusmQdthE1Sz0o4lustN7ZK8HoV1LWHWjSG+UO87lDhbtdCLYTLm8sBIn51KB7kUvNy06UU3
LtCX9Ecslz11gqmvrQn5ZNjYm2Kokr1beR2fAbMtoykAJc1W1XAy2BgQbQLLvDaU59yA6DIU9cUa
OenshinKGE9vTecNwd+VxX5+X8R8wwq8xwnWVY5E5v4l7RpZ07rwSyx9Fpd3nby5XKw7VWThCa6s
eSfWpRiauT4Zlvdb5yYPlQ1VpDMYJhHKPVm7v/czEWDH0WbTPuoa555dq5ess588LCVBNChWWqrL
To7JeLUdEENLqoOidGFreeAGARXpGECWwli4pReMDnl+LP+zPloPaGsWtTM8+jwREQMvgfGwhGCE
QBJWGT8S8XqJMFx4EZvZjvvWh82MUk0qY6vPAGtncc5wM1RKrIfmtZ0YJBxZy18nXfsqUFekBQGf
BP4ejfYtYyGjgEjEU7dHwjH4FnhACBR3wCYZSZBJSa0QwxvanKDp1kMeX4wBMZb6sBnwlrWzz23i
qYeD561H9y1pafYRcXsGuOIsqHv/3M39boSzuXC7H/6Kq8S2z154iOZ93L1Vxgd5rVdWgBw48dpg
fqnK6OATpV1mGJyYmUCiCWO5EmNAGHXQE1OSTV/haW52+AQ3hsFpk7e06eizGAo34YuDmpZNpOKT
iA3C/m7VVlCjzbQfUoENRUaSZONyYP4/zOLWyq8Wki8GDcYCpIMA6m6Hfw4sKLFPjGLrGRy/BXGz
Mxq+CbKlH0PT9q/e9wjENpuZkj3PybNuvONe2LV5YPj7EE46EKItMrllMoI6JYZqDjzwn5+FspH3
n/qiXGWkCRUq8LqPzOqOvtstW378PKbXYCn/EZCrowVwH0G4rIQNnQ/2ol/fZlMRPEKvikjVYl3d
OfUp0gA/aFhzR42KFYAYVcPk9oEwXHAjZAmiEZvB/MQdm+2cEXCP6k2vq7WSYjcbcsODY5lw/HdZ
dnASc5nBK6ybTR4TyRS+hgY4qQn1ZksTf4hTzj3+6gTULyH57GHJb1E9gjKHwWsx1gwBX6QOo9n6
KSFcuCrI6sjScM8m1zPa08yceTG7YE5T2KSQui6xi9ZuIkAtxZPhfrCpPkKKWFkDrnjmYp/6AOmK
6BpJPImvMZ5L3aVLn7LQEudYJtZPFBbRAmOeMQHqjomO37k9BaEzeM/mVO3BGFwLODJemuDz4w4b
eeRnPxk3C1KoM5O3jZmYtGXaonHMcWnte/WFw3Rr+NGFGJ6TIdvPUU+3WRI9K51NS3SK5m6b41Ah
JIeQph2JaMZS0ldGQ7vPYJrJJNpEfKKVSt9dnmnT/INK7En34kPeW49NT2qQrz7LgQdLNT3lfmSe
+WmsZxPIL+BJyV9I4Mkf+zNaHeC79tXrcjDaIKmdiTwVeHWZdub5UG1aHuylVu1rwowqhUgVWcAI
7lGW2QYpCzwtJ38g/SiIBe4sYnvpwBnpYhJScVBXxsoPEzitNGhdu1RhdZvcep+MBPCi10nDbJEx
oMuik4SqJtG2uQBp3DwN2omozjviy6/8AHVhMXFiIRIPcEdsdRYQTDznl4hdOuuVA6jCeUEF/psA
quNbsD7KmvClcDolSXRMtTloY38ndEbTzvwAJuXOt+Wq54gs/WjLJnNXF/G+4gFjjzu2egE+k43R
lAiw1AtLY8yBnbNzaw8CYMA/mvtZ50+DP25LiTl8RXUAc7TA4xwu24gkTif+BbyM7Mq5ToVAQpfz
kQGwsZwTGkPYn0Z/Y14Rafm6SajtjYl5U9duIkcEuVU81TOSjxjZ6J2gBds613CJyhRcAb8r9dhr
AnmoJyDOhSqvTAhzMxdXbrOCYcDZ4p+cyWAMc+NtiKJtwipLB1Ckz8PBUuI717WVN71PzmfVlF/j
nO/9gtvSnDlbBvc3CtVmKMZVr2kHbsELK85lUv8wLEKVBupewsZKXtWsgYiPh03fVP8y6yMDH2wO
kJ4w2RPRBYMP6zUK1I1tRh93oFJkuZxMTjcss7jdDClRvl0fsuxiXnenNnDZAj42fEbfg78ShHXV
ZfPlM6TdDXNDYLRLLPg9GgvyvGT50qLBkUojzLNdEzt8sirUOZq3FiEsI6dcj625sszia+QEQvu9
beFBDEQn8FjZ4LbfcxZnhnxTIZ0bnYJdp0eANzufNTU0DgLc5dFIy+emHK4FUjtu/2NiOFdSTaGg
wKGYjNVcTsy0xLkQ+k9ui22W3qKB2jmMGdcQ7HAPVQz9QzaoXW+Z0D6bLclVSzVdUCECSvgddX8L
cGiXtt52cqF/DEWzxOdK6gZbpWwCKuUYV5ubSBr1fq7K34bvGLk/4MvoFhXjbz3Za04hvLt9+oVb
uVph1GGsWJqBFfmPs4FwNU4K9rWr0JLcxGIB5XDfMAI0yeOqLAuRX8c2WnvvAZ8sXNYDvUMhnBKi
3QyB+okKUGPTl3wgZ/fFTRLKKc4vI9kaFonusM/ThAFAAXWmiJFIu5zTGtotWIQkNv2zY+s4y5Ys
y3MRuUsPcDKhWU8+UHunz/ZlJu+MwCMxEKyloZYDptxUDeeTlbkBh++D8HOMMkjmzWzNZOuHXjBQ
hr6pNe9l0JtPtIJZxd4i3BCf+psZ7bEmDMIR0cZR7kM3pitnnkAdTBvddtYqrs+tpzHF8PTABwhc
qm+HqGGb5FfSS7wh3yaFf8qI6046ZzMKeXFj/1ancLvQS3YOc/6wWGneo1GbuxB1L8mFBcqFBtMg
XD8pnqFHMyI/FwRtodKGNJVy+6ZHEwPJGKLLVeJx0iKkfdO697lp/L4YWAio2zgb76Nte3h77IsE
XcK/j6kkwjUsc6I/enqg2px2JjueLembUV+76yGhoC3YtK2M6BwzoYRWwrdbgN5Sq7Aet1XGegOe
hZ0lyHCQ3tZfHXpIJmlrB68BFivTmTdAuQDbNHLjjESNOOG9qSO2jd18lIqlmX+5dO99Fq7q2g9q
8zmxwN1jOoXSvJaFeI2pP0vuoIYnSt2/lCalTUQ6BAzkSMYb39E3bdvgYwADnAwXlwS6CQUNwYW7
TBMPCIYRSScoeduNQ+Zuw0jYhB6lZeUHoHbkz1r629iEvhGfNNZ4pbKTDga0yphoxVXQDY+5lzy2
oj9EGdqfiAce3nokVjF+yKFLTnof3WwbXQvP877tyNDOvR843ij1mZItQDcyxUSzYaf67yTq52h2
knXf1GrfIldZzc34OQ78lGf2X+zXBLoy2NPZY+KVgepNhln3+G4qpLCr820XAVvSnJV+z3LNHIsi
NGYljfdiwXIxPpGicChmeS5C+Z1hA1i6U3XJtOShJmoGJ7f1EqFG6EtiR6SJ3Eox9oXLs8haaJae
Tr888gXKnu/Krm4Fqu3FyEaP5DXCEqd6bcmadqRdMJLiG1HgicaEtbct2ruj+9dtvLPo9V+0V8BQ
YgN4wZRzeqllqJsHo0PEUOmg7qNneMxv+uTdyIksjQHhFtcLmXvMjbHjryaFTKtyLmku+sVckW3e
ivII2Yqffi0T1PHM6SHBRg15ARRry5eW8ddd8/VtuJlYTkngUwmtEgOnjiKQISkU89+GQAHdKQhG
72k8YzDe3LUOIGBi7DUWei3WnVxsS4xGbPkNxplKWyORtmG1jHiVimbtojc1Kxh8YOf4fRp+tWm+
RIHGXYtJt7HSGQYhDWUeuWvgUnBDu98adQMzEgoge4rSgFXcZI6b2oDkYxkE3M5j8+bmz2IANY2x
lwOP59EY191SjLq11AYYP8oj5yTTEAw2dzz2UdVGukosq112VF9IODKOnpA9nM4+K1XTGg9nulhL
3dz6ZUE5r3x3SUgFj0oCOaw8e7mvkq1Zh0qSzO8A2KIt4vi3nD+svn8P5ANcnZFO2RnTnySO7laM
od8mRxbq2p2q/1EyflmIcj8JKl01O5+6avaW3lz+FnEJIrt6dmBXsTUyko/WIlUTKTMdxGi8qEad
igbgSwLVBiQ/WG2g2w3Rf2QVONYSnutXhTY/JJ9hOnhd8pyF0eXv/2BjDPlXO9hREVRu8dlH46NU
6lilgCUVo7okIvXR0O5SBwPNTtJ4b1p4jyGklWaacJG681uTSckxt+vzaY9wgxIrdA44XgQz2WHb
WOPbZEaKma3xJDD78K8VqFPDfu4ngYTMhDQbGzalm+buINQtQ4qkpc3Qbqlnxj9g1k/3ed3CNQx7
k7Cs7bvmW44O3GUE4PscxVTiWAfPUA9m+aRP3UwatFy3lfdPD+l1c/9qavprLibMxtgulhoDtqEr
AtFj3cEtXyzA0765aAxGfehgh4uLGrC6D/2jHGqIBL6TL/HysWM9pT1WyKThxq6Zl0jmvF1a7O0q
pDRQr1o5iiXBXhOb1vjkhNW9EslXoREyKkH5V+jlz3CPt06L6bdyv2rTqCEVOv2qsbpvYW8INcOE
Z+zaLH3OE/a7LHU+MsTOKAUQ9eqWhogs5ikgrC+VQwCyunNaoUnwtSIK8otwWWr2OeBaK60JrwmS
CgEIAhF/kcNllBHiLH3IzpVVPrB8IqbZsj+ilGughvYzTCwWHc12lmjmQQSFBB+LJbE7QGlHaj1r
7D/T6ocwe1j2BYOHClfwQuK9Y32Cu14FVeHIg2Jh4VnauNSMdgIuVq2UYWBE7l8E+4MVaTZYPWxA
P1a+YepCI+7wWC/h96emfK19ijcr7DDvE1od5uqzcJxn9ua4h4Z/1CFA2L8adsF0PYRJ4qv/0vUf
PYbMjU7F2oSaA8ZdersxjxXfGNYbCU80k9WnV7ovHd5l2B3DzlL3qAEkQgt7ti69jVqreBINEQMP
iYP9DjQRypyYrNrmqUrj9yHpX3z7YWh5YrrFW5ZF6ENIq1oQq0Y5VRYQPloESeQDs56+Cs1hJtLK
LQj2V9kZgZYwZ2eujGec9Xwj9GMnTcEc0boQ9H2pBwsS6nRHvd4R1qTSLvTy03Hp31Mrbtc+uGGy
1pB7uAxmoIpc+9C5+6cuBgPdLKWjqe3sAddyHI/n0RMr2eWHeULgigiACO+PCW/l6Pen/xF2Xst1
I2uTfSJEoICCu93eG3ryBkFSErw3BeDpZ4EnZqZ/zUSfGzYpdYjk3kDhM5krSUE9EH+xt1xUBY68
WW2wFkG6AxP66ulg82xH7cWA4wMgQaw+jRYvTF/Mnu1z2M3mEtvitoWBPJGENU8WFlC064VVdR9R
Fp1zg2VI3X9wSqp11iUPuW+jc5SIlDxa2N5/Dz2SWxGkBGAlLa5dcIxl6O7sShKXBuK70+RbzdnX
jt/K1d4tglxUfy8z7TyUuDti+zHMtK8ETZlmPfcGAwhTfPuYBBQINcdnHe+jvh4GJp5VzWa2xt9A
DWEOz5HQn2J3Ohn+9ICf6hRiTAQ8zzUCD3c+Y9td45mrUkdRrM1RPTnpvMoZ+IrbveGhPtB2Kzgj
Cg9RN5Y6T2Om6nYkH3C1fCWp9ZC4KGyx46uFqtN9nkpjFaFYhIz6bUds5oOpU6tyaF/sornqXoGg
yC7eRDG99uG5zeyHjCoR3wVQYvZJGZwufqMqN/HoR8EvIPLYd0OBjUzZW4BAWJaE9ihSFsgAYhiZ
Nm+0PajKTHjxCj6p7qf7toDzBsSGtVJ90TPoXk33Nv+XCvdFqzpmSkzPLPvRJmm768QLdq21b4Vf
g9l/5HmMrM5MNo6GhkQpbWXE5PYU6uRl6R+N536dFRx5frcaclqMn98hyLBqFu09QEwJQd+Qw1n1
PKP8+XWmSXoMam0v2/7qKv3cmvGeqC86j+yrpmDQB/PmG2hf23Zdh1QqCamIjDkhD6OZX5kVz06G
ZEWknrSs+Cay8BlvveX7ID0TDOU8tB5l1F5NMwFkM1/TrkVKm513h1YnlTsqoMYaNDimvnOre9Rq
sL8z/TcLiINX5zsN6Y0bxA92VAFQDRkjTX/mm7yh8Er1N7OmQBp7XNN5RHeVfqk+ADQpvvs4Irmv
rdBPdfSJCAWqZjvQclE4qTUUGgbWWXstud6iKv8SHSWXn97hxGy6lmGWmE6F7zHJKI5F/RZNgvz1
SUNnE4dPFYkGWiO/55+RWJxfXuR/5n68hyj07Rgm9ieakcGoNRDYEPtIrWIu361ECHw4A+vWl9C9
J2pXDuLkl+usIwsmBG+X9Ie3RtoH3tALrtu92QcwBTuf0koNm94kVYahF4ruwzQB9AjmsZxsBMBe
czMx55J6whsfAtLsAvnRyHZplthleqMDruh4Z2u+pB0voVI3UIgn58F1WTP3iyBr822uYUIwlZEv
wGrTu1nXIan/CNxkuGqNN2NgdwZDbFs7ZFZpkJQjaQ5LiBFvqBcYBObdm+mkfwYL04PAHwx7uF9h
8h5JD/dIfxzdY494lh3dybCHkxGDWMUFfSfMnNQsXdnoGXh/UsOPFr3dXlNm7D3umrJD+6bBJN5U
Pq986eonPbHBpgwzLKV0T34PLifRGa+VCpsDsd1FgcQHuOTCq3gXcgUqq+7QIRrEZMA1IJS9p+UY
lP9VyyFbMwuIhJ2vi1wOsHMzaz15bD5kNXUMTNG5SXrspQjqBiu6E+yTPQ0OOW2lpzakHeVWA6LD
OAdNciNM7dMIen+ZouJbBR+4yCH/STDLmoWAQKF7UCZ+zUwHt0KJ4jrpV5Bp96LjKMqZMiNpy8pW
Mra+OlHZr9pGktM2LZnL2cDOokvmxjfVQW6KrYpRl3xKUlffdpFyN40+zWgN2qtx6J87RwJfLkio
d1gxH83ZBQFCd18UGcjSTHe3QdZfwqm0tuHMX3QE7IFK+puSed/Sy/ZYG2iQUp2hP+tA5IdttLUQ
Eut6Vxyb6mNMZmdCT33glXwnLdP2QGyPwdDFVHZgbyf5MRX6V++RU9Zp/D9i3IFLMdZVS1EnQ+fu
Cl9f6hM5UEksjqUcgDaQt8cuCnU5w87BsKNlZge/YxasC7fAcR0w19O94WJ5LLNNthwe/29iN5/A
dBlxIbSlxMp857dw31jx88O9wIchekTviTPM5DYzSVTTsLeSDJF92I3/gg4XC28wbSMa9O2YqnmU
4KJyKwnoaMKr6aE/6Fo6q9JFM8H2rnxgcmWsu2b83RJliRtl/gZwcDMduOLMoE5FdbKIjedHi8lJ
kIcqz3dRUpmLFM/GIrd57jbDehwUCnpAIbBjoz96hk+jyp/N0TpQbdOLA3pc+9Ml9g1t22ojmHcd
4VYyvgRQVxZDcug7Cp88pOnSmvIBXSmyNlxmFRciiCH1XOOE4gnRU7bMgAXqaryN9jYxkj1M4GWp
WXB6B1rRHE9OCM0lZJWKOJySKs/1dVfgOupzf+dJUuKs9FUh2Mc7Il5t9scSvoEXRNrKHAHNFLAD
WA+icoHEv5xkB4nbpykCim/hBXAGe5+X/omp0Fmg0y5hZS5vdh+BKs6Sz9YfD4YeHm0z3GQ6+3yz
uRd42nzTPVWz9YdvLvp5isDczepmuavdEn5iMVTSyS6weSKaCUdlNRxSxgn9NeybZmElpFSjQGNN
chiUU6MFw9YTggKPhf2Grf7Ljdo/lIfvXhTDbycPEZNiFLG2iFiP9WPCr6//cvjdln6QHroOsV8+
lZjrGbURV7VOM1SLTgfVxsL0qZB/QAa4VahOl6QQzoKz1c/fRkJ8M1QjutK9BC0bsDpgwU4yCfdl
YINn75mtq4MdRLixEGRO88MpdwKOJfGMdvRLn6P8AjI6iUv7dAM9ZgD3nqb1TlT5yQe7q2v1E4Ky
raRO7IfmXJnmakqm1zjpXmVdrSK6R7ys9Oa02+iYh8c6xd6bDzFAuPgAfNnmNlAfThBufVwDhmSo
1Clst0UoiZkZuLazEIcRPqMFbYMXYNa1H7M8sgHUgnKdCB6qcCcX3CqiqR+NSeGjmoATuVbO1ETd
mmYLaHLm2ab7ok8ekzx7lgbiRG1+AZWJop3nL4yCnKM3+kwnwRYYTSdOy/g+5em9bY0XX04716pu
kyi1RWecykTnAjYajFEFPgi297binxR6+zLa30ZPflLdOk9NGSLISdm3SE+DUmEefe45H7igz0y1
a7pTn0fXshh4rAbjuR1WepM+Qu4jscNOH4hUOlStf2RYhHLhxUtCygO8NqB0Xyz1UU7R1bQLtJnV
E6GNJyPAwl12G01NvBgKepPj9J/S7D5g+9D7xYxias1bjy7TIs2NJraN7a3RBxblFLVwPZx5m6ZV
7o0qgnu8DfHxpqCxq+skjXYZxPpLjY7Ws8QKi1sLaYTqOPIpYoczeTbdQvuQKYVegbeEEfkiDQek
/dzZdmlRhw3+e+wCLBR3U6U8cicPCDmggoX7nktm8XEEBSvouduikTk4F/e8YiOgxUIfy26P6Vzj
P8QFx3Q+nCpYGYfKc+5Ydf6Iqjy37vgNjgaft/MUN6znWOegju3MnROis5ZjHGFScT4hbD3Hfc9x
OL+bljDhKlTJC8A2diocAAuXE44ht8LF45RPuLM/ui5o92WEEseH0gdYbiIFbQ0Z1V1j8PQXMIJ2
TRmf4cg3GwIatsUYkp/MRGlq6ZEyVKoVaXn2WwyiagEEbyBElPGVs3ED/zJo2kE5CbNnR7zVBR5o
g9Vk+JE0zZUyOFkgKONijtyDoVjh8eTm0WhvDSt7tmN0gSq+AZVZIYy4vea5JuhdS7xxpYd2wqEP
C3Aoem3/luiyXhstafZxXWWbYJw+UDw/ZXlGHGpvfGcuK0SQqLzrghdGwXZPXXvbl8CalAyhdNcv
gGDQteHaO5KUmKLe1fbcd9spr7gHAtKmeh5dmMCYD0/Dwjbtb2yqa8nYi0yyHXEmm8LUkQaMn5XL
kNbO40U/W2hbs4TYP62qhOgnIhefYxlRtiQBSUr2JzfsVhtktcbrS+SSti9Mp9pL0b92dhzvhpAA
VduuVqhsjoEisyAlXgzeEEsWQVKAShgnYllfjImJjzs33ifffa3kyQ7ZSIsuZepRaY9ul2K0iykf
ykMzjje3JKHO80Dz9eEdw948QfafyJj0JvHHKhWOC4t3LZvKba3VR6dzX438GjRcQqpg+lTr3Bso
XQ5F755TYjGyPidpokdnklUcEZrVc8ZFLH3N9KylJBAW+XqClETv2tydEdu1xWPIWY0I3he66WyV
+5wGCQxNF1lFW+qfBoKmKCmpLAL1p+ocsl1o9QNdPbtGd1aqWTo938XySIIQjj6n3Z04VRl71SZR
ri4el1pUbzhPqPuN/t5n9hK4YrEu/eB1IMDHMyLivVwy26m6wi5ZCCPH7wqVa+lwzSAZZcgYnMfS
oImMGaGQJ/bd9yY2aDwArLbtAC0mMACjHR+dyXaWXnWpy/Cu3AxXYPNS4fVaYpriui6SxYQYAp9v
+wG75kMb1xXy5wVeKlvVvAI1B2PrkJcxOui9X2JBmIHtkS6uTkEMI5/k+2Wd4mch1ganJ5Ny/EX+
AWTunINBXfHzz4j0dUzEE64Eana7OE+B8adjZ7Ek8/KD2QYgJnUZa5OkvRKPTaSqF981j6jy7ByX
rjEIXoVMPDiBQPTKwEMlR/hwMOMYZlNxtqeQgeAikgH8xOjgWOMRHzkZvAmmglRoyPNiqD7Ba1g0
BNpkB5Uq/E7VKwvB61hrX2je6EpQJXmvPc700PMekFl9qsb5LtETTZ78FbwTJ58ttJG5W0VWpjIN
iHnD1u6TN4H2FBwj14FjgBEemq+IBzyC8ehop8pdoxMntCHyjV2mFTGVFLIVknri16TiyowM7ymw
S0qqdms1PF9Lg9WTkN2vPndfKtuk4IkMnVrS3qQ9etAEe0bXNF8ea3qN+LlGVveuH36zEDnrAGIA
+ew0QRIYQkCW09XOMkCXJwSCaHMTIEfnqFcUkN0c4DD/HQs1jS4MlxianQqBS2oBELeL95zqf/Aq
nq0jbnBtm4c4VVy74XUg4Hdha+U2HeiYQ+ZIsnXPTapvMdsS9ujJdF2ILjrULLMVHdVOD8pHu0pN
6nJy95hOyJWKeFq7Y7wySAhaEKxDV4mSnJ/9Ic8LlIJ1+WCmxcUPfNbIgHbinjQSP51zCCKCLZO8
XvpfnoMyKy4BIgMmDSmCi3OZeMApAlL1zN6+FAmnCldxSRGW4zEd63AzFSfLKz+GUmEp1KnWJ1Hs
mY+yr3Wh4XpshrM5dWtMOFSTNvhld+izfdh8BADeusqm3wzQFuK9Zy1tuZjiiP7y0+RBJ08Gs4E5
W+VJ13rgGuOwMOhguO9IBknbj77nEVskPJgMSTlbtCZx46XzVTnyTILEpa74NQPNrrYGOXoYp+dT
hnCFOoBAAmw3H6JV2zNRBGxGgSjkQY+iFwvsI1tlg18z5XrT0GMvfNMG3u/tMl395uSHqBHchfBA
DWXsLGgXgylNDoHGTjtg4oWLJp5ovtTEzQ+ACA1wJ85sZXYcEuSmYlAL2F6jsykphf3qOuTE/dqB
Q04IzMGN3tjNuYUdvOiQUm1E3G2LyCXpqe2SVTZAMAuqi8q8t5YMzBWa8CayvLWwihZmoDutauBx
KZbBfWMuszpGBiLCp8iTyTrO9VVu8ar7BGBtmqRCae0Kj1H5QA6VMTXERbdrL4e9QLGlQfBwmCcy
9UL1Uz+ldPxHHi6b0EofNQjIW6HPtp2p0+6N5cOuExHTJqxasnwyGWgdo0rH9J0b6TqpGlxwsa12
ncO1QB5OTdcnv5Je9WvXlCXNYBKuZchqWvfjE4s/8vjuFPDe2gysXzUpv+u8D/CHhOLBCOW4axtu
A4wpUI07gniELFHYpSTlaW4AUa6+5qJkO6yYLvgUd6zmDqWbaRce7uVy9MhiVnNv549XmbNejlnq
HKgHyrXVghc2EKE5WfTUSwYYyOCtFSAbYpHagGBz0bNaFaDKDG1PaUUuAhMmp2nzV6SKHaNVKFE9
AVfJ0IZoX8ZprcL3Aan5IREAf6m3SQgoA1JDpumI/popRpLScXjmZ2gWYmnJ8T1Ki2zB3GlYh/qI
tWUsjra2akUdbvO04xIOLH8Noi+GixWmzzjk2HAQlbVFEd+dBhdEBdJEQh3aEoYSQA/6iBZjDwva
+mZnFnFswjC3RGTme62B+FqxLHx2q2nTO8ZFm9LsDyfTBq6O/IyHGlJuXqkzQdPfUU0uA3F/xrNh
FAy0DbJSWLea//kSuU+GLwjCIHCqcya05CGtbjKox7egct88870Z/lRASE//IZom1Rt+fQ2f75MU
OlpxnsanvgqzPdxXRspJ4a5Lp42OknErkoMIGrZfVC+Gk92DsCd/hX9rKcpKu/58QEef7sME+hj2
2wXycPuZ1VG5ho9Vn1l/M6SrLC6FYjrk8HpP/SStm4EPGdhU8qbH04fWTPbJiVPkhGQBL3H8mqef
D1PsxEhli03uy8exSZcO9BV0ZtX02kz0iSp38ieNcYNNJtqnd0OoXX83c8Fo+UQFa+40AoZKwHQp
/7dyxNXHN3HvlLcHrTteah/sVd68UZAh0O9t41mrHX/382ViGtUWdC/nYTfJvU500MIwAbRTqRPN
HFtNtRvtVDAetc76mFT7wi4HQr/TmIStrjzlowLPJr09qiF0q9hb3tvk6MF0dOa2gF01CYhSd0+F
C/7T4XHAyJAqXAkz38UwdRZWZfZHtMcWp1v+3lSgawCSdBcxybsnLe0c5JjgimFIzqJRM4wxIAw4
cPWzV/jgEUz/LfShoJDhqK/KuC9XWUSP3IRu8FT6w2M1NfnnSKLNsncxJRl1MV10aNQHpqY9+6/Q
PeKWQPAaS0pFjB2fpubcZJxV97ScnoRtQy3oeFrjYRA8uOohXluQOTeFgexm0EKkdgPskMJgDNGZ
KfVe7GwQVRXX2Iv7rafFkM9cRuRelXnXbuYXsjLBvlqgbPJax9uCEHsoZEvCE/YkTFhDtUpqE50Z
8vU1zoGChfiQQPgP5HenFdnFNPz0ov7PZ0HWeHuKjv/8uWmm0z63OSKdYkiPaYal2yQ18lUx00xE
G//y2A4TgI2swD0mIGHWHOszXKbudpONvAQMbvpQIH5Yq6qFze1PEfCNUG49u9uONvEjMViakdCV
Pa0PdyODAZ78iNhm3qgCpvMsQh5rA2vyLDReXR9BacT2mu4zWpIf094wrZR77nodMcxT5bfFTTYl
A6eZExzET0PgOHynCLhxwS9TesVdr4GNSmtAa1qU/D8NugiQtGuNLuqctUxpvYFZqzR99tnKP6Sz
TWqILnHS8PdFCCy+i9KlT0jixmnoKRUImUCLDzEPmqPlfVbhAKC7taInnymhRILCtkrlK7+bEBgP
r5YoONPtwd940JaYF4n8CgF8HdZ6txn01DnjAY6WppjwuSUZbFcYEBUDID5NbPt3GKRHHIjjzjEz
9eIOUKnKUY4gjyf1YlnaO2hYGHdjH+2hlNUrl37geSzGmTDXvnpKaOsKUTMxen72ioDSTiRyRn2Q
S9OqrUUVw2ZJpIfDxPB2pWferdnuYqRFvg16uo/G68dlzTICS8III0MF65g/OvYNiEMCFPNb3Gvj
yfHZ4gh/XLETCg5GxXpdpe2+Nat48/P2JMN3RgL4zYiyW0NU1cVIiaZhhKaTtcrlQh5bcQvVOXCQ
pIFAq/B9wHMaKUp3bO6D6TRK4uKVZiAVH148jE+PeccaJcCbvBskkxRHS4YVA3xMg8q/koLWbwjA
9NDfuaAbVNqsu8BCd9Vp2d2o1XFA8Uw7krMT9J2z5HE0RM8B/LiHEa0SWGXjk7pIexYRP58j6n2s
69p2kKnL20M7448fFYllVizYkP9vA6huc5mRgndswtmbWRqPuoOcZSL+C8AT3tHOtrcDQ/q96aE8
RDsmRl/h+0Vv5AGR3o3B9OzhOd/q9uAcmRv0mzqh/i6xZaSu6S0tcicm2URnW+Zvfp+Yj9aYzNHR
OF19z8hOlVvmp2HYTGW4tnoAvO3VeKYtbIjxs81hG2i9d8hd6eFCn+ODKjXcLL/EU2HbsPpokRFF
rmq/4WyZ29gaQdZdYd5A/jHmbKjylRFUCEiRAoUDzzWLAEhLZ9Tgs6VGUjMWl6QyHtHXJ9sf01OZ
o9YhAun+4/ftW6e5hqC4CsNgmIZZJDTHetsTjIHRVsyuUlaZ7eSgxJdcAgXJvui0yq2Fn5mtqn2b
yZ4bW/S8uC0zAM9jBqWZYcyjpzwY9mSd4Ko4NNcVu+jZjWR3yTUvYmc3jEzEp47yU6b1HgpfDYS0
ZoCBElnfOfY8TSNVlOEBEbpunBRrNTMWDJqxpe0I7/DzJSqmfQ1v8m5Z5XBysqo/53oRnhhALhF5
+oHevo69NZ6DkuDRuvf1E/acdFMZBeoHV0Uro0UCo+Usb+QYKhzFvMM4ffttGnb9EZfEGqhP+FIU
EGSyAGZOF5nBizFof7gQ+UFnmUQQpOoElkvfjMz2SFBD4Rtjm39pim5fjfrWH1Bw16mTPA7RVekF
yO/UQZ7JFLM6ZXafbyGB0jU0YOBA7EPwBIv4IPw0OLO7fiQLNGVpMIwnZipqn1LoIFY0mWPMvCka
no1rmZxECszrJM1g43VpsmxR8oJr7rIXvbOQQat2Y9ZEqqaiHg5Yw7UNG+urP5u6GNWZG9alf34Y
S13V7GoGUboVJq8uqQ7aMI1np1h1QgvwhQzhhsPtFJUzdroa+PnokorOfwYz7zzAK7bKwHtUOo+w
zCiNh94eryUwOh5RTLO7AiqZ6210UkdWvY7tsmq4JuICcF7dfhq1U1w1k4i5kJern74CHaSg7eLL
70fT3kddsK3nmzwc3YgBW+PsJMTgW+buAb4eR/ZUlwpuLq2oJg/gxB7SknpIU7SWVs84PE1a9ZR7
Juik6HNq9OYVQSU6zw4AW+bg9ClslGLkwBfYjhG8pO22bxkpyGHD72WSfg2bBh+xz2MXJX7uSHx3
IgrPP59FkjePMYcdl9FzK6P8qDMMWSEpyT6o/18ZKJ1GNn3tKOHwWRWCt55JLUdtkEA2WLjalBwG
KB6PXd44XOkpQ1n01m0OvZXBzaVK65rHw+jBuoH8HAyyvXSla1wGCdLb92ajGjkFjyGH+tTVbCAs
cFQtQ9qFTaTIg92MOFbyDoRQQyzylAqMELGffZJhccr8T8Wku/Ba6CVOkJPiM6tjohAlrjrGmsU3
oMt15w9If1MoEb2NAYQvwYoQpzJNcov6BQpoWnz+5zydD9U2KIZ9zom8qCJ4bxbuyHXnuPYj7g0o
EWb0klmaxXLC3EmWeCt7lMFh9OIY+KF76cykOBVFi9gEIQpT2gqwzixl8YrffuJZW3Pq3ZXbN0BU
BTEyUVY95UzrIf2blL5QDZAHq+T080FIH/P26LJItvOe3MKRURlLz/epZGdVd8K8iBJ5FK6a97Gz
9PcRGd3SQcOb1iVc3/jngRhbW4Ww75aGDtlCrmrewAu+RGMcf0o33Np1sp0VTw8uPAOSc5CFQ319
/Plqmt2RQ1Q8/XwFgxpofPNc1jU5p3VT0UrnGXvKkm1jmFdPXZxzGDv4xUJmMnentVkSzogpzZtr
piAVZ+IVow0VFKHtTuaizSqPPTnMzzXTZcnk9OSF9nRWcaKfq9QmtdbEgsVYKWGZnyZPVqjfusiV
vwn4WdHIYv68e7Y2fsYd41XGOhtEN/hxq8FnL1vXvAjzhxxJxHFAuI+lqkYebtTHn8/AXVIkRAPw
Wv6cOJDCfLeh2v1BuadJ4w/mnW8WoP6Nx5Z/8EPXP+eifQWgp8+kKP88qLBlsVtYxGzH8RWYgbOf
VPM0zl+5CAEWniQXXJ9RS3oy/WIMWLxYxjg7JUJ7FztR8pqWoIwAnVQX2YbPQC5pPjWI7YMmnTd3
TJ4pq7FzIUuJpK7dR6GzNIjRLGYeiZcd+wAfwlqmNf7RDdPuIVT9lzWLmiNZW2gZE/348yGZP9Pk
LBFCOr02vRbm8sSqwjEaa2fluvlcp1q0Gifd2v3w9rW4jFcZAvddGhPLNA7V3oe4yebQ4wbKMmuH
T0ScfhoI0bJfSsqqgP8/1TaPaYeczlGPT2ZvDQ8j+BC9xdHYZGCp9Ki9J2mb7GI3jre6L5AcDsVn
biESHSF23N3IelUsAxdisOT7MKarpI2gnviFOFSG2a/INLLeB5EjSFPdXYzCuvRcB6w03H4euHUb
zBzB1WvG4BzbxPmyC7z+fMhc+n879hh59trvxPGIBctFd4daV61aV1y5Ak8UquNFrxKmeyTIfOks
uvWUOV2SQH/8KU3z1gH+QOSKNsGy0nTjgI4km+n/TPqz8d3p6v+SJmIR6fc/Ih0Qjzm2Lkh0sCw+
OnPe0D/yhGyV92mXkBjp+KLdjWXW37z5MuiG9qHX0/ZB6/xuq0XuPkiND/jsO6dJ+32U58mRdfo9
nRs9wl8FCzHetv/7ZaEXPQ18+SsvD07lyc9SVd7Kskf7KOvEu2Yuu0+4xdZ+yNnut16ZYAQJkvPP
Z3rnUXxHFreoWfUHbYppL/L45NH7PVBgftc8VLdR0XkrCBdADEX35KOvB36VuzffgSkWQllcZtoz
Od1lxumt5Y3yl648tm1kPvdo0NYG2zzBCXHO49JcpUPsrv49M+PvRA9pSlM4QlJtSqgf+hzK949X
V9WTH8YWMANog+7Okt3B88QfBgIatg8cjf/+3Yy/w6H4do6pEzVIfWy7rv5XOFSHdZgGghi0HD/J
N/z6heUm7XdRYWGKIN8/jMoLt6FsP8oWAbJlwrwcyVCvyuCVrUTg3ibWuoeyEuY+kul3maRoFILU
28cWCTuGV1n3chqSudL4L8FW9t/5hNJ0HNdybCgwhuno9l/BTSrOlMNqoJ9DsU+KF+dA5xwSxXaj
KAa8k3om3T3vl6lteO1MqK7l61gU3XlkhzfFPOSyQdbLDHIBjoJa20jbEmu6ch+Ry21Mdevdt6tq
VRJotK5SslV92Sd7CZIvCIdo64TVH71hF2IhEl6qVjOIN9eYoDY8ewpbTgwSSCSLq+aoTaVHvF3j
ocgyT9Jw/BfbrNdpYW+ijNmvyYBmTRW58ZSvGLjis+yquU4uoTiXWF7pEXRrkzW6z9okPkthbYww
1M+RMZYbFcN5rQv8mrqXEpZQ9RjzBdb5f79aUGb/P/c+I2Q24q4lTV0XfwdqJgLUkTAxepi2uJh8
YPQUeIxKumgz4NLDmUqJ2sHCuxpA4nZ6O1KfYE3KcrdBCZivmDxVDw5pWlu/rNg1pqwG+4qetKk4
+Mph7G8taHPUIAgug3R6rZ14IrXa8FZdzoIFbK59oLRtz0za3KdAxEyYUZPaAIcxTxfXrm3zvVXX
0RZloffcNOUjuKruO0U/aTAcSy4NWdpvqKAjDJdV+mUgojNAq/TWPEXwG+08jowZ3JBQ5T5jVz0H
5Hk4zdYC7vANC+DVaANzwdiFtrrx9QeiucV1QHNR1qvQbWANFvoR8DIkVyPQDu5UaofeHAOoOIwT
lXJZfWmud7C1Tt9nKlK4CbJ5QUZe1zpqzGkF8aF+wHs3J0UjWfR1IoPtrL2krYEKJhKoGjC1psXN
0JtT6Ebls+h88dDW9pJxn7vvTfRCmC6u7OyiZ7PSqr1hhCkTvAPznGFLZg71T2iqHaQQuVYB6wlP
00ue+5gAA86Mx8gckFLooSR7gM+QJ3VXnsTugiZip7lufgSn1h7//QqTf0dVSds0pRA2B5/uWfIn
KfAfx19pmqJDcA5BOtOfYBOLn4Zv3cD1osHAsdupemcCwsUYSOBhAtJ20dKireOu8pedGTiXQrPO
Ecy6aMzeggkhuDt9gtIY56ygyMl2A/b109hqK5g57CEIhslb3b8OJJNkuuxOWvRqCt+74bA3u8rj
BdNnqzwkrVBGxkcTA6xwDlBx3jQLmnfvegxfIMWzPg7C9b+/HtZ8hhX/SLDl9ZhDcok41AGvu/pf
6ac6eT3Qh1ErehUQ0EB640FTPR4l6WhLFag3TyBT8cNOYVkFb2eiJbwglT3asJtPDi/1rhKdYm7e
v4ZpMKKx0+UFCW+80gmwAkNo/G7xD0CiBIwxrKyQt9lqxvKptw+6ab9g6NCwzPPkiXTxHK8YZYoN
GDAN1OvNn8AqxWl5j3Vudk3gVqtCJ/3EpAhVKiFeoUqchyB6xyhn733Pi7DkiviSyPAw6DL/EwtC
vDVWXv8lRPfn7P/7dTNNg7NK9xxetr+KFBrVWPh+UmBBYSfP+dTgYA6Kj6qZE7DmFsBSmb9PhX40
OOfPNFqH4lMBeE9Qz8Tu0oZawhzSzZ+5YX8X8XtMEWuE1gtyCmOpSITvcigKrXAXzEzxxDq+tywd
11i5pAUdbIWTptHHiRfM8hGPYGv2unerbtBhF+Q2jT1ZZoIfkEL6I7LnKAqMY2lEK1G3HHMgj9aj
6LHx94CpfCYHbOfMbOtFnrH1hTsvoeyvIja7kzDSlSnZCOq6nb/Qcty0RJQ33xSw1fITxqHmoeuj
S0nrvvz361P8ne9FncIxbwhPR1kF4GQuFv9xvyYIHXWpgnIp9ag/Db0T7esEv3SbkOtdRdjnZJix
uwYtCoj3WASjOnWt85kWMSx3gr3vIq2jpV8k7BuxS0DuVvYO9fB/zXn8//2kBKTNBSuQWIqr//mT
siP4X5yd2W7cyJZFv4gAhyCDfM1M5jxqsuQXwmVXcZ5nfn0vpgvdZcmwgMY9NyG5jKocmMGIc/Ze
m3EHVlFcAsEA/CagLRUsUyfSnjxZfOuZjRzbMpIuvQ3DxY27q4ihuTiT+mhlVuvmfZfQzom+Yjxl
mtOmTIpLz/hk+/dhc837aes6659tmKqw5rDK/7yfXopVzWvqfBlOIJVUk1CgWOosUzVZmgFOiGWR
4uP65FOcd3m/flvotJm6zX6T/2v6u1WmyBpRjfAy+G+VG2/KA86lND8gobSC8BwYsmKtd0kBiwUQ
XDaN+k4M5hs0K3CvtaLTu8C0+cmT+rj0CZhWjmPyjIQqxbvtXRflVaWPgDUiq9m1smxPMdD8nU9z
yB2JFdkGWjvsiiRqkL+KXT+2z588gw+bY4vl17E009QN2ybS9dcPo2lUGJn0J5dJhOXRgXyNrc2D
6MF/SiCp2uTCpPUZdzsaKNw2g+EL581tZxH3QrqY8cmXzZw/hncfk8N1odqWlI5my3dfNrtFEaMn
IXkqQXsKrK7cZHEb4dNK5FtSAcZHCrNTszA90QZ9gl2ofQEDC708EuYpVia5B+T6xUq7ZMcZRqMV
EQdri1QZi2H5ATZDwDzPgQBs1lrrNlroXYfuRTODPuasbRg7Nnyw7hiEmt5DY2bKP3Z5amoRvBDf
9jrpA/iKOcGGA5gCUzlKjkPfvhZzi/P+4EiwL6llknINz/ChsmvHjabgmtA5OBvEaC0ydQhfJwPJ
o1K3/eHecr8/KGHzt7BTb9sbtX/85HP++KWzNLY03Gc5DnEKenf5m7ER4mxCqOBnfTZnTbrGYNQv
NqKgHUD3aYUDu1voZeEcc9LOvXFIH/V5rGwHGU2SV84QgfBKQG62drLb+K8/Pz/j49fT0ixbt2Fu
GbbktvbrdahkBSSriSNBibvgZMv8Nql16wZDCT92aBlINJm/qkL7B12rdm3Pwd59XSERmYOHhsLs
XKtlb2KnnXfJ/dl0z/b9/gCNGsXvqObb+69N/hKCTDR05PtEd/sPvv1WpQb3owH6HOw1ZxcWdOpS
MYVnqcoDmxP7TPfwk0td+3AMtixD12wCUjWOefb7faDFcUmlDxEyzEr3LBDRxfJK59RDco6uI76s
refnJJvX3hka1o4YpfpgzH9t0KZvGHhfsbRwph2S2yefxccNKjsyVVoWakmBk/9dlioIBqgFuM+X
LdOEk6LUDtB0dMgG6TZ8O3VXCcRw5Cs57RyAVquSlmeTvakprCDCS4pjMI3Tse1V44yaJgOKGYpl
ZdniBMrIPM1jezph0ltn7PTTrANqNA1fo7abXAsLKG2U0HwYaol1FSjxChwI7BgJObVh4vbn1/qb
m7tlmgY7KMM0yIx7ny5aVkLUTFnCpdStJRF4NKobHV2aLpULMu/10FbOQ1BC+0TneBgCJQAo8xqn
xqoNi/pIzJpx7ocGb0SK0AUBC+msWmhf/vw09Y8fidTpAbAZkzxbdnu/fj3SAMESV+UcH4+RhL0D
+/FqbF4mjzlVSp6GP+b6jQGLdkuilIN/Hq8ki9Kiir1HNkf0iPIcir8dm/S0YNyIcdq1kGhBG/Ng
ciCjiStQbzjEr/z5yd+jzX9d0/lCc9oxWNd1dlPv1h4lVAgCr0fE73StQc0iCW/b4alxpDhicPqB
4Qi8C4LGpCI6jxO/dsrCkpDuCFfnn5+L8fFLx4GA+S53O6FyT3//RsYidjTRAG+qTilS6UWeOONL
76N/cEyzB/KNxVHJk31ta8ml8215gNv6onoOPdYo1I9xaZs3p9WAiEj/B8AcZWdl1Zw3HUyuriXA
5Mr2eM+bUye+Q7luvcGwPaYdB7pAduFr0qpk3BlQROLSHI5par0BkZWntqhgzqITXKvkIK79pGZE
9P94+dxZuebt2cKgvtt74TuLk7JKk2Wl239PkylPRBV7Ww7MGnQXocBDdIp1BQDi5uS6IFl06L5o
FlMVrzXDTV4ETPSrYk4CR0/ZBfajYo4M5M034pySU0xrZFkrIUip+dc+zOU+jI32wdKQN05qKo+p
bVbbKkEN6dd6IV3Y6y5H+0Bo3ySZF/2oHgVa8hyxrvikEyg/7o/ZGs+nzft2nm3Pr9+ikacTwITP
ll4LOHIqLnEp/VdsVMnRSEHo29zdNp4JKYuPbljqRf4Khqk5qVOOxqROSLgKyFNohih8dboaPZCZ
nIK5XZaMDh4CUN2mgk0xJggSK0i45cUOB9F4E0zEsH3uc8RidUHEmb5kkXVJIQHg7xk66lifaK1U
c24ZToSVKQt5rhW/2BOe4YONatVHkeLKBd46rP3eZNFt7Ozsi4YeB6gAlfQNpfaNF/xNb0SNP3WG
R2IMPrVFmdc12kituoWyKLY2aru+rWf3W/1kqLHcxZDN1nobm/sRYoLMA+OtMDxrY8Ut2S1jmnIW
CxhGMhl0oyCud2Y6Y3BdIusnlzcwAPPhdLhYeuvFCe0O+oM2PWpKIVZ4+a3Nny/h3y2FluTmTefY
oOku5p3Ef44P7RgTwKirsHaJqDQLz7plXfVDzTD0ZQhuNrF5TSe92NTREGMLJcJADPoNkprxbDOg
a7Nqj2XVexhg50Nodq4JQUWH3Eau1+PAuv9Gw3Fa/Pl5/2aHI/GGOjYOWUOXH3a2YDYx47dQEQ3A
xxU+BGMol+1Y+26sFmAZ+Si2GeDKnZabuyCA8lDXTHNqYLRLVbGcw/yrnD/HuPP+9uweKUczkuhV
6WScY/ZbRmOLoEknj6FTG7nxDHxijDLY83G1N5hZD5pvx1dmwP0cMTtgD9C/GmEyMaWozX0lcK78
+UWbH5qp8zZeFSp3V50j372//Z8Pi9HRmIoQzKejEo7dw244hCQCL7rRb92aqMAd47PoZHu0Tuw+
uA2dwKJbyQcmO+rqHjFTzImnkHpC2PHw1IlLjZZ2T2pzyJntkDloFPIGW/MS3HPoWmoenyYTC2eD
T1G6elxFu37Q/hKBXtM/8msilJZQAMh7D7b1kDICAYe351oud2XXlShNZb0ZR4+8hUrV2ZFA0HEC
dpSWGhDVZXc3x1wWpCK+Gt0WmYz6RaGXRLcN/xaizvaT6/1+d3x397R1WJa2MHX2x8a7E5HZ1RBr
7CxbWlFocAchWUHVUri5QR1cw4ymYU8rAGh7D39HidtHRD8ROfBd9jC1k74Y/WLcOkoX3nod25KG
OpizSYx1rookTSDyF9Yjuctrkff5QddjpAJdFz3bVRWtVduZDl0HlMQptVyDX6YF69xn+Hw/xmDk
dNzey3RYwY690jwM3vf2clWKfIta8tv9tz7SHQJOvXKZyjlzo1K1LQEP+LfmxpEPleuzL9tv9kuO
pL8qHMsASqu/WyQiB50jM3EIBgTvoMl9bvMGZ4aOOOH+a5YXWzP022vp9Kzqim26CvjcnVWklmvR
it9mHbi2BM7+V2zKolLxZufAP5JdInvr7Jtxf/GnAx1jyARM4Onl5tc+HH28JJWbR4DSEPgPO38i
tyVSJRIf45MXqX08u7M5122mQ6YUtnh/pus8y8qK2EDfUYhpE8RJv7NC63U08zcujp/fDynGhzDv
hpUAFnTwLW/YexICDX7u6ZO99MdBmwUD2sHMwE4VW+D7huSg5GXI+sQZQEk27KbyRy0KwouYsMfX
AUKryKi2YhjVQ5CWb4VpnDpWhVelHY7e1L627XisrEFwV3bEyuxKIlt1geCBxiFjy5H8XALP6/5v
iEL2108WqvmC+PVbZmsWGwPeSNPi2PNuj2oRZIdncsRj38LsRpllrwHDP4xlDxg3SILzSHLyOSOx
+eeD6Vc92NOiXA5goXAmEG0agFSQF90wqi+80m5fIgqDacSvoWFiNpwcQJGHxhfA94npXltRJp8m
8LAFcLxHNSHlZvCU8mwp2lvlNeZDQ6DMonSq5OLcTKTIX9jJ52tL1zUcLFOzqhu+7oiaSWv1U7ws
zhMZBP05zLNxkyhfyqTLdz6U92Vs1BZ7q6JdFpndgBRVrFtMqq4fNoTTM27/ZNGyPm6zGaLJ+d3k
epC4QX+9SQ+mVRUDsjF0wSCHQXDMaFNlT/9DuQowFq4aSLGMMgGUvcIhxbJWH+5ZJTWk0I034slt
pcAJqpbBdoxAvc/NCGVqwqsxXRMFnLSidSFrkfVvLmaYWOkxNbsDmVj1z6hMZMNstRSSBnP20of/
exiNrCcG9NYyClgYadq/NRGTulLiSWn60H5uIs6iWHjeZAiliYy5b4xa6D8YXfJQ9mCmyd/A2I5o
KALJd4ApXi4TZEgbxXAAYnW+Qx/YPg3o9qNYNq5atYYb6zaW6yLI1hwj9ROkb1YFdm91yFRxLB8n
8LNE3gJz+GSlMH6zUjBI1i3EUwadvvcjFlvJPLQcLIf2bKocjQiHWqt3ZyMcOreTo35DewSJwG0t
XHOgYIq2Lw9KQciDwscFqkmbtt6I22SKgSM3PdFpUnN1MYDiJF8Wz7GjHvnvpqugKup1PurBTUIJ
MasputQ6SyHKZv+RoAcokqii61zCjJigooJJ/azX9bGHOPeQTP5nmyyQ73eIcUMYYoqvAcWxk9ws
u/4rSm35Vs76kSB25D4twtntGe+4zCBbIvXeV3Zb76WxGOoWjbXRBqTjtNL98ypjfbwtcRd3eHLc
laCmmu8OIPTt4RiRO7Us+2gTdDi96kYZHkwilA9KB2MP8t/D/Y98WUAVDS3yjZKanUXon5TC0sj2
ToyL6uuXARwCMSvhVbPFPwXSKtjHibWOGeAtNGbbi4qb174sJCTayDuVcaMtjElxLp2q5acBo/4y
mNLpG03VPYl1yYveK+q2IdBv4dnpN8J6h5sxP8jY+grtMyBio3+J1eA7mtTsYpIGQOQho6HEW5Hg
RSpSUaOlzOznihSHPfkHlRtYWr7N+q5CU2r7pzxsvEVSq5ukyOfzc9t+ZRIanqGM7YrIQsLmXxTN
/+TIT5vhw9ruaJY0Be8Eoh7r/dXPl7DnHg24px6rbosDivNYFYzKqYIn5Yf6yY6d7JhiBLAJIXHF
pIw7OeRg1UXYmwuVw6wurm3XA3QuS2M7TCtMYlDpss5aa0T5/TBK7RsL9sAuHnPIVPhoNO1Kh5HU
Fo99vHImMEOD2hrPmYXjKWgd9YfRk90N5H/ptCoNAwuRk8YEYGnNRoIUpNrGbkTqJjrugKIrtU1d
pljPh6F4qHn76AfibvLhiJC/sdUmj3FxPBHRmAkIUQ10+SNj9zk3pr/VyFzxP0icG6pXr4zW+V46
7OaiohK33mMmXBpH1Qfjt2i7+RsRQhSKA6AoU6iOnEaRPXld7p1ysoYQzv5lpbEF8to0HxwsikyO
J1jf4zY3W5XOKxHEjHHh1bToS07J7OcAHCgXZHvT2m0jZ5Mzp0X0ac6mGX0Z2pHARqvC84Ithcuw
Ct0azuOVMVC/TomZ2scwdFPUchBLebACFfSvyjxaqxtmVFjcX+w2ex0bTzth2A0ZXtbtJmUVX1r0
ES/kvaLRzHX+ZZW+N2Hps3g1EbDyKJltSshbAPXAcZziVZho2b6dYmiZtVquu2I0NwMWiI1ItfCs
Z+WWi805GvNDOEe0D4JLwUiycR9WZveUKVtLxVcwgMh8YkLyl2zpeYl227bsePr/fahV7fXPy8tv
NmCOzv/M+a6roup/t+tV40qP6s7iWJkaJ9LHYYU0iSSGZSA5tSYMy4za4QWx3RNZskCTRzQ8Sln+
k7PPugmCZlZTDWXLNLPn0Df2iDKKvwC4EMWLhdb0Xhodfvt86hKF+GTHcJ+//boBYx7CMJDmnOB8
LN8998gbZptAUS9TZrBrW+GiKapZJMNOYdVGLN0aW4k5qLh7iLphZNNeB9jaMgc9lIWThBtQS/7h
KiOQhZm/TDA8IrsP558Uv1dYebRkqxd6ciqzAZZ5J5E5DSMj7PThzx+E9putuSNpKbM15/j7cayG
6tbU6MbySQTheLKNUdt5AUNgvAXBcnDsbFdlorrRbFGhgcAhxBy761CsnNNR27dOLG9GV0bngbnh
kpiQiVlTHNjsVQhenVlBlfOtjZuHIOimM5rw6clKOF7ZFnHQ/JsvahQYB7JXjEMMA2rRIPLDwsOv
llf8DdYkO1hpabmBErabKcj/kViwr5V6rlSIi2WRYY4a/KM36uk1mipWeERRSGExBdia/hcH5vWk
KNabObz0bTZszbK214ZiRZAhuk2mRvU21GOS/PrabQQgHKaa6YU4SAPTm4QmihsPDlVPixV6U7kF
ctO6ul2jBEe4uKsDHQ8i2oMcOSgJUWF3zSbbgG3vK+wctXRllI72KFdq242P2vxz2WUNCpD8WKRT
wl0SGQgBnfGe6JPscSiBAxB3hZ5MSecAC+EST9J9yWZDEwOIQ4yO3HUqKEC5IjjL5j8CBtFnQrbG
Y4Jnf5mG2Qwodyp3IpZvRWtRP9D4u0540DfIiAaMEBqpSMY0fIMWv+h6E3HAGChkYPRMNJSgBRMo
o2dRA/X889X2Ua0q0SZwBpSqzpHXtt9/dcIyT0odOpTQq27XZ/ApBuNLCRN9lcSZX26wJ/ab0SmT
rSbjkfFNl7xqM+qq0TFP5gMd4BhEwiI3AUT3WZ9+i9E+qqiXvvuVeUgQHv6j2JB7ogL0FW4pFsVD
XfgjIcADsljW2RVggXZb5+GziYH9DXHXsGA0Z57J89ZvZlxcZXqGLzLtVUbHKEHmH4OymfYi8Sy4
LiotKjMiuaumKe/Qf92Agio2WWoRvG2VAytvol7qsp4I6fGcr4Y5OzMnE8Q9WSATF/3e7j1jn2Pj
yhYqaU2fbN6cD70s3maaCkztEJnMg9RfzzQB+LOoldyw8zZ/pl+crhXZ1a5J14smS9YftYYExDzv
Xlu16phUD9Px/hDkAZas4Nbp10G/1tX82FbXzr+q2oVyCKrSLv25FPvav0jt7GhnH9PltbZgRrCI
BRAJTDhq5YwP2DsbK/imBAr8JiA4rtlU1T8YDA9e6mDjCWKL9roirvztb13ZIp3Oin4VlUyx5rK0
ByN4FM1c+r2k+RinT1Q3PoXpk6/8W1P17HlPtXgequdSPGfJC5WL53R8oaLkpVLwNkAi+5IpLxRE
jYVSpV1PRBIMQwfSw80J8g1RVs7XNEXdiLHt1RJJsMaa0zy1n7Z9dPXDuVNyyEAwi1pW19FVvGuW
aaZOEyJG265ZCCT3pILjpYMo2aeHwdkbvEniwGMDmjo8epjLyJmqj7VyJJ3LPBA3WBWnepprcE5W
dqbHTgn77GXnLkNqeLFtjEQXasIo6lwK51Lm14pt9XQd7jVNV9ubqyhvnsfHAI/v1vCzdvOZS7gJ
78mTBccFqlv6VDep2Omxf1TwVkFetsqdX8jg4ucxGnhT2+T6TqEht1dn2N1e6faS1HkPViLX/FwB
4STO3ksOlJ0cYpTchESIg1USLn70vWOhzmUQTpGdtOwECmuEZIWhMjlTwHT15Nxa53rTGwcnvpTW
eewuMr4U1qXvLhmBk9YlTq5UmFyj/prLuYL+msprLK9NeqOs4ValNzHMRb5do7v6cEucmzrcrPwh
cm6N1ukHh7iOuDXosc4SVFYbwvFssPuxEnXEIpksSFL1NxBd4puuoMjw26rf4LAgr/TBzB6Me2nZ
A+VJyGUPtrxxlaH0w0wq5E3Et6SfS43/rcy8/qzEvDohKTNXeX8MmosRXpX6IgwSwS44HtPwEjfn
OLyEzZnyG07H51acmvbEY9Ge6nguDDkIqKz+KO6VwCRzDrQHqbg6hNUhCA8MibN+32f7pN87RANF
n8jCP6pk0EOhGtBo/nGUdN77E1IfdlgVCGSdepA/Bnlsu12j9u6AieNxHNvq7NUOLycxH5mgE0M2
a/6qvm0JnhAEw9NT0VBcHO5/dH8gAMg4CeMQjqZDCrxELg71ggS7broFjl2flbZdlxoi7WCEjZhA
jgEgko9fg7paWlpsf4kqBhh8M8P13Yg0/7lMQdGPjW1tOfSGP/++ysY6sOq9j/JyHQMuXghZdJf7
Q4ZN7xJ2wt80em0txvx1Yqd5rowyuWIAwwMTf7dEmXxph7ra1eknwoeP++d5yI5GzDJQMxvMad6t
8DWZv4i986U5mU9RHDkIhqa1mHFoYc/RVR3BwkxVif8pOwdZV3OGJ+dkJIVrSIdH3TKfbdOMb9jd
QpMDrhG3rihaE9YxXK8BQPEFXR6pxfkn9yZtXtd+2T3zzBGDa6hIGHh8OOLadILzNh2g/LRBu2mm
irtkpT8n2FdcIbBxxGlhXcloAZ7s+C8manQwHPQ2ZZc2NHo6An/nWG2p4+Nq4mpfzkkCf96n6B9v
oIyAaMsAeMBlYL8fBkVyGjlRADtqRhDCuYXBxfRtf9uqcHPg0sjz2NKFY4/s9moWgS7Jx2U8s6Vh
kygkFb6aZVpteq0V0GY68hb69Bg5qNP10XsDXHNp8umz+ctHmQ5vLY0zdINMEtBBv1MMMFvyp7oy
0mWkVh5eNPCBtkkuQm0kxO/B21wyeO13ZnPIamhuVjluzFKgA03leMxsZVsh4sdy0xKz3HNf/POb
+lHAwtNjYyKQUKOg/jAEmLBDEzAJty1oveIZ+DfRWn0V0TLwelfUBnJkjn4nzyLSEJPYWe+YLEa1
znjRHr+qYQvs0aOnlwuL8S6ojK1j2nQ7B/2TE97HJiTP1JlVF9y27yLMd9+ulNSroYLvGYzzElui
QHZqlHkyNiucaaJKFrac0nWlNTpyNAKk8FTh4e9gkU76vH4jU5iHT9qqKTp8bwGRrJUzypMm9HkM
Y4MQaTsUCkGqqW6KLOfspwRux6o5Qt9RFhyy7BdaOIyoNU97tERkrLqRMZeuhA5RGGa2lgFHlE8+
ot9c9waSf+SGDKwFp8JfX7iaFnRO0dEt6WN3hzaPbKIuGxqv6iINje8RYuE1tmT8PZ1rerxaOwGf
9ecnYf1mhTBY1NgBoSL6KHRKkHHZiZbOQI1greqE1kCo3zZmNaemFP4etictaY6Y9A3J9sMSukZJ
Ez2TBfE9IG74B6SJfU38yLFW4U72nHDpCEM91RvxV07myg1RX3mZGycLvkjqYfCRK41V2j+C1Ubh
3axYPwu3ELS9gno84mYuzo7fEqSY4m0f53ZJU7RkSkBJjhOcD0GJbwNe8862G/VqJIbzpJRFtDAQ
vuOSjrwnKRm81IaT7+7/VKhN5LbeImoyRFvSIz0RY/iWtTHa+uSJrLzBkJcpUI6+WpQvEruMlgbq
nDBDjy7UHtDGnHoV0uKopuUWIYnzYJXWiDyXxLo/fyAYPj6u2SazGpgQdD6keN+mhkbbtjScCtBn
iFEm3znZAv3f/adCtDfLYNs6V9IhD9yRMUgNzVxtspuaXedsB2fLtdOsdSLFm7l6Y+N4m9GYi70T
zFTyGji2YKcpSNvTUHHAXdBuIw1nst7ehuLws1T/YBh7814xIXfdHlUiFXo7Q5vL1HaE8owNNrft
rK7VtpTXbP12a3s0hwmF3wzGZjIIYdpY9UbUG0Ibc7khQXFCCsNBPtzidzWHbfg96wA+kqK0o5pg
55m7adhV4d42QZDurXIvyn037TkepvZcMdUeguQQkq7UHnr/mBgHCqHszyqno1HMlU/HdDpK6Czk
gkIlSU8UeJIIGt4nH+F9P/Durmuj0OTOy8I2zw9//WJndVQUIxRaFJv1cHGAv5xLbR+gOsMahqMq
YpRyo1OOeS23/6k7Yx234M4DL4yP+E7zfWQl5HT5TfgYeT9EUKYn+qnp6f6TkiTjwdclN3Iv3lt5
+Kbg3Xm0yAFbBbJRH6bRNFYlmSzbkh3FrTjiXswWyBe/4JUrr3kuy+tYO+U2COkIy6Qvr74vbuoI
yls4c2Ko3VoEt9Xfo6iYLk2oqFcEEMFCOoV4w8iWrIosQS2Ucp6awmmwV/Q+xKLhxYLaglAYi63M
mmcdbO0JH7Y8RbKRIGKEtU4rB44DAkR4e+a3yMJkqmMxWBmkkS/uyg0NW++CI3tzI5L8HwK1nWuU
VigW52Z1juUO62lmIjIHFl13erYVt0Ql7xrrZaZsiMqtl1YTS5iETg2iAd5CHerGGhMk3LIO725s
dPlVS5WXZrLS76FdfEftCz1M93hLPts6qh+GDHhMGXtzqzFtbA13EeR/lC4AtBSRphrRO2TwqRs/
Ir5uq7GIlFsEF3W4a0gQAgIU7uxxLm/cFXKHid2O9lith3o/1fvM29faHiB7mR26/lBnnFrxQq6S
6Dj1B5y+VEHCWXTs9KNdz1X6p0k/UkV5av25KgTr9+pKFrO5xnsZM2T+JL2Tfn90PCKTTmlxBrql
OAsN/ElxjpQTVRfnUEOPeO6Lc6GcqOpejXKiOo5uFsFCbs3fuVevnaiROL/ghHhTBCcrOBnV/JiI
o3d/ZMZBORpcmaqwbpKc7rdRRuqydOr8lhL8Rfj0GD0S8akvAPHp18ksvhQGHK9DRi+zOLb+0SmO
kh+mo4nI2DnypVfso3MvPT2p9xr6+Rvf9XM1Pee1uWrrNMRnvl9zOJB1Sq1TE5+jHmwlacKnLD6H
1sm3wKrMdUO6aJsn615KdJ7zLvul1p108zR1p+Feo3kyJLfsU5v8W4M8UmVyIoehkUck0joq6Xyu
ID+O3oHqvUOizeVVB7s6yJBAWmgIe4NDI2fFe6X5fgL6r+xi/MbGzmx3BB6FX9CpUPct6HZizcXl
124LCKHcrY2NMDbIlj67Rc0Hnl8XOEPVuM1JXA/s2d9L1Ad16sxIbznJWVJZYdve0dhUjxGxVPcK
4BoQ1IZRa/bgzUXCjJ/ONXibySMWYJMbm6CfC5O1gs863MSQ1NS5rGZdZeuxXBsk364sYy2MNSSu
n1UnIIfIfIZPtiGFXVqbMtyayHaKLVHEGXBHE/3WNgwQZc4VFP8WEjoKHXlj7qxgjw8vE5Gz7icF
iKxewqbItB1VaDuI13GzC5ud72wDInp5Oahywb4020LbjtxRk23vbajR2yTc2YyNzwvJ5/KCDUg4
qlbXZrMm4wQKXkgw9JoyeSG8LGONbe5ntfWGmrgX8oomjZmE3TtPMKgD+9MzCxu633xw7DVNwWlL
opJ8p78oNasTCgF0xMDQgV6OsErI0gYL6q8gPFBGufLRdGqrsGeYuSJ2wGcp9eFnum3q9oCla3dM
XfqblCbcoXYNMZd5L8nGTLix4qb3yonmBWR2L1KvWtYGxZUQtRX4TC7JeFRluo3JNtztzLkGfm3I
H6Bx4faMNxBPA4bmtJq5ATI+sHMk3ZJobKwo9unUUP9bXbiioLg5Yqk7y1JlhgMEeqnBjrqXD9Hd
n4t5kFKs7HjVqHNV9yoUUgFXXuxmZNDGWNzmmkq3p4HCMZ0Eit4lz4YmFjXaLlDagj+EKmy79b00
5h8hAhJ31j/YLkUHhgrv5dsuHnvKuBdp4agHG4hTLvxSkhEpPXI7RDCRO0auQ9Kss8qRPI2rVKyg
sBgj0p5Vkq9CcvuiVeSxZSCHd5lC2plTXZaA6pMRe/ASm7W3tQmRIMiQz9VfTclKlCsw4Sh2I1jv
2gqAEZBZHS6cXAnfJZmFmu7FdGas3ewlRnde0ydwibFl7maMLgemhE9w5C1yfZMsnbnwuM82dz4y
Pm5zrvJe2eTWJthytzXdupmrmcgMdaGwavcambbh7A3dxl6FoQuWxzfm0kgXHFZ9zchq1WSrLsNU
sUIUAmXWFigTl5U6P876r3F+zCQ6CBKNVw7b9Zho0VXUzVWrq5JQNXOuXOEfcVmuZOxSIx9oPz/2
lO5WvdveHwc+R51nAuGRZzVXdS/aVyEfOk0s2wWyREX8TVBahK2Ha0tzheY60tU6V4J561xVYweF
i9Xti7nae02RazsrkJJIoDOxSsRKjCuSzZtmVREAzf6Nz5VP18NlttR2dD8wE7fq0uk+6Q7cJYDv
FnDhIP2xTLzVdLT0X3eoxVgkKfhcVGqejotXqMEj3vDg0asMt+v7dEvGQYDgzFZdjCdsT2rNeFXk
zUeG4XnsvhJjujEczDe2mux6pHObuPPZpkISQ5oeXP7vIcEPsZTy1ZGvcfuatvxrXif/tWxfNf/V
uBcZYOBP7wTUL0ryxRIv7fTFqF5sMZcnXiQ/e89UMD47+yS4ReNznTwn4zMQWymeqLpmcPAU+E+R
/2RPj5gAzexR3suWD0E/V9Q/GOJWxw+muOUG6TiAjos8JXM5tOzHeFSIysi9vyMrzJ7JPdxW6Peu
SFSQRrVNtEzwMT/8+Vb6m44twivG6A7mV0Hv610XSe1qwJre3PHK5EUUWLnuD2NC3kyeIPXJewTO
w6i/qIVFomZjaoeyjN4qhwWakBdj1bNDUjXQkjWpTSTLxNHrCPhlZZNQtktCdCrQzCvd0NamB+M8
yuf0wDxVb20ysRVz4kNqDurt/kc1vy4kzElSXQOHYYJNromCokvaof04DoO5aDgFJ170QsK6eSA0
7L8PobbK5jD3qdQWnd6zDyXhFqOEv68axX6yW3JTk65iDYGatgIruzXrIn2uUHd/coHLj20NZia4
eRnBoxpgLPfrBT5Yuher1cQFXtrc52aRZi7rcUfgJzU4u1TbTQ77k7nYt/wsH+qvg9dpLrYuFPsW
L5kf2bdQwl61ZzYvSvfvzgUVYCjX7FwoQS7OfefC5iWK5/0L+5Zg+Hff0nlr9i3NvX7uW9i65ByA
w207bI1i3rRQibmNqGL3P4yd15LUWra1X+XEvlcfefPH6b5IIyldGcrCjQIKkNeSWbJP/39K2H02
0LE5ERNFGaAys5TSWnOO8Y34unSJ4u+LltX/BoE1rWYf1iC0Jic5Xw9CQQAb7ZseeZ07K7c9ILDL
35+lzq8tCYNe4ioSxCDlYZP58dXMidaWoCFrMrFAkBS0VM8d0t3z7N4NKAJB3dXza9ouCHedIYgJ
Y4Hc7C6n66FvC8YgWT5uG/hsYeumIz4hdGZdoZsfpa5ta6CfO3MRfeAw4mHoiZmR98PnpFixWP/+
0vXrbdtGWwE4eX/9BkGFXyd9JkwkS/3Oq2Du9+R7uARWnyp+bXiTZ5T6rx5A5m2ZTc9enL2Jzsr2
SzZHD/2ok6CRLkwbrNE9xlBeGEHbd4OOBCbP1OpJrxTz1A9rHm9bVU8qUtCL+2Z39MdE4+UfyCz+
GPVz+TbJ6DzQh39qURZciRt1haZL8RYn9FIdma/Un7ROb+69rmq/WmqjbnIThUBuwSpHYNfta1nW
j3//q4Oe9OuSD8kJmluV3yBb0J9+dypNRoUw+3o7anpNO9qkUebo4hZTRC/2CyMAb9fYrP32LOVb
ku2vVU5kqe4xKVMtY/lL2uAe9JfRn5BeGWsNo+95vptjCAoczyfRy8xR6AZGG7jzWoUdZNcak7C/
lmKxQg4pBk3Ea49jaInQuFY3hogCMVQuIhRjOIlwIH97XI/pGEoRxmNoxmGNcFBgugwLwVslACwz
XiuxAn0KtHqGYQnNCU46OveuuLV4eG1gADRtA28O9DYo7cCag9wO0msNSSiv1SahK9aqk3AYQ1wg
cqQfgCdPFyGG4noMZ7EWjZUCf7FYK+Ov8CTiUBlCIw69IdTiEOzXhPgtDod4/SC2Aioy11qQAjYB
FBoLaPxO4GLPgiILwN1TuUug81ozQUaVP/b+mPh9wl7iN2OhXxEhtBVt7v2q7Tma7v1M2ioKp6iG
RgfULJFhq2VOiEBWygeN+VUFlTYkHcB9sJ1MQXizpA/MGEiSGNMytJCWHrMG+U2uE13T0r/9ACHw
1NmATBJJ6tnsLNptEr/3yBQCCznf1PMgz7R34kuycDuqhZe8quPILyghlLKRmtxGGpi7QYX4APXS
vnWRXh+bTtIX84b8KXaLt/XPQCdtyxTJuUVsTNxTxY65Vz1QsYN51K2a6FwaS3WpdifV/qitwOtC
usRkxFwIlmQmNmaOjfexpXzGbCA/MSm9G0vlLcms5Z3I+bdmX+d3gFeV3/l0f231w1HwuB0xn0WS
c52B/KUL5BCPUri9ysuZ20PYW3NylOisQAGmDxb0WTWZ/ab1lhcRpzVdHsAORCkPSMPTnPwipEWN
YRshKqH5WSQdDF4LQtZgRazkk+Fi5QrpctKIftO++tWiCzrXMHFqsd+Hcn/Vs/3lcSf8MmscIgjU
TAe03hyb26lk2qkYTXMEEwjbZcoOWWoP75ByeYEmnugHmvekQCq/4dr8avBDtu0h3tYxE3Fb/xnA
peXTYuZjrsA4xI9RJLW42HX6hh7A9a3CqAjJhlKberIJs4IkUwDgZZDO+DEKANTrTDoz1izvPidw
xVk2EFt1mGidfchsK2XrtXjvZWHeu61X/8YCw3Lul6swhDmuwqoJHFf/pSUs46roqsmIt+MSqc02
hq+JcFSZd67aaPg0e+CbYpVCjKZOy4dDb7DvTGzilq/fEBbKvbQEJ0G0oK8Njn1cBqMBpyW8XVaV
FeTWmAbDamcz1gOCsu62T5fP5JhYftM58mSMNMuvH/Xa+CrGTga2JPNJ2NkLEtn50AsCx+saYSrs
xlMjhugkzQEASJSNvk3uNK3+wgPtSr9uc/2wUsvuqDo+kunSfRDCm0QQ14q6Z4ZhkYFUW2cCiytG
ozm9kA7E8/Vr85zVO+xCyW5ZMcSTsHFZMAvbu0mr3WRuBJh1tkk7SozkrgG5vY3bgSQO1NV316/1
uvBusecq3Z9fyOgZIEFwCMRwJTmy7HUjlyutxvPc9bTrIcNysOt8w5KWVJdl2meZU9+rJYnMqkqA
YiY67mx9d9Pi6D4lhtbcwS0n+m4iyLzwFF9KrQ/NSMhHzSANcBAu7hrrS1rRSykWkO9tmk/h6KnO
BgensavmgRaWpQ3wP2HoG8aK4JVBbEhB9gP8eKcg4ZSL2HFCrGPFi/lQRgb78YwxV2Ej4s8Vov5W
aiRpdyTl9boOW9NjbWJ32as9js5u0mki90z1wYZym8wd9bFz2/iuMhT92fQ+mpZdPpXwqOM0MsLc
7JLjCPLqeP2ITvz3j+qy8bj6Ds03T4xTAnVoZO0e6noZ91WHRVDqcjjBX+hPPeCXUwmUnGyYxQuI
EtnA/cs+FHhJ/MGT82HJWV1BgHvBbXcpkwxPbTQYTBK7CMyQOedHUkJUaMvQjwljbj+pHoPPbnZv
5jRDpFNW8sZlQXL9rJnLZec2YKXsQpEM6TQT74klNRSN5rBJWoTcClwSGc+PjoqSAn/ZnfRwstr2
QiCQ3Qmm2myfBNvPwRDjEUzfeGTH+/0jvZ/GY+VxErN35YbLs70fZL3cu732ppideURaPd9/+3rR
YY4X3vn62fXrM/0mN5XEmJgLOiz2u9Ir5rsUO8xR07mPzzZGCO5s957jgDzXGLrHRhMd83ggqnFR
FxIMCgi9m3T9anr9akJQT6Gh2Lo6uh1SEYIZ3StTGEgr3w7dsPiVEoMwE1aHMIshHHY1VLWGEoEq
omGscmljLjoRBV0PzhRAybtthrK7eCrbIDGqoSdHno/+skQmL5ytyxUT7hyb5nD9pFe/Aq+wDurc
m1oYm+vyf9SIHi/m982clE9KFfvcyN3XFltcU6fjoVSYWbOjzOLGO2GKyobN9UsL4IDz9dCnH5rR
hdDcmEOyu1LExxUu3zEDrNYkr5GgGq+vvx/c9VPXI+Gmyc0x6KelOclGfO5X4ipnZrXvCKXc26s7
Z2xd4mjK5vZK/WauowdD2phIS8jajhWo1Tby6420aw0tDlB1NzHig0RgsGEOVd+pREanRTvcsJL+
4gAPfNcYxIsDuezOOZlgRwgHDwwpOsBeDmbYCmRX1ikAeQ02xmViV4HHDwwXndw1kzS3i1dlKY05
bT3PVWPeIM2KGVxpdCmNGMtj0y+nnKCx40L6HzCSGf1hxiRj/eh6QGLNqnY2FjplzourpFVIkKh1
cZXWupiVbhwrMTy5mlxOiuVgtGUTt8VntJycawCluwgyxG39uS7Ll8ZGfJ5IPad9GrEFq03kpFNy
MkTXHlU5iK0J4GYHQ44QUhnR85IuySmkQ7B2ESooqFStcKAYDdKsptn3siBFvcfSVVsxpg5gcxIg
PnpvGEZ0K5ydmOajURLWFhHDczPUg7hRzDy+cRg4a1tCzvtFqfcJXSc/8jqkpuNQHzKHeSjuGSdM
gEluBlPzCF1tvx96cr42yDUA3FvLdnLjdr1TJDIUZflmru+FjCD6jRR1FZII3N3GVkmuNCsLJigJ
+o44++RM5hd8HOb7wbR7Uhrm5LlJD1HNb2N2nZmhWrF8Oyhl1Cpbq3S3Du+BQxzXGbGy9Zr+nMPD
W0R7glQZLVZxgy68t3amUXFSbK1Nlk8fvTRJiKjskruYBrqXKtaxtsboHYKMs9aB1dWUwfIhLU03
0wqin+dl2rk9mcvuoh4ip4Gz7k7jVsnNygcz1exmR8z0cCPjkmflQSv7mebm8MVT2IyZdQY+d1VY
IB55pxkxc8fMjI4ixowEdGc/Zfh78p4gNM2M0weY7wyTVrdDlXTRA7KbT2qeOZ+suAIaHBNdPHjk
+q2pJqY7uGcd8ueumYhbmxL1Qy098blrTdLbneS1iIZ+H9k4JQvL2OooPPgFE3xRlgqmoH8fajLo
TlltqTTqM3tvxcbbYpv1gzmZxkEzSOEShIoEOFrdU58qDie1/m7SkMOK1EFhi7MnZL0Zb/Ium8Pf
7JZ/ndYSQKo6YBh09su/aC9IobJd2ZPKlCDVuklaPeQlVXcq7Ek3FQxG+pMBuW/LvyU51cM+AJSn
Is4VkIE2X5os+0Aoar9tBu9BdPoHFT/4b9bBV/XAj71bj4UwnDzbMOjJ/CyXWwCnRA7ysy2rZBr8
SnFjWxUnW4Qwm73b02RmyWmExRXanPXDSdeJgURE41lTdwsEbz/TLtgaA3v5BQPuPqGXu8sLkvNS
0oMAOSblrtbexVNAZIoKi55Ff1kK4o/SyeSdkn2GgQZbwRg3wCTTvSrNz64XgWkd1j5+kzHG0HWE
3iPcj8I+J7mGIcfDu904CY36et6i/F7CBQcETYZUBHBtssC18XjNnR5gNJj3Wh3oKQMwJ6leE69g
dmxxBgLdhpu1t7vmSYumt6Ke1RCpgHE0I5jm41xBsR2BHGBUe/j7M0P/dQHPI7S54Bo2ojrW8D+2
wIS2SJe7Rsm+DApc5BQfoNqmOAPjXcWIwDJaVPxG89IPVc2FYelueM95QWJUTImKIn4tJ0/b+PvW
ztBHw609JHbiBCowyLvSm580E5OsFWtk1eMvS276oklu6qJxfiNOsX+Z3bo0gjBf42a3aZGaP40A
taqA75471baeNPOR9M3F+Jp6VvmQGcRWOVWaX+pUuevFG8vO/Hw96BrbaOLEtdAe3eGukV/zqcKF
1FmXadLIT8ITGtGqb2erOHijvnPWvCQwP1jf8Cs4IlV3hSGJSlpANoN0vTqIYl17T4ya+kifme0E
VuNPc3+XuFxGtIJMpAW6/ENWkuhC5w9lRCG/4gQZ/W6otX09J/pN2RG/Y6jf2BJG47KgHrm7l06a
PkI6DYSYH7oyP0tlEMdET6dngr/3uF6cp3LM3yuWcpd28fB49eQN0VeyLrvf9Fo0zfp56+eqmA4c
xwRqic75l1mLG5uxQhTiVmv3cK8dYy3vWiksbubC7Vpl68+mPyi+avqT4s9lsCi+QRCpJBNxLYeN
Qx6WkPpRNOwXN8jzEGZSmYd4eSkdiWYb0m0ksDvpsPSEhhO6C9rr0M4OjhPGrPacMMoOihNSiRum
+SFzQ27o065wWVWElRvWxDmrdGnDXg1ZH/IOo5wOwmrodSFeIaULHS/oi9DzAuVauh4kUTAMa+F7
6q81JAHlLb5u+6ilqU76QKzm2JcMcgG/7YdmJi90Uj1IqPIpifPyvHT1TgxBc61KBBS87Ib/y/a7
69GGlrr4dd5PmyS1iJZ1ze7zHDpExv3mLW/9cjdAmQmxwuaWQOdbM3+iYgkjnpV49oBONhdTvRhg
DtW1nOaCOMZrLpG6ymJAhsXaBWVMfq162HSdXwIra8k9v9TtpUEEUxwRtSUX2V6G9jKjh0kuU7sK
YxSY6MklMc99f84Qe+L57c8zHxdrFYAkWYwQATWfYI7N9fdSa6A9J6SAVDasUkBqLo/f1IAsU2zm
G1dB4Mh8rjggBNRISV8FgV25Vl+GCAKVaFUDyhGCV1A7hN4GlcOFN1TTsGhCdwrtKVystcbkMNWM
JA/6dFCv5TVHxzo4HJuj1RxrF3csStBjjhrvWll/ohhcFOgLzoo8DfFZxme7XquNzxAB6+VcXct1
z/CG7HWZsdZUXnT3PKDLKS+yvLTlpUGUU17EeKnKSz7uU5Jgxks6XoqSdIlLgpaPYMnh4g4Xpbh4
rI6BBfNmSM1zx3LkLIrx0TXOWoJj49z259hcj5IUej4u1tIcHvbZcE7jfLJ4pecT7ixEo8OfSkhk
kBR6SMSQyCAJL0YPGUcHlJDfxJAj2y+y0/4UQy5/KiH/Kob8txKyGwOj+C6GRAlZwqO6KiFzOqvN
v5WQ38SQKCE1ovDq72JI+z+JIdvliGcZJSSlkEhirHpIlJCoo7KrHhJpVBP/IIZcUE25Z+ta6QLi
7aK5Z6rnZZ8D9VPHq85LDmGpvJrH9QQ359+/x66Uoh8WM7zFHDqLHn1GBK8/g+fAnJcSJly9bcok
J0rI0R+q0ks2yVQ7JyJcshvU182+y5Oaa89EwqKOablfQ96BX5m3SMENAiJrgowMennkp02wnqbi
tvIQEkA6iX06pBZnnCj8zrK92zkhD0uKuMXuwhU59si3xvVsnhxlQlBBxuXFo+Ne5xFCuCUefFUB
CqQOQuzsUkmeF8eDSIgX9DfrOiZqv9woSBVY+WWEgmPgcdfv/6XZikCxbTLZEXQy7L7VzFzG3lXx
fmGL8hqzf2j30bRX2n2HlX5G07yWk/vetWgij7DMZ/YBfmT6jAodxadtRUUwAYgGrOjVBGkVVH0A
W4yataBlAqAF+rUyL5j6oMBKqAWVF7jcbK7VeoHVBzGbaS8AZZXrQakH7HVX/fzerfC7BAAOqFgE
SRKwpsuSAPt1kQSN7S9c+yEiLH4q10LLr12riX12ALG6L7AcMw9Q9wJv77Ui5sMuNMS1SuIJu7XY
M1BkblsKXTB2TusR0DZFrCslvD1sathTQ+ZLiqYl6bO1X2f+I8gA0ucMNkm6r3n+nAPtCsY86PNg
aoPhWrKlQxK0bTDOa/Vz0F2PeDc0K8jaYLGCcg4mK8jn9YP0z4pnzB0EtwVGs5bWBHMWLE0AzoMC
VDy4PiVdwtb8WfNHpvG9L4Rv9L6RrAU/q3H2VKbtE6reR/1eEWtlLyTESg8h3FotWcRyR6A2xIau
2WnDjrE7tdhrQRynonafAf4j9nfeE5lGDdF+upZsIUj6oDem1vdMnzQQxfQTay28NHHM9DZIqiCN
g4yT5VpNH1RVADihv1ZbBfgPR9bmWjD3gacFUxUoWrBwGuiB2QfkhrrXmnWGphunCijvWgoZ3fwI
zpBrVTbyO7+2ScLzkZ3fZLE/skIo/Uz69JVqaJf2PrX3OWdJv1Z6LYxAjrvjqDCORwLGdngmenit
adiZ6loF8eL2roU4eS3yvdJ2nxp7ZdyTNFF4+z7zqS5jeL1WM/qKTual7+m+7vmO7queP3GSeP7A
ecIp0QY95wZnCxlrXB4CIPmkD3GlFG1gWkE7f696DihQS6MVFJw+nDjzWsm1FLZVTeBNgU6meBOo
TAOzYG6CgXMkw2Ie9C4BHD5XWhdjnevbPUYzvxKQGEk9WUtNfPiYlNLvkVvE9d5j381pkq1FzAry
b0rp1qJV8Jsr9i8SQgTtGOFMh4uUwRbiJ2VFNpeT0s64+EDCHh0gI+c6iclZVyfCEuydLZv8fP1y
ynj820dISadug9/l3aKLfut2rOitMX5uuia6DDr5kQWpsq/makKXdsoowVLMbaI4iEvcqj1M/Kpn
w4EwWszvstY8LVOc3FxTraykj+lu7CpYTMcuTmgud9LdWLby3s31/q73surBKFaa+/K70fqvABlX
c1Z4NoM9JjusEn+8YHttFBeZ4pDjrScpAHmNW6wRjYFt2U/p+tn1SzqsSyhTVG4ek+Q0DEdhHt1y
LeJrU/0wrNHAB0ce7GItxwurPoz1kEFMDqPPWssheTg5OEzw60NtH3yDlVhK2vxa7nK0l+PiHmk/
j8WJ6ovT0J9UYy0vPjfN2YnPolmr985lc+68tYrqkk6XrLp0kJRrP54u0XhR7LXy4ia9Vkxba7iJ
8hs3bxPCzR0F9tikg4SlubODdafUpyg+xclahXnsh+M4HJ3y6JVsuQ49nmT4pOnOKA6uPLA/tD3i
MtYSsE+atejjuNZaNk8vOSjTWsI+aOmxtA8lE4prTcWJ0O2BJ+gex/6ksbjpab2tVeMdbmjtns3l
rDbHDFjPuawA+ZypZLpQaXVR1pza3+wS/oPAwoVjBjmJOzYTq1+w2NpcjVFdkD5PjwsV4qDkLFJK
8zaJRmU3iNp4mDpFYG6FrsAS6NlGN7246XIXgeR8J4gQMWKCzQu97gI6hxIEJVzOEdL+fsJZetvH
+rGynO6R/qV87BQuXUYnb+yl4oqVIijGShoKZxEvblP4WW9+kW36LGwvfoTN2JI9svaKIknbJP0i
ymH4VKFXnG3IHRMWqRXOQG83brRPedEdLJOLmhz15q4GwrddhlbBx9OUm1SZql1ume0jb1Obdff4
LBz5RIAE4zWdHjGtT3yOSWMDZzPkzWJV9TatFuujG4mbxHgGneGtiZ79sSnie90dncDR2RP2lWHd
zaUy7lotfcmr1rngoUR63eLwrRX0Fo44zdAbMDeM6nOb6EfQ3zb5gCVQpllg7KsT+4Ou4BaKZ+N2
Vgft1CfqdHc9ZA1BhTWdrr1rRgRa5KAH+7Y6JfOsPnSN9sLrMx7noWTgmVpo6TvtjHriYbJnFWpE
BzbWds2NxqULOV27Smn78miMgCziPm0f2q/DDPzXBQN0dz0ocxwdjW02Nsu2j8zlRIPMfKntEytg
81XIqD7O1uQi7IzTD4x0XtS6LG5kMt2C5Ky5pI7qXqclQgo8FAl1aO9dWo73cUQHLcobgCRJ1Cdb
7pI6mU/6KKqbMrIFDg6sjLUp7Ff6V180xajeJjEfCe2JwTRbF8/FVfH3N4P/sEOm9bIyXFXwcTr2
wR+vgNIZFLu0OmIT4lm/TyU6mWjBWO4C8HytVO1tWeB61UpmYTRS1IeMxWMBBnlPuIWCP8ILUjeJ
AZbdU1qJKpMQ9IFGyul/D3L9FJM0U3uc74ERpQ+F0JwPWo4pWCikWMux9+4Zh3wZa/cSW09e8RzN
z07xnMUvybUa+WLYAKvX6kais4NSvObiVc3ez9l7Q3sdpvfyWu30nrtZwUVy7MSNM4j2obO8u79/
3YCc/7LWZ5mP5BPPM0BEqNs/vnBjQ1yuNWO7HFTltrWTwZ/VxQ4GSxvfu7BbycSGr5wPGozRqQDQ
4NAD1YZjn921tQuPpyVCXDPFHpIyVDKpwQuagbgnafLJcLv4rs5ifRsjMrvteocUxwrGc6vCULQs
52zrxvTeGg0b6o6+qRtej8RBK054pHwXO8oHD3QMKw52rpleSsJVrS8RLtntYsM2VQhPyrXuxrQl
tymjZl0pWiO0olJ715bRwyIz46XX57BUKvVNcz+5qgOm2F1mMq45SNHM57KwHbLV9fKQaeR1zXn6
hJ44efLie5mWBTsscrz1PNvaU1vdej1i6IqA1e1g92AqLHu8qOlUnpmyb029/EK05/TYlWkTWDm3
RuZFIjRdJb7TeB9uoCyiCzOxaIOXPRl9vbwJU3wYJMRJ2vqSVV5Cp63vuqBdvcW7ZKi3vYJedZsV
FfFu8OD7ev5gp6PAvEAjbULVjZD2uga5HmxNzzb5iEbyd6fKz2cKGAfMY3htmEuQPrm2F/+yK+Q/
7+vRa/utaU9NOEfKszmMX5MFCCah9v0FRYQgYi/IPXvc1j3CjL9/AL/SDxiJsNbjIXCycq/7aVsa
kzPZaWAetkYa4U2IraN0GoyDsosAcWA5qCya+VnNsrThyuU64y7t2SNDRGp2ox7vBsK00Zi4e7d/
X0p8jgVqE5Nl9hi/wcUs4WLO9bt+KcO/f+S/tO940FySHJZnKK6cn1VuCYrMQcP5v2WRilTNBiKU
ltGmd1WLLbbxGbXCfFF6jNXXn/vfb9P/i7+Iu2/ti+5f/8Pnb6Ke2zRO5E+f/utRYEYs/2f9N//+
Oz/+i39d0rdWdOKr/Nu/FXwRNx/LL93Pf+mH/5mf/v3R7T7Kjz98sq9kKuf7/guEyC9dX8jro+B5
rH/z//rN//py/V8e5/rLP/94A4Et1/8tBhj7x/dvHT7/8w9Gln/5Ba3///dvrk/gn39cRPH545B+
/OWffPnYyX/+Yaj/YKJF1hGktxWNtkrlxy/rd3T7HzYBF1AWHN1d6Zj8mEq0MvnnH6b7D9Rpmu1Z
aOuIkFjhS53or9+y/kGgjb7q12jdcpnV/vjzqf/wK/zfX+l/kW5+JyB2dTwXHstPOx/VWkNZdBXX
FD9Ixaz+4ztxGSf6TI3JUnYc41OeGQp58LhuKgVYq2rV066CoErOR8t9m1D1DSgT9Dl1kvuyQYRk
SA/XVZ9oO6dtxk3FZcXXIdNumHTJI0Bxv4uyaMMzojvijO88Yij3yajWG0PpMU3GERbtjvGrBVh1
5o006c5dSzSpdGhEqFW7y2oEB4iduY4cuSHvbJCLu8gsHebsG53gwp1rQbzrBlbYUdccVcuBccCO
vI3xwAnHfVEe1lH0xsoda0sYTLlvBswJEynbhk5cTgHyeMvvif2KMoVT3hwkIen2sPQ3kUtMkVUp
vhKNx0irPotCm0g7qMOK+V3u2DmPfHxfN0tIOO4O0tGjLb17W5PP6VBs0JQvocgiWOIRcW3zK6/n
sJVKi0WtSZ+yig5SXzwocsAZUXjxXjFd9ki1P0xrOpAeJ+ikooQbE0ollbz7jdmad0Uf38KPM3aG
3UGhytgxM10QWfXaJeK9m9UMixQivR3kGPpCNwnmyOtQt7QfAHq1hHAeYbr5SaQue2tqZtyeJkHh
LMgdMpn28UJKhRkP1QYJv+a2z2XmAqbW483ikW1T6WO7Uwb1sa+Zm9QO+byobndOGambqWo/E9P3
MCnVV1DQcOjE/Klx5Ud0YZ/npOj3Pdu9SNX8NsJ2Masu6XjdgG6jcbDKsodkTAqQJq42rZgrdBmo
sWFDRerUbmOJ2ClDsL7rx53q1lug5cUWuRpX5anMd2qJ7gQvIjyymlcsBdxTot9GSEbcK9kkFet7
A2NQ2XUSvM1Q0vGjAZ0txiEBaA8mw8z2Uw56R8QIuNoIn1eXET4zOmj9oKTp4Yw0D8LAgtCj1uKN
54ZSlsShCNQ0ruvc2Q15BJLYdPI6l2PhuPShaKRYulJsFJ7WVrK/AcD+giDiU2XRb5Ba5ZJFP+H8
U3gjmXo944KzIJ0luPVaixxWaZnTFu1IWBaqfGrp8qenuqyWA6rbYdNn8mVcpjcSG5XbslySDREQ
0W4C2XxSl6J9Z0b9BzO7IQIh+5hnEpj2mHJ+0HmUFb2sRK8cP53soPX69rWU5euCr7vBKUuIH9m/
1lS+sP55WdrW26kzCaZkiB7L+yYe1KOZMCGHxLm8Q5Afxq6ibk0G1odyUDNaGfq9gNPkROU7bRyf
AX9tsoFuFXwTLDPSEcR9qhldcbyatmCOUQ/nthFfEZc9WJbMd0tqY9Jkc7PJYVBBcu/80XaPhoVo
P02to2LBlgQ0m24W54C+NL1xZY05xXpMshaabBRAi+rR4uQt2RC4DKuKS5TrMFWqC6//dmC5NG+c
GUNNZLYuIlov1CvxJKvkuRdbgDvMOGfja18S3BKnX4ooL+kJWwDLcC7WJAHsXSJKVu5KtAEEwGsb
FR9oxR/HNrE3ZKA79G7DXnMM38lz2gxjEHHOb9qpJZpywvpoG7dLbT94sIDYb8bVqnzd2wvW8LJS
1u4nTGJSJVjG3Aov/qhY9EjVCZyb4MUr1I89jJdFMet98xnWjb4ZBZjiGJk7ulkA6V2MIsp6jvr2
k2PPz31K+NMMicRx8TAx4D2Y4Nkirh6G1D7py9YQKjIjHXhTnRS3jKRpWVr1Vli0JzU0eCW3Jtja
zPSjLNeIikkwkRnqpi6icUNkzICOiB6ZOzDZyVKuCb2y62kOeV5/O3YWd9NoyzrP0pBV1WlysqYB
fZVVPjLL/gAyYSuF/DoaxPQlTn5o2x2mLHtDWhWaLGM5FbW86HF8n4K34YaEJNquNwWj9a3G4+8N
29wY2duSIS8vqwSFaIWQkUDCrzoK9I0phzOUBnOj7KZCheOZKqcYlG5Q9t5710Az5OT0CpAjYxcd
EZiakAsBl0BONfJmDyScNWsctQhPQXYAXR1X8cNrh6w3WliKG6WJGk7kcjOlb9KTyaMinjwExIco
Xpe7bnZbjDSbsoX+xTC0u9RYrE2ksJDUZfl1SvVHBK22N8XvXJMphRF9InAE0ygMBCIWsKqVxQly
Sroz68YMO6cICeO6V/QV9tAXbPDIOwI7U+5GJ1qOsStfxJAo+7zSLb+rned6KLttJ5Hpmo24p5UC
RQN0+MZU3EMjxF3/JR5rvMTFuPZiDW1rDSTT2ilL4lmX75WB/skAVLdZrDenbpudEN0H2gqE6aCJ
XD1Vu7qZHmuCNkQ5thsCMGsEI8brrFn3fadjBh3re9m3T7bHRXldLUTytgG+oqREeUCFyTYDVwna
H+pBGnzfHHkLEqS0k4n3UqzsF3k38oR5bw5nc1bfmrwNbZ48fI483SmW8Huv/RT3yYl9kQMleGsa
H+0YAmNeqi8d8rhaEqkzwLspIROVnif3n0lnVw7pYH1yWzMwMoWc+IS9BzozHK8z993kzpJ6elt6
D1z6y9sJqhe5cptqFBA5oO7sIMmi1DGgxlVF32xGVyH4LcFgCAQkSZz7RF9uLSN68arOCaf6cW41
trDrT+o9O9vM2AACTyKGhbCqkgHn1LvKNaLtQNuY6LbybMAU5wQbH8tstI6kiftpc2f0XbImYezy
2Bj2yQJZQlnu/j9J57EcKbpE4SciAm+2QFHeG0m9IWTx3vP092Puaqa71WoV/Cbz5DFCj72F2t+j
+aTVEVZRg79UNBP0AinwVzJnrzKoThSS6RsUwyLe9R2dwn7bTNgthPW1bZcbNgjfyLn4ai24idKo
OuA1LoAI+dxcPVmIeUCgIGdKw8jW5fka6KiEE4yZVrGsjXapZBa3uowOrT5JE8wuC9u1oWkq6jbp
IdTSQ216hjutwUctvbEVv6RI+EHieCB75iLrEPwwyiFEAtHzxBuP6jNt4a3AlsTNW7qgWVwnVa5B
9SJUNMB5FbILGvJ2A3N0IxPx7sh9J0MXEfZxvwg9RrHZ5P7oEKS9qtQ4tcNApAuEvbzSarVl23AK
K3rOhZ65Mllys/HEUdmwezP8s+pi9ma96DxJDz6Q6LiZGP/OBsWlaQoxZ3t3C6aYuidiRjEXM7mN
qqRis11UFzPCEZLgHxLIkPUVgeJNJkYDYi3jMqR55CGyWvGOsoUhfpy1ZmT+IKmHKKt9hsFnLj3y
5f1osI1gUol2ClI7keOfBOUkVudTtMPeCjVQi2thLQwYQcFEJaB84qf6yCOLn64snoTuIYbVl9qK
2CgYRKU7xcJPkY/21BjPbjK9uC5YZdWX1b4CmTwNJU58W4EY7C6C/SrH6kctnsloobQajD8Cg3Hn
gWAO3yjC09IztTxwSLcsHAI6ehYB2UT5uXuSIfhoiGtpkrcxpeDRRuzi8wjZpPxRsElAJYbfOd+F
emvYyAcIirWiH/zYww25dS2FLhukipPEDuLpnSwY0tqL73FUUShIBFGIrF90js0hzSR4XRQxTZfv
hmLay4nBAFVBk2UFoaeCwtkNKQ822m9frhHWiyn3FGQ4u/TBeGT+G5Fd1c/VIxWUjESIgRm9k0I6
BvHGp6+nP6D9llxrHHTbYvAcB/oOcYstA305ytR9inHsVOVDVDE+880uh3RS272vWbamTr4zmBnG
3Z22N/FWGJfUV5PPgGIjip0asNRGUmHrATOiqvO/JVnJ9gyLFP7VogZGD9/VKL5DX3fjikNhghzv
4YfOS0wKbvegeif/IfEQuz39Rj9oQZPboyh+T4jD6rxwxobZVdAMbxCR8dmHLrxKhmqLY/xbEGAt
lwjJGQHmVosrpAj6+BLap4TJuhPE/bFuuD/RoGHWEMeeoPfmtuiCWztStoCoU15GUe8GPjMvvwUG
k6fvSMVlu9JFb6gk4s0VnjepgalbZerg5JaxFRvYnsMwPUIlnfFHHA6DgkGrAKGqUvr8opXhqyU8
ZzdjzaUS7OIZBghMnOs7WShxwcv5a2Y4quQUUCp10ejpffLXWRci1r8m1nsxp4+ujhFNGHroBmnx
EmVi4wwhFtyq01osOQwSXGLM9dLyEZdy5lol9kqaWT/DpmscyixyE9Wzoky50+bjAUnw/T8NCUlb
hGkgbx4nga3aHYWgw+5jaLZBjd0EFP7cQ58VReloFzXVTj9bn734HifYPbU1cZRTFiVeVBKI0pIe
IgD3MUzsXxhUXQa9m2wzXZZDRs2Oj4GdMRzSYuR/WSNyoFP/Fof/vkKqh1+MrFflsNbU6jab08sP
MJGy5Pdp+TazUub8KnGAlmbXULoABUogrTvSaDzcTXzVCmwxJqbVEhMfj47fzuJ1WqVGrE6s2FnJ
VFIIAiT8YbKHm0LuACyxQC4Yk2Yio3xWm5unydki5NY19b62y0kHmdI5BRXtXAwS0o2Cxh3Xuu/e
lG4VGgOXpD+TuD/qdaHeAvKi718iPEqDeQTyKnSxZuKkLfZuLaqASVOpnM362BokOE8gqCxRvLzD
aTe2LaoWIlehADTJpLoyFZtthfCIeiiXsY+TCG7Wn+KkOLMlpE5WFEtUiIXSMKEI8lVsCkf12XWL
4UCugnYIu7ANUq5KPooUMI+L/4Kk+zW16j4hM7FHQh3tJHy0unEdNfS0Q7c1GBlYqf8zyg9jak5J
nX/mg3JIsFbjzE1zzI5hJsfmDtp7uaZIkyk7OaFjIT5nTC0rGXWalrylquDUXYTSTYoq6rQp2FZt
/AsgweFSvHzAHQQFdDtSjL5H1OA1f9CM+q64DOH65DNRhdrV9DWjF7Zd2Kteg37Qz4InBpK/E4bm
TohfG3x/Ynus4jsxZMSXRNRlkduoeuSaff2uNwEeDHH2EEQhc1N4kv4cU6EkwqNs56eu41oelh8S
FOKMzI0NupVha/YYAZjYuCRV5yZ1aqCGQE3HQCzr2ksVL57BcfeTZczpJsrkkBVAvhmSJsI2LZWX
MRQJ7ig+0W04kLn5gGg54IyqGgwfWgKdcFbMTCzgVL7UT3ej/6g4yB3VT8JtYPqIuP1v1VQqZ5rh
loTJoZ8NuDmPbCgyj8tRWHEquXpcv7cBhSR2s9yn0hX72o/CQKEI/NyKsDoKyFq2j3Ui4kspcmNy
DGwD0F4f/ZfStoqtjZTjxlhdsiXSAaVHvErDvUCsrqMYpL0KCFM0GUsaEY9qRbkLCi2TXKbhSiHi
A2s6orj+iEC+x6Q0R/imIiIkU7OECTvGsV1gAG3QKyLn2XbsT8HvzgJkS7pjEl2OofD230xWxFFN
s44oJ2I27hEo7GCR6mX7jcwhxpA17KUSazuYnaFm9/iwqzUYRpxKEFDIPDXNcy2kmSOIOUgPykrG
K1m2MplXpzFWQ0a2MSr/qjTQgnr8Nb0gmryx2YchVJe8Z0tT8/92MkkxCGaVQgq8NBElJzbxxFIe
bU7pOGDDwJcpz2TYqclk4H2WZW7d3EFqNE9KeY6DP46UiCHHJZCU4yfTd5Dku0k9dZrEyVfjzp2p
77E1FPY01Ooq5mFmo/YTNpGyw0UfMWJ812e0UyLDKFsKRK9kzmdPUynDMCJwVhQhVTGftPUkdZo5
fzHaEdeqOoGd0MRbkxY6jZEhTy4hXaWqvzbTvrLNoKBqMrQLhT7h8ETR2LHSOQlZXdsWz7Vsyv/G
HvcduZ4whBv/wjSvoQOPB0bLkoMb7F8ufftl8Yl5zWepz98IxMlMaJPHoJabYK7blUEglleI7Jhu
iSacgkPZqsBjOvzqQvvOK4PQtmh6EvDt6km3G2Xx0uL/E1MgBmWf4V9oaTzDcBcmDbGgvv4d+VSn
Ex10N+eoewqI7OQku+wgvL2DWzeoD83I3mNTjNcSZ0Pk74MYiWxlvEItGlZVhfigMFH6+3j/aya9
b6YZ1zyh0s96lmVbX9Vg3BQTHWI9+at2mqkMZQlDbTn4y2RhcGZ6FEzvSNT2MxRfSXAVNd3a6oWw
Rv+0axPpBz3fQ0rBTIN0eEfbd9YKRbH7RHrp3PSIRH2AxqT/S6J4nWT6cxC7e53roTeBbEJ6mt8B
nnK7meZ+a6CqExdUwSLgF72ucc4L5dEN4QrcxIScXY2OP7IU6d/5SGn+Hql4xABIw9asfM/oKIHF
Wqns0ZJZQq1wJm6zRf4abLMR8lQ9QQNIoHs1AsPMPkWOWRSJg/cQlW+dlbYqtZCbFXndKCCCmVx8
qqMerUaVlqWxBoUrB9gw0UfuVlySiHegxMYDQsffuSt9yis2q53KHTomqtaIlBhtqYjHmiM5lbpb
ZXD7j/E+aQkUZXiwSzT5KuJVQHGc5CsNEMeZmmKvj5mGADO49P7CcZZBzwDSHbHgIp+NstqiMCb5
GVglxt9Gzmg3TToxa6oZ9qc4+GmJf9Y74YP89dCeiiJap9J8G0imID1evNZ8eLzTRIyrSBeumKdC
0uMdb5WMsQS4OAmvPiR9BbvtZizoiVTFnZnoANso+V4aOUz9HNe72YAeAfiGVbfAl4AMr62GzZAI
w4dOBNNZD/WDGcPtVWu82ssKg4FUnaipR/wX2lFFXMWdkFWhjLkXnUAngh7nUYpiGo2gqwkGx3ZQ
1utA6v1NKibkykzHoE87LOzPmREby5sxnaGVDrUwIShAbysvNIqIDVSVRGj5FZ46mZpviSUh8Gkm
C04o35qW5iCrqlNh5afCTIFeUL26koVtjRQ+SEDGtEvDKz9Lb2RFZgK3ltTXgHjB/CeTPOXVGs8j
LeGjoOvo7MBKzXWND1clTMM2UttVVIbwL0e5coZuuR4gFZCyCFMRE0VCIN5r3avE+GHlbeX2nTQy
vRHofHCnAaUiV5B/Oam4IKah2gNVEO/UNd+cvY5vhdZKTkGah7q8RVJx6zV5L/bzO8cRbMxcfB3M
KpG5TLVog0UygHGYMeYRTYR7C/QwF4ngFDO3o6h+96qYb7ta/ZOUguDVrtrPUpyu4NYxn+kwhkuM
cSI9ttv3+Mn0Ibq+2DRHp1jY0SNBiFsGWDtsigk90JqVWfkORVSlMh8qhIniGw+eCQ8nNKYIkPC4
tRKhRJXHOs9znIaYg5EwRKkpCP1nF5oMDgIUvUA4pcgJrtZQCXW1s32Skju9OOulFewz/BOGUgDO
VwLJTlXczwNdv9SFfzA6Uq6zxMJtwZD2o3y1cmuEYCQFLlcmWCFweBK10S4RtqVsjHs9nu2uFWWv
mq1frJshy3RCvI5lo/F8cFuhC2WvbjOs2yCgC+PEmQLrVY/xlBoiC/DGshvNnE6D0lG0TeY2LwF+
GmNcz6N6KTsOaQXdnhK1HYrHeCUjcXVwycdHu6UOFTNUcFbopTXWtnrjC44s1YRvjFx9Suf6XUXE
EZ6UuF3gls7ubost8VPZWoyhH0dq3OCgTn/YqsXIjiY3S+pGZSMGpofDAz52aZp6gYne9yxN8p8W
8JYKI6cpGLFIjPL8yPpneJN3v6JUj6s0jpD/tJFLmgv2AYyzIk8O6AFayWc4JWPWz9M4JoRMapGF
d4ilJ44MUwLfgd6xQJy7wKztcXnfQ0YswdQ1LzwUmE1F4kXE42FDHo/HJJVKcakeLXrwMnpXtAp9
hl7+trPyPbK+4RgxIvE/0dY/y8a4YUXokzaOeJ5LHeA5saMZ8wlJe69a2SMR+yIgprVNaXpvM+XV
5OaSgxzrLoZyCaE85T3E1ME1gXicNPscw284NdXsau3ZFL9m8xD35yQ5q2oKCgAOY35Y8h1qlS36
l0B+6MlOCdChok84JSClxh5hkqDf/OqUbGbIhvo9x6GbjrVwBu2uSDecsQxGA3pwHaALQWe2tj1T
JUm7meZ9yibb6t7C4inxmEsmFWQbZbPqlFHkMCmhk83dcmT2VYGUflnVDV9YUqiU4pobk810AUDk
wwxlW04bO3mJA/awmGeDKq0U/zn7qHwkR+1BGvxTHt0aQNDhPuWntPrXU45n03euopWc35Xhkat3
czp06tOf/7C504z3qH4USbix5n/6wDBPvyGATWYMqJxk9GbroLd73+rsOmrXITKZYFf5ezIe/Qwv
tvdavYkE6OlVS0VueQl6Snwh42YrtvRibyFOXZbyWybEAcS2gSwOvKe8iPperr7F4mVIvzngEUE5
ZJyepuava5+FSGrFLSj/YvWVazoHSGjP0qnN/4XBV+szaqWAEKbKSfDQglxjT6jYB5Z08KFlX6L/
kIkFAwLy1acs3RQfHjNgZVy5fOiefLyEqZaUyDS8izIUBeq8SRDUhiQPjLg8NxIPlikBNrAcJ7Yg
DkB0ExfAP6mx7DZ6Zvi+Gwm7jHJ81H9y4VmkW63Ywmix4USF6I+yDboEtb1V7YFUd4jSfnI05WfE
clMPsMxNwckJEvR4mL3yhjWwzqmdELZqhZgwe8hfxmiDSUCuwoLFrQuG3nk2zz0IEUBA7zQDOY71
JiKvLOhLtxxyRwBYGYZ/HZ2oJA14YxAoGdFfVAyzhX8ap7sI+E9khxNwQavA1/R+thzo+9aE4236
RGYnzpxyFYA5GfQecrxJNQZmLSgI3kZMmWODJV19jL1lRzIabUqpkEi7FjH9ArZbgmGPTJwZfiO+
9Z2KzccmMKd2Xc3wpc11PF9CzMAA/5fhmTdL7638HlJsnMXknCaXtP4XEG2+eBcX23bE53LVUqFN
yorY3Tje9xGJR9tBeqTBLdPYpJETC98WlrHkaPaYG49XbXzwnrWKofYdrSImU/K7WBeYmiZ2GKMK
lm+BZWNU49Q+f7Dzk3N+DYhIGVTOteyLLSLF+6y6S+U/M76P4l+W/knyT8I4z4j/YQHuBIANqfIn
MplsM2dSrtPwOVYlVyzPhAs9AoTNuIul6MnFKVm7avoySYIMmeYks79KoVfo+r8Jo0cA9QDcJnQ5
+OTpb6SWFokiUulX5Bv3mz2I3zkz7IJYXk4z18pHJ1LCNcwV+p/WKUjUS6Sn4WbmI5I/B6iaPEbm
xC6PQhThVxB0zAQ+fikdET1CiB8VS374hU+ChuXH7IkoGP2dWkYIZDUvUL1llZe8pGVfkn6HNJjH
ZQVOKDEv9Q/iSGlGurTa/+BNbdRPo/rTzHdTfCuaY1q9yulcSo84PwXjm+p/1jyLEIR6tN7KQd4X
4HZQ/OzGjQJKqUK09fzKcgesczrpizTeurYJ86TKmu3yaSzx8fECgYo2GvoNCn82JQ4+OecRuUAD
fa3ex8jAWcWfQ/vJDH4FtmVTEqi3ySjtErS7DIn6kwmBy79N3MLQ3aDj4v1b5oMYwgYqRTi/mTl7
nlWPj0HCJJJiC1fKZWL4GbV/KTORdJGUV199vWlBgTUZhjlnj6l1DINyexoRXqMCqKYbwQ8J3Yvf
DI7Cz4oVESD+wGyTMjdWXSk0XY0kSzpu1KS/FXwQxssFJqinHog+U0AhS3FlFQw3uJoDJMxao6wK
dpNKlSToWCKONLe5b1NesPCJLWEY1HWlXdM1hhN5NrNvVynVEo8Pb/qCWkjPN1MISYHsi9EfPZYd
LBFh1aF9XSwdomR2YNa6ejfz7CqtcSwtXInic5InwuywgKF0Kpj3qxjt9ILidqicWuUtKVonVNnn
oA0Mi7DsJYKJW9UviNz1geJNEN1MtcEnMJv9gFfyVPt8ZfZE1wUrTahWMd+wpucRRC4IhA3XrIUd
l0WdY1XkPOYKo+0E7c4A0wkfNTYxVsBtMpG5AoUkeWkDrfNNaP4l6MXngKtI8u1Ag/pyH6i7dJ+0
TX64JcQJD/QpoP9mBph1P1a0N4yDGJ8H7R86cYadPxMTBDo1R4BqMlMxTdhrTvPHpO7FaPYqZSvM
4QY0z2Xx49tItG23sma099YHTqt2QdODbYgtcoCW+P+MAXhT8yWHjk62twjQmtXSygqgOUGZRKGC
9BrWaZy6VkqCALK7qLQc1ChkXofeYMYOFmlODwpYR2wU49TwREbrtvw7JsR+SBzslOXxYjK3wqxm
02Iol/VAsxTGBel3FhYFgnwMxota3xOq15hSyvqpuw9z4JwmtatgNC73BOKa8IMIAEmTzLFYUhrj
QPiKZanirvfwxS9R/WyyQ1iyfvSAJeH/ZdCbFI5mHxi543YAnqMMTVyFBR7RxaSI0dpcdphFM4/P
MJsDB1cw0SCFovA7UtEaJ4jmq8BVwYgEUAeyL1N81VeWcvYAoeo+BOMpSZdp37s8yNzVpU0zAkj8
0pChkNymcac20CJS2LNDBZEkBYwMcDkOrF0Ql+tiHo6dri2iHD5JZj7jIuEOWvac7LWGtm5LADAZ
9pumu6PABpa6XQEBQgx6TnfFTgi/Vgt4Yn10FIz8UHThqS7FnZj5Gx/Txl56b+SvmfTjFtRNVkuE
VtHel8RHghdBMbCKphGVOgwp4Bo9GB0hRLksk/Nb3oIhZKg0Y1ri6VG5HrNiG2rzusfVcgKhDVIK
HVk9mhlcc0zE8nr4GTriUkqRERVGfC1CR/h0YksQenanUz+ZOJ2acLwK00BHqR6CEb/6PrklfYny
Wzhg9nep/JUq9wyHe3GrNv6NJNy1oTWnVm5OK7mUjgM4XaYiZmwmr+tjBG8MbUiXinxIVmK+UhvJ
JqP3IMWmN+JTLtcxRLuGEQg8g6h4lv5wa8WUqp0k1DmTngRyvleywbQ0O+ZNcwiqAKcgAxP3dm2G
4L0mIaGS+CGSBVQ36h1e5EnNtXWR/sNR7wuyr2U0p6rcNpZhS6Gwl+Jijy6tkihMUzEb3CCbX1ge
X9Jc/BsTpiI0AUdVkC4CY9FUajbprq2rf7UQ/1WaecqH4IFWTy/rW6Ubv43JlU9yVhLHx4A4DEmC
IlLp1WdqgSJzfBBE9oClpkNZXM72wfwgeZzu7VMC8s2gV0oK73lbJTiJVl8ic/QEg+EUvwr8nor+
t473frP3ZzezvAyOlQVgae6INWnD62SRMruO5nvUMR1ZYzAVy4+CUqI51Mk9Ur8jg+O8gIzeHHrt
vWa7ZFjBhAHQgbafi9QB9jHLf6qdMS74F6inJnrlM3cYQ+FUALQFUBMcpnCgKiPFAr+o5bNuHqWd
La0lGRmC6mYKnpjhrc9/SxtCGwP3zB8cmSjWJ9XKeBH7XS6eY+XKbNXRw3WWnTGchx7lLLBE+FeO
xB9yS7lKshKVZ9z8Y1dzEB+JUHUN0ZPRfHWAdYDcysmKLvoKZIrQ8BNbiSCC2lYHBuUQSuF8rvIA
RpOM0pFSgax3W4GLoQTPRt6oxgOrNTeTEpsIc7neYSiiJVsJu8UODSy2CdRHB12Lwf3/lZK4FT3a
keJPSd7IPG5xizc30A7meBtWL+5KO68SG/vP6gi33cVPq3RqG5rqYIvc7UdOF9Nac6Y5SumhRcuk
7xToBDIsbhHpAcRJyVfxqnDHYRsHMNVcXOOTLy4vVwhPLQCeH9E6HBWonVJ/Ly3MEzLIt5IdTQct
NJzYAa4xVn3rCj8EoekWskLEfdOX0l8zK8dX5F/CcRFdF8igY1VgZzyOz2EmPnlr4Xq6gqWoX6j4
Tf1Rj7ss/Bjlu9q/qpk+8JEJH5H+oj/CEr/FVsN6lpTzuXSsR5cPSDuzYbKP7/eNnxxB7iVLjjKU
1Hg3ep0T6XuzOLXqrSxL21CRVE9n0Wld0XBpRKaReOZ1L+6H/sVfIyJk0s65eVkMfBpPm86ducVx
yRXZCNTpGEWsNGeWvXTNwsm3UXgYmVKWKdDqdzb/CtodQWzqPCdIWL+h/2qkWxj9UawP1loJr0m7
mbRbRy31DNSfYfIKfI/tFFOuD1066fpaGB8cxqJ5xSuUdf9Tuv5KNE7xtsXa9mxU2DW4nJtOlN75
nk5roRz/jbj/pOJDBxgfPeIOIIaZTIFBmrmyu/J7UN+n9rcWsEJxJfWkjTsh3s+Vh6uiwzLHtwBB
oOhfc+eZaamjkNfQNv9KjepqiY9qu++eQs1ob5Gf2ri92WZ/J2JexnLB+uT5r1A018F1JNGKV7FO
vAHicvxAuJsmy3Roj/H/GmdezaYuZS7vJ7jdF2+9p7lmfpkpWA2b86jlORiuvHy6wrdr/Tfv19Bt
AorFznqTOjy5+mtDlyuP0DGhJAn0kGtdxNC1OmgWA+UNcxzbKF+tv8qoE/UE1h537br88xcfOQZH
IfhI1L/5Dc4RDKub1DauSQ0OLp6ldKMlus04Tse1OuV/Rzm3S9C/uX75zXEM3/Lmc1lpOREIZhS6
oAlU7gy4HH6XoqSs/slklipbsDFbs39gldOYvOfqZV7e2HFQz2Ux2/l0tYYzWqOQmD1DWK1k/zOo
j7RE9E0Ff+w21bZssAU+kSaoDYdC3E/WrS1HhpKLKIeJcLHJhu0k/BlwMWoBtD36GYTfaJ2sU+Nj
osLslEtbfC8f8OMiyq+6gmcLxXJsbmV+waXQYNq+RpxvWgwt93X9aKpLTdn0DhubILSw2jbCK3Q5
cF25P9Iv8olPPadu0l0bV3Vn6aMg+qh+h3ID389u4e1TuXAUncJ0g+J9MJ++DbylvILmGIMe8Lwc
0Z3o9G9TvQVn81La4srfhsKJpxBOn//Np5npyevK/zRlQnYjhof3QPnzJw+nXEyoRTt9L8Bawaza
fWR5IgpcfxURF0MhHV18DYsRhjL01FTJKJ+YK003P3pI/TXkfEHARaVNlvnC0aUX2EUklWhuBuc6
Vvfg0wq9IIxSRLRt9yVnTtXtUFYt5nb2p1itoDbQnOzMZp8xeJuydzTu/oqjFbq51zCgcotsldBZ
Js0fvuRuHZIiDmNDIIoQlqw9y6cZ2u50EDTcx7Z6Rsuzq+giB/WHXkkMb8Si8ixvZrAuRXiwDA/3
RrqX/EOhvZQEgIuozvVonbTwLZR2IpwPYlC8udjHJEMbnM/nlBUaam+EQzK+3uXjkQh79H577J0F
+uY4/g7m71wAFVLfFuY4DYoTuMRJV2+czgmOVJvOchc6Kh9gdNU15Z2jHVL2BCYMGnTU2VRxNuUG
l1LaDNNZnqbypEAPSBotz1hWMzJ5TuEqstafOpg4Vdva2hJjN7kT57m+/nny7ko8+qE/lzeLhFjS
UYanzGlOIBAh1315wcnKkHbYKpwufOrA4UJvPTH1cliYJbPvXVmy7xYWwzrCOn0lYJl4mIXFPbxJ
nGh+VdoWLWwGpGzZ1Dl2eAXgqxaDQQ0NG5UvFtguKT35Yyh2bNyWUZC265LjGK0V4n2+IVLZSCA8
vFBH+8t0VYauZ8rohjhJzTiP3aZXgNG3gvVKLC8lzpkrh6CPzCPCwSYEBssIx2cc5ALW0VvFSzHR
XSTjYHEQw8DiSRTFNkkBa8+jAQqCxYqivbXppetPCgWP8aYrVEiW27eeWn20hCI1YO1rCCf/R0Ma
qkSzf3UYOkV0VGQBYK6wQFY5fdo6Ss6KueJYTIn6ODWbAPm7jbvBCINCc1SGpZCoPHItuHw5DZK9
3qIRXdGw08RA5z6l49Uony3ULghVtBJfRKxAU94U8qcU+icTFK7TkNI/zOm2WK9PrsgmV7a1+YLB
OHJi5CSDX9iZsOszZaBnf8k3Ldz7okOIiL9ieyAWXEqNzvgQ5j0mJtl2Ng5afCr50aaY03k/clH4
HFik16bHiO1LiuBC+CToGutX7YyE0Qh3AiEUKORe1DHEmK5Y0nZuHnJ08UyGRVIm7gymQQEVEpyo
Z0AvRAh1+g6CeVXu8K1POJ0QKWQn/PxZkCMUjItC6SvgNirfM+odUvMGZYOOhKLXktcsxoTU+gG1
+t4cT4O1m50EEACjfBByJ+LJIoSF1kk41PhjjDvLOJCbCcXVHdTAY6bitD6/1BeeHiIhXKkziMgz
B1Wl0s6mx+INCrqlHzC/TxiJKhuFb+Kj91+L43eeiq7MfEf091nvmdAlXCPGQ7HdK+2Z4FZbh4XR
0GJVK9+pzV/F/x7lt1am8Y7MHVxAxlG3bDy3ngYbu0Z3BbNKzvbQR2o+Q/qRCYWtF7uKIRfWHULw
w1Wua2uEwDkZHRE5Pq6ex07Yf5rDm0i5qixAGZMTVb2xZZwhWJv1do6YrmC2Jh7Hv5HTPPxsxrsw
Hw38WdzOxUFvKeLmf0FzxcgaHxOSiGySnKqdjJuVNNnhcNbzd45LTd0tG173P8QO+EP/t2yojuxb
7O2h2caNaS83r44XgOoDdvVvVnhIBUx4b6r2r0+WGrIST5N4yWVco4+6eUY8pUwk2uxnh/myf6RN
sJuSYT7RQslb4PRce3YWkL22MrnN8vkc1xyv8hGyIWV6usI+ul5TDZJKdPI5RpQtIt6CllFjiNNF
56W3MoDfaRLiAPdl822YjmZ5H3nZI75b48HsLkq879QNCFUH/yTzWnZWS3hOi+GSBLONz2bRQPt/
U3/FL4MWdiNXW+1aC5dExOxwszxA1fcQWgRVQpX0YfVXJPmEJOU7o2ebE3DadL8LdCp0H8n83WEE
nY4fDJgcvTvR9qjysxRu0BXQKLEq3dShgkaOtFwOinIb1Zuu7RMk8vJDpk7r84+2fq+Gf7GwnTsO
zNYe4nMznDhwqXEVWhQyh5nMT043XfzgFlp3CzUdfql2T0d06enipQPNYOPjJz3jf/AmMjB1QXAB
2vPzvDPNNfkHRbMFg3YKBTVF5nJpLAfQFJ2H9L8KGXMXFmiQwvbnCXR/MfXehlkqDjGSRlXxkjAp
Tok1WM3CCYdXuxMegReuOF50atJOeKfhpVeeHKas8CmEnWmdUnR91bVUflRmAClzgok8sxjis2zd
1eIkF5MdD3u//CrVSzJTUb9Bcc4HzBdXWg6st43Mr1pk6b7GeFd963aLamcrGjR4+0ajVEKVICq/
QImDOFLudRioh7ZV/GbabxGcSCy1S4dmDSUQV7kV/Brhj65uRnRn2NWVAPnXqL5iF/NcpqTHoN3U
ylVDUZOk54l6qCMMuD9Z4Q9MAPFL5YaYJc8ii3kZQXJJqA2dhNuZH7OiUUkeGCU2KTSLs96sR0rS
OX1Tg70sfCHrXk7RtrhRPlRWCY4CwaE4yPVdEd+5onKdcnTcqA2ZJW84CduCcFtuGTgDTbbV6OgZ
Hjx7FRUOnHARKFsYT4J4+B9H57HbOpKF4SciwBy2IpUlK1m25Q0h21fMOfPp+6sGZjFozLhtiaw6
549D9SO8dzHI4AipU+pXfdS2evqvcs7J8FtnV9NmTDj6zoq2EcBljvKnlqGiXs7uwOLjUUXMYKou
0uecrXWNXzLZ+Y2XLiIXPxOHhjrTPX3E4EWTntdT0xVsVWMtmWefEU4FnbV5kGRQVLxdMBJ3coFU
a2XGaN72oFVtR5Xnp0mIr4ae15QRBbjgaKSmJ+pj9hCTaAm06SVaou103v30J6nuXfttk8thrmJR
/vsa8hdapR5ykTnW0P7EwpalO2nRezn1h8SHZwSwvtXTLWl+jOqr6T4G5c4XogW7mWSB+qCQmGcI
TUnostzDHejyOUKbUH3kHaal6R61F1agoAA2If3CyD4ywu7Kw2DtfPWpLSJMPahGD7XHkKb9dkue
4/iuuiO3BWeGdlHD0K0oTYQ0docam3/zT+0PeD0h/F9Dtmcx7oh5HiYK4uh6q4a/iNBWrSuw7P+x
Xblzyyey+JPMj3GFyl39GEFBgo25dhxydi46qpMiuGE0dQPWEzf0ZP4Po0Ow4SLUTz1vLPcJtFjy
HEFixa/B16GEy3QGrbN+5uIRSOdBuRjKoZo4sxjzseMuejBj0tQzHDJEKJORcQ61lTKgwP8x7VD8
3QizfhKT9+FzpsmvJTojLK4JGh6xrGkqJ2vYuUWrr7PFSxl2VHflPq/YW9d/2DwdhZkt/IH2NNQe
+V2CtkgPLAXI4LiWLxNp8MOKIdmbfBYjfmIFG1hF75l+pASrPFqAi4zBCC5MRKaQMjGwVnVkgil8
kh3/eC/z8V0CoGO/NqzzRO7Uy55XySOL1hOdVsY2bWhgAYXoDpX6RkDw/MpsanYWtXbkTVDUXS1v
bf/EGcCpMGHQUNhY2b5Kg2e2+lWHvWXfuvBql0ey1utynXIlWvpXDdRqoOFhlSPWHZ7qy4bJGoqT
P+75YQT/BeZmYperGEGDFxE1KHzspekgK7OOADYUGhHzyNJfvnVAksq2DEghgbNoFcDTR9mcTQ0n
0MJyg+roXChiQMMtTWD7UF7Luj78/8MxfI0fQfYeT4RQ/lbDmxiSjYAyqmRAl5m4Y3E3hnUCBRzm
V4cLxiAPXkz5sOQdw7q1pge4ZbapOWQWoB5U7TS8paHPOcvHJO10akzst0hhyt209bcaIWf51NUl
IamNc3/Sa1WdOFHCZYvX8MIW6ZV0IiVfM6Qccb48VT/DxjROsJiFuUSXrCXb5N1MV+Izh7CI7Ctm
FjeUe4b2ajFt8uBm9v9aflfuDbLr2RIWf6HJJVriff90+McB3jNzuMvJtoOWmRbmd2e5dotk5kuV
fxjZezpqiK+iMDXZwszh2d6Kp1lS9/Wu/5C+Oc2NdNMqJ61hyNTWqKc5ktdtgQ7wIGBNS0W8uLKb
7ZzeQuXBrKBMGzXaT8Uh787olqBu773Lqlj/dMavrQGUwJUIAgP14igtW+0i/sUy/EE8P/hmpOJm
kQZVo8xYjNplpI3bIaQQr74rTlmyCfnqEuvbQtDTtt9cg6O1z5xtMK9C+J8nLbHYN9AZMKp6PXQd
sXNuxMWSyVddP8XlHUC5sFCWjmfMhpF0IkQUO8yUHco1cioKn+yLgJCq5AuwztSOpUNC7EPJH/6R
nlSsZGlItwvKyGb+juFjlfrdTj4l50T2rzod634v4+RgQqaycoho3zAC8aqk4TEu/yY94hP80IBK
0uanwsrpgNY69cFc9K7JjfXNLYVS8ZOv3Qz2YsdL34ZNRFHdp9icR/A2ZoMQrBEtGWZCdYuujGN1
V3PpZeN3E28yoAQpfcb501dF1RISLvZga9ctJt64TT9euK75YeLmrFck/Fp3lh38v/qi69l86DAJ
5JM4Ho12E1JObs/LJFhZzj2ZT+h9KJ5N1A3JMBGBONGqRCKZ/JuSbEFMq0BdjHDXCTKAguro0XQL
SDOZWUd61vzjpHrY2TfiZOjIfVGdsvDHRGE1xsccgMYK3hsU7rr1K8nbQjqZUHshPAqTitwcZfUa
ec8RyhJ/ndtUn42/JzjE84NTn6zEnWDO2wxsaO4MmNGfWfvnG1+R/2l2d8fcVuqmTX/agOloN5Y/
c/ctkXyICYWvRmDZI8Oa/G34N8oeeWBseLdPscpr+i2odnVwA2p283jPfri0hUz1iQRsYScNAyVz
hczFw22bEaM2jjdw+SLbE/tPbKAfFAujgp7nuYk4+imaz7f4UOm6y9y0LlwLZ3XPpOuDe1iZkFy8
BKfQjYyDzl2ePk25Xth0hyO24ZirfoawXUTlfet057bcqSFqm/Rd4nVFtOtif+ykdVujzvyX2ILR
pdgu570hVcL3ZzcOeDz58VJwHKjjIaIqXVHEE2F0/ujR4FcrzFGsHOJ5m/RvtbxlBKXnf45fuPQE
Ilu+yfLDwM/nGxcetBHRjxrwC+fXNjknt5jW0ZErHJxzM04F7h0vFDsPEgY0bgFoPv/6UoUNASZB
ts65N/6iZoZWBd5EuFjGa125dwIoktFM958ouxgLTlZ4jWSchFs8EMs0v4TeT+pjEJEgZrEAcMQT
Iym/WSiexjFd6lqAm9dxDV2lnGKZ2C4OhjE8Awyx5ZrOPmXfrk3G8QFDIcEc01Gh8trk7xr3QfEQ
b2Ihv9ErwMcXLhog02T6rDn2muBNJ1CYlVssCVwTPIjc+QA5DddJtMFstPCVh1NtiQePfccVf4AK
KmpCNw9CFD7daa/spxtS5YVWngiOlkEmZBqtD1lG4dxSIT3SPmRiJECbUHYnk6uqUH+05BfY3lL3
VX7MjE2I0VFWe0/cDb06A8JtJ+U6gjfYy3zNdpgrdBQd5O9m2blqc0W6u3QYakscORkvOhOaZW7M
aVua9556956PPyHoq/3QTEySq5SKefUlPglLe9eGex581c/IJFx34IqWjqyEnFSSsoX3UT8TaQ84
+fEaI2xel8kvFtJAs7PF4hH8BdqmxvOapF9zfuBzi2GOyPVh0h0QWB6s4asi5HRaMVmYDoP1Whne
7PoN3yMqPmrfHIZi+LgpocGD8Azy13fTbpJQM5S1a2NGTzAK6dGFr1dBw9ewPsDFz4gvc/krcC5+
fYNk8EyUy/2mJ7XgaB8Jb2tImLb+suhrfK+qM0Z8e9oQfQnpVKJMaOwLuWb33AUIkwFgEeI01OkC
yDCRydiyvrP2Nk7vPiMcIekLk+E1Z3deV5uBg11874gLBbZXWDJqzx/LwprZXizjQ7b3evQq3J98
YPGdgBdGXMrHSiY9Er/eMWSRr+3cVVikU9YdKzj55tre9xO9WNNHPT8l7dGZL1T5fr9T/R+txBWy
AP0zPtX5avYfgs/x/S/gYc2EeUOSsixupGLHo9dWfyUeIyTu3KC1jkjAPrYO0nqOKl2QeffOrj3u
Ztox6U7uGOD9vR/TGSemH9R8K8PfTUtqGrkniFTR38fsXkUvDWoY7b/DE6LA38ywIEnNa87yXYcq
ER3GFYmZWysHMpFxJ00pQ+kyXencee9Uo/KYzUuiTV15rhmtvvPyIQ5Xs33Sb7IYLmrLm5UjNsA8
3DUqc2OAX/VqGyDRlDLE6GY7hiUk0AlBe7ZLlbT/R6kZoXwvCwvrTESvHbAlmxt7PIXqX2UtSCAN
zKPTQxw855BpiqNrygqvz3lR/YdCfoJRSigNU9cBsNQmnN73wL8wMsw2PAaOKey47VaBmS6oIC1f
dfjuDMTFc6duAZbBE2/jqvbGJNoJx0uPSTTj5ehIagl2SbtPUNMl9pEzUcbXPg0GhMGvirynMDm6
yrfGIpmVbttkK0FJal6LwBPLNcwn3Sb4GC2NSguOHqFXAXVHdMF/IMWsGNAO2FTWEJvMV/IxfNis
3vDqcZuS9pETGLRTlIvO2qn731L1U89ck4fBG1Zxd5C5FLm/oxUXCgG5bB7gXwbhMdRKJP1ZCLT9
tnXlcluZH70yg9vS4DN+pj596ezwL0f6ktIvosENOteNzSivknnNyEyZLpGHC2naGmtqNJGfI8bA
vsEr8Pnk0DX+oQKEM6edCbMXRTgeLIYz9FwVSJL0+lOXWw/1njF9ib0QZ6JTn8TeWdU/zSvhBDGA
tGa0QnVxos5BI6gHQqK4KtU+rf8ZPq0xiLzoqz/p4uoWd609cLk1XmVdod+U6moj4l1iYgV+AKiy
7BRM8letIlchblwZK2TpeDyFnQ/RUqsh+et/fflpO6KTDpPbT26+8cmww0SctTiAPSH/AfWL5yUF
tCOKtJDbQCQaqDtCTjwcLOpnFtFHfCq7ox/wE5Gm+sVnhIc+7wtiABjHZW6xkAlQAYIssM5OB93c
aereroHU14jidPSyON1BErXsZkZ3bWC1M39hqIiN+HdHj0rNd/+MjL+hQvZn/HXMWKTBuJPP/QVz
b7gSO/KauFcs/xL9MtCtSxBKhitig+h/J+Fvcfxou8orwdgsOB1KhVAk37AztdZh6lfQ9ApWPfRn
3fxmhle+U3uGkmM0ip3ca9pjOmmL6pFzYo1xwEfXr6rpn4kiJgVlrbpzzdbfIb1TbIjY9FlnJz87
A2b2DHkhaRQtUqhhRL+W9249nwUXFr+30kurnnOwpVYecBPnmARCkzBuUJwbg7LGCrd0Ero5D19Q
8aoaoxsogKT7Rn4r3pmDEkQlJI72ECvlZpAeSgiDzP6Qk+AhLqq44GB8mIXXlRgHcgXMfVrGnNRp
xQSSdqifliTXhMEGXJ0srpB26gqHAQo17dKHRLeSl12wPc5CC2ujqYRwjtsDP2gd+evc9ob0m+50
ysTwpmnEeLnUCzTvIyutvgLgdox9y/AdnYlvXswEhjLwVXjFzWFHMzrDmWtRr8yCzO+CK8ZFf8pg
p4ssEzYMf3pTirN43lNyOrLqveLLLwZybngJSp9nac2XH9zEvSz0JnBX6rQVX37nfzakoEUFm2w4
gFAQggCy4+xVmZU95Gu0AHWYdriqTechz7QYXCvpvSBuptv5+YNDQdPWavQxw200TF5x4ckOEGYZ
ugV22rZkxPUL7LQPshFY9hCAAmYK1wsOWq08Y8fzDDorBIXU0Z/H72xxQyPOcGcyxYQIe6iFNYk/
vCDoZoCkR3eJ28/IE2qJzaUcOcDj0qbU53WeNGu9oaLFEKQeglY4oJwsH0Ik58RTW3VRcxWILcvs
HDc/YEwCGCtpyfLBUB1mpnHpyB4HPPA3LAicGTSkpKCMvqor+jmCfWm8yzG6h2dVr32GnRYEFD/W
Igest5PWbUPS4cRjA6IoWdtvGzeQWvyZyqWaj0Q26QYzRZ96QpSaqnxHqKArm5LLNbAdOeRIw3SC
aypI4y3/ChzRdXau9d0MputQY8tbz+qAWsnixe3tW5u8Aq4FqAPjHKTnVgdzRaOKlym0viss+hqG
FGf6EbKogVx7dKtL8u+lnc/IyzNZBifiH6PpNjq3CVli2EOlsQ+cE44A7KoI8150bHEi7Cflo65r
t65/i4dW3Y0SaQhImjky5CMPNOZ0G4u3ClhMtsmESHjL49wbz3UIO+TvezCzHoQ4t2jWlDqwsnPq
fxvAjoMBfg9qau1SA1EqhZCug7E4/+enMvapjUKjJYep+EW9p9zUEDqyKyszLJ0DZIgyCnVVBsfN
WcqbrRekGj1VEHmpOP1ggp5BD1U3J73Ja1w7Pk/Jh66cJlhmYScJ7VdLNoIUnrlw5nAkWfVbkXC2
1t+Nv9JE1NWtQeEREYAjD7dI+Amg+ylW5SPEE4QkXgBgdVQvWlddlemaIX05GccQZr9WP3mJN5Xz
1plfNeKMKWWcC1CP84pM9AXWojXCiZZoDVAkvCSTGf4nzJ8QEI2+YXqQfCglDpdU3jYjdc/Mgm7H
TPysBGRn7bWApat2B1aJgXkB+Ek3L9Xwy5sspx62alVy0/+ptXtnXQw/X8tEs5QY62qdYXROgYFJ
gMa61ksYu+DqrAze4dhYxLmgVkGjS1CAFy4pcEKjVXsAne16cD7rmCWhMRYOt12zsQw+yeSbITIi
lDQ8F8YxyCCjeDo0Jhpn7jwCq38pLsMZQcpRXBJR+EeZxirKt/7TEFrKfQu2zMcZI/ND9iJbEnjJ
Q0JfbAX8hb63wZ7gdlK2LVH+2/hRtAJmW+OGgSEYlqxBWbEApESa+MUZuJDmD6JYVADzM9l0szeu
ehKReMmh9GcvF5jbPpnY71mRFTl2Y6bDkdFQ6o5299Hyp86yyWmUKgortLM0JmmpAAA2leQ6vMVx
SYsOWpNfNaQeZCXVbzGOEImbMx2vBmaHsqgXv//q5gwxy8960FUL1/sxOccEZ1pyCxFe2ag3zG4n
Tms1XnEdLXTFlTCV4FB3XhpRQ0RdMqwHU75y/L9Cvgt0SKknJiuqJAqVWlduAn47OXQVLoUYi1Jx
sHpAwMuQ09DYrCYVJJpwyH+59cj6JS2oJJ6fxVEQhkfyHGsXqQ2FC9NOJcQivKiRRxWagNjwWAh9
DMrIDX1jzGPLKFuDO4b8o8nrp31lfTVAwGZMcE26c9Bo2/mHk6NI4MtH0uRfQ5TIwvWRUy10MYtt
kV7VmrlTuSYW3QId+hNE84NW7gn0dFmEwpO+ppSLcKT2wJ/EprLs1GPGEdgwT6rpS0ufPrEafxVX
mvgeGMJdzGxT+aUofJgZwSuewohOSjfnRlvcnOogPljKI6wHz5u4AtLuksmXVn0r68Gz7HlLr/XW
muVlMjtEh9S8e0QOc3ctXnNCuXFOCEClMzShCBSiU/1vWo4r2lYyHKTzvxoVGa1MTfAVaO81guek
7ZAjP2TtG9HZ/x8duBKKV0cms5Tk6Bhn27PCnEKChQQyHfnQeGBLo/U5tZcIkxFJt5bpUu6x7Mt7
1/+TEAhNGuMSSfXlx7DslgngG14SsrOgS09lKS9G86qDa5TOaQDIqD7j4JV3nPvoSDijs/Ej52VP
ycIca0yiM1J3ZVPny8q+F81OiS9h/9JwxRdBS6YEyT1K6xFFzarRu2iZtGgNQrtQJ0qj5ZGlCnF+
e6gGtCszno4ctozmMLqdLgXvvbgfJZsUPQ+6Bki8WRL+oSy6V9WsTFGAu7RZ5jo3jO9V/meG70H6
RcwyYxSw4/Aej8T6TBfGB+efIn/L01uNTqG8kw+EWnBjE+760oN19NXZlz8sPdotsC4k9WD2eGsm
euUvBFPq3ehR4eNG6Mv7Rl5VJpjC4s9gujNxpOQfXACKtAPu47BYQcZhy93bXkXQGC8x62Yy7wjU
KORvxz758S2l5BviHdsyZhe2Mxkh1s33ccarayPeqvVWg/JHJY9QNdG3Fn96hw3WGb8MFUcCFJh4
vCbb2Olkm5l2wP9WtFay8bbMpLmQQhpoJkLXmGTE1ORZncDgBv+9hoUuH7pERj9cL/1EyC/i4oyL
bVHOJ79ZIsUUciHKVIKQTBhSQy/iBLP8b9n0ULUvEmH3QKTBmmExXJl40muOwDT+q8eLGIjHDACx
7oEeElzAD7hY51/p3meTbJxlycQ0o2R4c5A+mPsAfq3S/6r5bOUfOebHSqZdl5e+5wTMmXqweAOQ
MpO7NiGqpGgdVdxMNroLvhaJdRWno79WM6CkPcrJWt1ZuKNgFro/u3lA+jsY3xdMecD/Tdm7T5sz
50hQ1aKtDtMPmK2lM/zWnzXWBF1bTMjVzBB+sMq8CTJNLJFm8wr5i+cGDkhy3GDekkGFBQ5tDJdr
N56xhaZXrcPRgboTbSBptwyc5DFYEMLGo4a+FYdgX2EuQ4xt7rhngnjrqB+zR8FedfYxHYlIs6n6
rcpfNduE2s3mNymBb/E3+rTOaUesgdxuvCtIQRH+qCUdCxjeN23zO2Oj7CFvyQLUfh3cyGb9PRTX
INoYxcb2gmWjswUtckS7q2SbjwiLJoCe/0+zEVRkpDdRwqxHYQcUyojasmMYUt4r+xTp52Cp0mkb
rOT6qRDwkjb/E6lGsTM9ye1gCpa6V5JEVINT82OX5JCBHySot0jMw6yzINQM6Q1DDu5kcNWRmWRr
IKsSDddYgpNj05wTZTcMB8KAyUu6k4xz9KPLyLFalS59zQv64HDgfNuM8oWC3LXDEAaJroB3Uzq4
Goc7Nv5FCpsftnhxoSFWEeJ83bWyVbqiUin45yzDVRg8xCLEFhTnG21tLHW6teJDI600QnJttmni
SlYhAB6QEYSo3ME8cmzBltH1W4SPDxX4mf2Eba+NPqryM0u/wA1zaSOWXWXJxUfGfgcqo9T8KRVc
k8nsQtJeDyEq9MsDw0Va/95NfJ85XZLvA3vYsx+emfZyiHSjk4smCYK6NlL3r4HEi41v/hIaPwzv
AC1+s4Mr4IsXWl8qdY8uvGK6lD9BMQxpU4cvsm7cQU0W1S3k+6iitRySo/yK+z8ZMT0YUKbdKvPc
MXjziXipth2vNExxqAEarUZ5U7Qbub4QG0e65vsE+CFmRUc9ks/rJs0N0Qh3o4nvitxc+W5oZ8C/
mBkITS65vIQnyyEKovD5pBodf4v5y/YKMkWFUwpcFr0FrxaKdqbeygduIwCIr+0r61a98xHG1Iy8
WvMmDdfcP0wyo+FpWkurytiX6qHLsF8yfpGBVAO9m2ycHZyOBL+jL0vlEGFN5V4bNhIdTsnZ1E+q
fB0aUoPOZfjSaJOhl6baiaDjn6paE9uFsW7DGOvB0arx1s44ucutZV/bucFVbrh++jb1V9JFbPuz
tA4aKX8QntBKWCznj9J8d8YN6jbDeDcAuYxybwzPCeC+Us9U6Ig/nHlsyC9CykeCb6nTiQKocKWV
A0D+T4VK7VGLOUuf3swIXsLFGW6jcu0+7Pxdap/9sl5mQKZJP6GkxCTGpq3znEYEttKZwABxnEdC
xz3iYVqe7WDRDWsnOcJRe3gR0SGNpGt7YmJMWMyAW4YSkOI00v9Zv/GUG9FZoPEz4QAMf1r4pnYT
tivKtrDJ63tVPTkRjoCdRkQMCGd7JT4WkPcWg07M6jufgyfBRzPh/5vbUxr9qcQ89dLL6TcIpYUm
OgewsYc/PwNhNr5H4H60gPpI2gwXhW98O/1DORr6wkE14xAveJRJa0XSIn0nuXhL3Jm3mmnTA5ZD
yuCF1I8ssMnh6UJCFUuvlOkAbNa1nL9i2RS12+mkMx9LWRKzC4pSlQNDxOKtpvBZQLOibKfohxS+
5K7ZX0AkkfIZPaZpNVChVtxj0tDj34H4H0fb4E5cYpIjgfQfKo1mVW4KpGLGF9gVurDGYTYNjznc
GOMOuWZNfUSIygszEr6hI4niBjflN/4bmRpDxUS2jZ2HXz7j+S+e//H+0Yy3D4A+1W4D1Osq3Mkr
KpjFCICPVIS2pxuBefIKpd+yceyxlrMVw9clhPSuK422a6brQIhJFd8lfwVJ4lZN36uaI7NA95ye
om5bGIeKABbHf5u1C7+eQg3qm9AcRM5FhlFXBucgmN8SggYkwqz2KswEF1oocKDqQ4epMuKnY/8M
PWMz5pliSSZuRiUeWY39ESlmbzzylqta/iAtahErGy0Kxd1F68tQHwkRQKq4z9fI5/UtrVFraPb2
aGn1uVHuPC4w+7FGL2cDaP52VspzKZ/k9BsSCfG5xJFtJfsB+L6WXpPM9EN7XMTFoqAzrux3S9qS
7YkjGrPxftBslNE9AuNf3dgNyWUs3Dqh2R3hM0arsXimx5S52XdbYh3SqzgCpviz94+N+eXUW8PB
DOnpypIAGzBx/ra8Plfvtv4HwJFw9HQ8RahbUJS6RrpjVRAOtDUUt/Pgf06BouT26HiL9FipGhk4
2wS/QcFjBCBATreUglXOpPUa2drasugXFOzus5denNWXz1HrUAG2naILCN5CU9iTnEsS/WtS6suX
dDTCsATFR4bAfx450CumYxBfpKn0C1Cz11m/PnRDXmNrxtmrGyeSfMI1lYZ46Fukb4jTEZl4UAyx
Csmt9qugBrSUrzlDnzaiNBtWBEIqYHB8ogG7/VXqPxBWcBO+o430NO3b6bgXVK7JRWP8DBFfcAZa
TP8xE8aUHCCcvO5PRhooYIzplxZR6pSwa8NeMs4mfORg+x6e9GTFDLRu6b0CBhCYJ9cHDvQGQpww
UVhMFOihSovVve6fTv6XgMsb4KPLdJo5B9A6t9uSzTMot9Pw6nTy0VEBkPGSXIjnCpkoGCx61Awz
6mBcPTqh+HILFhnQCqhuI+It7Uui/ij22czwFROnb9cgwPTa2RHotfIWyJ9O/ersRbeZNsN4IFwn
kdfDfOy9HvbiKouvlpmuJ9BAzjcyBuScDgb85B7AfqisjbVKS/cfpJqgbnT/NDMsprcJW0YArEBZ
YL9M20/hcwkyFP4B+MBx5LcGGZolhHBvgwdl1Gx7a59W+yq+xsFXP8ARmEuNiDE+a59y3gFxSrgE
/8bmsmTwZ/qgEVTipBr2tfm/LcTnYIIAA76/5bDNyKa4BvjM0Y4cne2wQaiXxkuJT88/JzzrNCQP
nyyBNlWWJgEcoIJgLsXEpkHTnUkjNGvzBtRCU4gl5yqUug+QddesNu2ywtK4h+frMSYnrENEDbeI
HYKaE6xQvPCCML5r9ynsqPFIuBFCeT9OZyFxjLnjwlbykuwFDR+2O3LvSbwAVy3yrYrAuSPBhV03
crDYEImZI0VHTVNbe9naNONqjHOhTyZUrZ23jb02g+eEpCKSjlwpafapRlcAeGTxbJcoPDLmnUVU
3ewWASEZy43Gd79hwU7Hryw6ldK1Cx99+hbzbjTzAYSj2QybRl+L/aBIPZRefXVUXTTttLNq/2xW
maJ9tgN8ZL1PySNiim82Zq8uzeZodfxxFYWde85uKHKezXTtyKsvQo8XEqA8zyQ4+yIMtiGh+8py
GD4G4K6hR64RnESWhWa+OSaxcLuEvDyCNCc/8yz1kcIhGpyAI9kDBRd1ufhsp2+1+dJXVMCye7lg
MYBZAokbgchjZT8Zu75Gv2hmS4N/PXZaeGWw0UvNlj1XAebLTTDsgD8s6Q2vMSAXjxxJFXFDlDhy
qvZQf+DBIuiwblETrxLtremIxOLgWs8f3EVi+DFBpwtEinIdQgr8Y/DCpVx8xlv+X7UX/pW54Ro+
jCsCMiw1DtKf1ssMYXL8EyYmIv+z49Sfo+4z7X/JDMQ8EAAh8p6hq2xkfyG133F7H2eNT/zotzvm
+PpCXvbAZTfApjA2lJD/yeIVaqjxOBbXKo26wWJkBwuyz4DzhsENiTspFffYg3tAGtmfcxPfqrSJ
mkUBAsZOFN8YGsk5jfEv2h8te/rwLjbgoT9r1hlDoCh5Cde68a9NdynYisJGIfbqDAsUZBpRI/4E
gYusJfc/QoUTYt6FnHF4i9rvChuuth4xyHP38meEwJPZZuqXo8ofx8JVEFF/pl92pjJXsNwL3sDl
OMLFwn7oN+o9hMajT3+riqE8fOMxHxSm2X5cjM3oOu13gD5GJkD2T6YanL+pZlMbvM7ZMCaMzR3n
JMczLwAiMvLrvEhywxKenK8RG2XZVeuUnulmgXZIIZASIMt+2u3R0YWMyfcm7cyGI8Mg4rli1hCg
YBAeHB4CMRqS6ujVNZcE8SMRMG5fXMkRJIHkLetu43ebrvnz9fjK0KA2W97nqnhILJd9/VPFB8FP
2QgLSNBfMBhk4Z7nS+zWaveWmBZgER+X/y/6odtESLCkieujvIx6TMtJ6EoIwruzPbywKEiINGI6
XZP1PbDWwk85N98qOUIEkXbM9zZ6b4amxnz1Wr5ILSIP2IWEC4BhN04QplxVmwOICOEmeggB19OM
Mpdc7cw5hQn1oI+RqbspY7QNeAHTT4E65JDFfBJGjBk18LSKSLyhg0P8lXkcuLiqG+AxTv40+qRe
ZzE4CfcYVgXumgi3lfKoub2anDUkuOgGYU4kVQWYy8XIKSgwJJB6uYuxBas9sMo1ru6qepcqisH3
M5pLTfUYq7L0O2finnn6M+NaQgIV+QO+2TQ3ssPgTP8utxODKCKD8huG39h2G4WaSmcPLJYjkQJL
7f+0CujAoEgIbmxWQFLEmB2Wb1HJCqBQusgs3nAEss2YXkfNoM0zUyXdkhKQxWw+MvtZjt85xNkC
LqIBP548K7fQhMASa3wnnJ7Z0TTxIg1Hccpz5AmzcME1NNFGV+2YYYhJotdHXcXUJWs7zpxG/4dp
U3hmRlX36ks0/uuQSfK6EnkUlTfOaFdrLLxsDnPVFZsGxr9sfom3BBVpYv8z7IHrn8uKh9sm9Qe9
dM3EPuAyp7Z+H9Z75oSpRabUA96BZ4mw10nk6i19T2J2AxhPlYvY0hOd845wqwg0PkBEUE7JMhCx
yKg58H+4/GOBkIgvtf/gV2Ri9H+4leFppnb3bPAerkdEJ8AqfgeAsonNvcwDMXGlIanQcDlpDuRf
feFNjs4GInBly7w8YBxEHUW8vHkoIjifq5hzYhCddyH01D9HsvOafGPrO539FRU/ok4C9mIPOYux
BjyqEHkyrIzBuivOhMm3ymqOfiMHZx8HTfWGDkXGeoRQOy/Ws72H1qQ4NsTkJsRFEi0/G7GUMXuB
IGBGZDXe5zEJsSegf1iufA1V0Mme0nmP5qsgkERDTq66ofNFQfFCJZZBRuVojIghx5DngroAmcf/
HFvvHQlz0V+o/Pg26ekreqAJqoft9wSioUZv3fglBaC0zCDImgd48QdHqZAl86RijRRHnGQtPygE
xLaPAI/QuugjpiLCBHULjZtpnvRPGXeAou0zQqRi0oDK8hrybMZHnNyVhI1l29Z7pzIJk+qWtInb
ulfFZzPagyeSnbwYVpYLvMTvBft6G/NbzF+thrJLI9dgZZ4ei+DSbRS8mQBm7pPh0UC+Ya066z0m
RAeYwASBJN+B8YNUnHalmlcpe80Gm3dGi6xLKMVC4+geizWUp4gviP73Js94Vw/DtHVmDdETMSOX
DsaN5QIUe9l3u1jUL5ic0WdbOsvmlw/x75wgBShMccbdwHE2yS4UfZu9mTKc/LznfKOZU/iOmdli
Nu//uQjLs6ynQ69WMIBzE0NTrv3mTedmZWkTqYaeUr5JMTCFklFjTlARUB4WZpQhPBr32pE26UBR
0HyIEXFHXHBEu4UL9uQgvLYN1miaDFT1oBcnVi1i7bhIVTS8Jxl1UL4lmEA8YjrcPlRl2XPAGjQF
UsIOTuOHKynGRwgJsNPXNJDHW+N3MvxVSTpHDBYSE6+WQkxkV1kAvZy/Q32TgfhChJVXYr4CiRkm
+eNxl8tT4JwS/96EP/+Rdma7jWvXun6VhboOs9k3Gzu5sCSqlyXZlpsbwpZt9n3Ppz/frOTs1PIq
VB3gXATIgl2mRE7OOcY//ibvaoLZ3IPeoRUAoDKOGShLXBCGwGdpJ/43XGvEburWgI1akwFQ07MS
F84DVpD3ldrO4KGhpi2WaInIo4cNOLyJjbUh1iEobzMJ1QeZFRklYg51jXSXHZpbE1eBonyPtQtB
wdnF7B9LC942phva9OwxMjOyd81iNq1O84PaKDfW+CIa1cIy3Eo9OfIGfMNaxmvmHc1MdwvHnlGX
GsN6IDUVollCKvoSSrnt0gNAeuKFu/TZxUNjSYguUxcuqyVugFOCRK2rroJ+kWHmbfqzktota15U
y8JYjK9IqKjq9vIcVeBAFURvP5gptBKMvZtNRmNC5Ad/lLP7geXGfEnYeWn9s6E8Yc7DW+fRZMJF
gYrWnkGub2jy2CAMXLz4KjUVRgO+avEq2JjUDC/fEdH0LpII43pLsQAf96a10cZnWKalvUbpb1h3
fpreENI7t0VPmL764VUTyK5/CaBAtrWDJp/xd3qbtqe2uKnJE8hxsBB/Gp0LkgO9vo9H2GPUgmOD
WUsIe+XJ0e8sGifTuhc8Xye91eXnHv8ja1mWOJdiM6y4Wrcnhk5SlsyNQvOasKeNoc58+QEjXbgs
6VrrKL3LR/MdQb2OW38dkhBEb937MoumnhNgNhNYEgiKRLmmyE+8h6ImA8CA98H5hDEYsWMFIlTV
YgwDt2uKXgr1E3cRr9rVdc2Rtpqy15SBk6F1/BtgDKBDKO2E1ZzByCgWW6EjXXfkBuZk77yoUA1C
42pGL155GkdYvJRXLXWyvOwc4BQy2dDfPIb0i2WP0/ANg892jnUo05uJLUEPDqXJoy8ex/y1IPUt
goeoNsWt0l16MR9Zid1RYb4T9NBhrU9gFFIZYYOEN/VbjK7fwy7WS5rFqBJMgBqpY2fddj18fmqt
w6PlJXMNoge/xYkCGfakFNtKnhVgMZa/kt69kgqGXDJvDhwzLMnTziTjpvSvWeRQE0OSgtDfruq5
AzC6F2MwB5+Epjjm+ocykKhGppjeLQN6dG9i6ljex/ZSPerdqdFv80y6ueaYUbVroWNS8fZ2HgHt
bgh25i231JNZdVjmgaHcmcVmIN8ZzKPepO1riV1bmuY8J8zD4U0SKpcLMflCFpTYrdE+IPgQGubN
I7N1oeHX0TQPN1AAGSX7+guTCex2HSG+2jB01Xn+xXAtYQR70lXJVgIABvwP4rvR1ZZE/rb3xHiJ
8XUUfIT9MXG23bKP0HeaJQIbOqGbziKb+qaOVwO7bGRS6i9D5aQ6Rz070PJo0FsgMGOxAOtDZ/mG
tsehDdIF1RHCPKMgPKptPALZdL1J2IFRcYdEXK/YMrUYnge6KGg08Ut3g/3IG5CeV87L0UXPgyfQ
UTNpXKuPTHvKG/BduXVHKVyEKPwgtGERQXFGwcFzb1GeVcI6vLiT6DpkeaupCor9CWnsRW5w999K
b6DwmMiE9dnPr6RTcilu4cxClYbnJ6hac2BKxN+8FOk7BDgoBqQuSXhJ3fowGVhM1L71HS24GEB7
zVHMT32AkyHcOcm1mO7/jfcFyK6DiHy8JWaFUvxmamuf/KiCQ0F5plSO1uPSGg8gpg7Dn2kZmMs6
OWa6M9OMHd5y7QTGRWm1DOhOFQLVna6fmwleFuoReRugdwogJrhBYnJEzvlNeIRrn0sedSP8q3Bj
C+iXk7nta57evWTvpOSA2wVTTyF2Rnutb0vlToV8OgEVVkWziCAEqawQfxHhHsTapQVreQe+Twh7
V8RH2fMC4yoJMmqBOrMhSpnyiSaaGoixQSSo59IVs1wI8XRATINTaHqWTbUfH5ITBvwJHiExg87+
TvD4wHPUGNcSWg72YyHAqplhUQHDptA4AKNTenOihNBIvwmvuMRwhHexBZ0TdjpOUNxfUVeCtRC7
NpfKOeXqIs+3ApcmpRJ4KfHe1JIX/mOYHnHHZSqEk0bCBynTJ6V8UOjragIEJiEJ4+BOsNpi4pqh
Htyp/GGbDHfV1fKXHHFmQcD1ecg/jBoh55KpSe1Nrpe+xDJaRpo+pnQWb7Q2Ce9MwsJMpMWYQXUD
hoewSRXMsJqck9ekYYW+onLwfCdggmYGjzTh7OXsEjhyDZY8U3VqMZJ2YmY6vvNa5NeQIrLeNuY+
XWLgla2Jx3M7CyO+pZjFAcUogK+i10tpCkbMezJWKFRBxRXKHENaptp6avao3tEJM18r9thnoQEx
80UmrJ6xRNhJJlQbty0xMdgk6D1k4xygAMLtFEKpM+sGh0b3XOKawcAUKK221vhQIcpf1OO2vUM3
atOGJdYR2/Ybr92CLhmIkGz2mlUEbUv6qPt6FRTxjJwxcB0Y5Wg0kDrkZzaWVr0PzacssdcqDzBi
UM7iBC5ctsVOl4EJjKXOCrBgP6n2JUSq4jB4PrN3x2F6o1nsJ6uHaTZ05yDAivnNxk07q9U5kV6L
UmW3I+5ANtlgnsZ6Be4U2rcah1uMl0GVX2X7Vu6XkgLNex7bTxXFcNuyxrQd7nNuCXZHeehmhLUu
eC9dp71ExR2RFDjhNbMCR88pYg6D182qyPa9I8EfBeXEnKtka8TOee3ID9N3Fpc4UXTnllHR6EEj
YlMVk3GIpZZwTlW3PorYaQQGzk8hFql2hRoX6TRKEHlfRStNtlhg7zEtoITrTHVrDk91hrPcE3Nt
KYKQrX9mGtE2AJDAU6H/1BcH9TUoVthtYN/OMUAvkmON59ZSABC2Q8hz43XbZ2gCb+F0ZGQ4Mjiv
2RqdkGldfRqLWzt+6O33qLv28rQiHIBirUigeVlnw2cfULBlOsjtki479SjMiQ/RUQRAWfnXAdPx
/DxOR2nOgsBhIKo14ao5byJl4dkByqJT61LteUeY4IkGZE1Nz+BB7T5S7F2C7C0PnyVM4KpXIFKc
4wziiwvQhJN18z7aBxzVAuXTIMPVuYvkaR4OLwbe581ecj6Ndq+aGxVNgHdxtDtN+mShTtk5iiH9
rG1Ut7equkBIqKEPV+dW76+1hCIAFiJhunMMR8LsVrOefYU3HBaRPG6kReSW0ZJGUhyooqvjk8MH
W0je3QRxo+7QZMHXN8S4vXmSJVeIJFRpw2xfBalRYsx7b6UTYt9CGRihP6XqTrYg+mCpsS2Gnu2X
sRAEJZImmPKuodOFs/xZZSTZBkSD3thMTCoMGV7kcKf3Sw1ryDR8VzSE6MrZrFoGZqigxvuBKdG0
HFblEnJGsWIhmuueuX4YPQjgbKQYDRl7WrTX8gSNVselrHELqMFY+TYJYEdIcWk2IO8PeDzPQuXQ
y4BQgIzOgMPBncVJkLNUErRznJKQaSjLKbfAepz1uGKPFj2Qlrkoo4WxZg1SQvVabDgTunAFSB9P
j3WNmeQ+005JetfiJRDuUN9IpWuw3BnnLJwlXblojTCzp5Koi7uUjplwH4Rzr3oWw9VbFbTbCouS
GdAcEwro6gP+mzR1dfSAucuQfw6gIhZ9hlCqNCpoXzq3yc9ReP8MuH7aut6m46oijw3bn8Zm72Zu
4jVvaX3tzHMw81fD9B4EZKigPogXjvGawqKt7r/73G3hB7biAKLstJdeQu2xhcRA8ANA5EdAr2aT
ddkeapoqW1/FxVMwnJUp583blCy+qNsp/tMU7O0n3VnLU7Az1WrhjERiPdZ43IoBNZNkNlphlyjX
sCnNg+RArBVObtzkXhg/CQInMy0SpCgjceb0X1PSy6qU+qY1qc55OkToRQwoApdprUGcJlh2TGmB
1R6uAqj/0cJ047GDxZ8zESuqFYiRobo68520rcjMzglWBPmsVw/4grYLHllRHg0EWrilW7sW/rnK
HU1p4uXuXsYWIYThNzZ7+K6zjnbUO4ruBXdkQW+2u6WYtlSEQlYG65Dzv1IKYKL+JoaEX8PUdZjJ
xhIvJnZPwIGTy63Ci0Cv1zoRhfl7pWObIUG84viaWBKaxXsZ6KSkS6srCDcw8wILyH/Z5OjWm+DR
NQRwwCcBh46bu5hiyTe0G7p8LFZntYZA2EdEhC9IO0DAoA0hLKHpnjUYQ8NJwzDcJ9ijHy4V9v0F
iuC1dskxHovuDBUcbjyqxUmhBy8oFeKXCctAOL7UnXC4q8tEzg51Dji1xp7uRCu9WgzNUReDCFEg
2s9HLqbhqLjtGOKqzw4vGYo5ZSUGBzEHGPaPtnEhEJJ585Z5Hn3VvrSJm5+X+IUK5MLT6Wpp6rTx
PtG3DB9kki3u/eL5++Yjj7A9dz4ryREOD7TPPCnsBRPdVSNAUAwW+7V3rlDku5m8hXXbyqesXY+W
6zV4S65Kjz83xw8AlElLNp4VL43iUNCLDJoM+9kFfp3wy8p2HfczQAuIPISmW5nL1wRXQTy8cPje
C8qGIgzqAwMun3fvJAdr2G/k3sV4V9i9QM6EoREU5EQ++lQw3qkaiVldpVBRytX0AD5DftIwB31n
P6KRi4Lbllevjt+s/hpG8w7hVg3scF8Fe9k818VzVsKXWgqTw96lWmuZPZV1jxUflmTlMrdd/KrK
AtK563l7wJA+ftGE1jpk0oz4VpPZ5D6N4Tz12G1IDPXeNIYfCsLQdWytxUzbxQI1Gea1WlEyAF4H
+7G+txFr4KVO4qnHMsGYIcFFYuOzEPV9zTG4wKczeAUcShgEEMGBZAiaPpuezjhXWNwUG0QyYXNf
K4dRv1i4VaDtgx0ae0ufF7YDylvnxWYaNll40cdkZeovufrA6lQV5FUwOUUHO0EVKjnbLVQpuNQM
0wrbW+xKbpk9cZqKlmtCC9PPSA25GdW3SkHX5bbFySG1OVTvBuVVhWtS826H7Xwyw5ljP48UgjGh
SSvP2zTBXtOfFf+E/avsbQp9n5ibKNmb4cWx7iGwtXhUPE/KGjJyENzF4PiKdfR5A7QNy7pw7gJg
FR9Q1LgyKxqrvdTsDEpn/CRkb42YuZzI0BoVN/OhHukjkCisS+nJJjp1QJ3oAnTpeB5VhN3OdRqi
BLqMrl0G6ThNa0l/UiHDJCBXsgRKmzwP+aWg28q3mKbFragvusBfMH6eVQ8DdGG5f+eGSi0pEtsM
OpKMeX1FFoQd4gSW3wfyJ3ndWDjW5qYLVl65yPUZTtUbbCET2H05DE5TPnqY3DZrQfzyzNuwP0wQ
TYxllr+OymK073OdSnzOIcuEy242trKT7zDCVOtnLbxX84cJKy4GLNIy1BcJ3sPwZRdcgGK39TEp
fwaHmhIC/FpvmfOsU5DkEXq+0715AW/CYkoI6Hi2sSUw53Lq9iaiBD5n2aHtw8oBhCvqz0F1HNBO
wdTsYNLQRmI2bI67gdDqCssRgFWpRUiP4Co6Ym/gtwNa2oVjPSkJJdc+iFFsoZHI8dCwkS76r7r6
GfFZewR4svUG1EJEjive+cLCw++YwFACbFzY2jqVHwiKHJsjxs+1sQfGmswjGYogsGip8Lr/TtwO
PpOel3nCDPY1H98TGj4zJSpDPkOfhUvT7jOvmc1r6QmjJFQiWX6W8TlJL631PrEKJCr4VFAY+wf4
CWFIpaNsCEqO1Yug1NlYqz5wSXI48VhmKMdMgCE9JixFt8Bife71t2JskWrpLFI/RE5IpFzG4B4u
teZDz8UFYN8pt1UCLLLXm43UUGkLrC5/TxG3UOib1orNQYy02hDDzgcHT1RutTI9pc2NU/cEBTGg
Yf8OAg4DB2jX3nnNlhwanpbeLkVTr94fghSPANz++YuxtuPNwRLFw6vxVvhcYYnViElDUt7UAGRJ
bcwajpXIOIDwDJgeKf1zGhk3iTDG8D85/vD5GSKySdIL1p/+FJLRcDCTUyI/6RMmX8N9tJH4cv0m
J8GWIXZFSPuO8ioojyNYVkOTm5vvDsVV7x++Lxygv2ar+AD5vPLEXd4nUNEH7yPja/VY2IsBdyNd
GNyXcKbtEmoLHTk4a6feDEoH0IB5xV3qVsO+zEiTcuni2K5aSqvvMF87b8E9UszwMMLFbGcbM91g
Vu8Va4YeZKNOxbHq4fNzEsK9jpMXtF9pAhl7SeaOp4uHVfo7HQ+IEO232O98RkncPdW8VZSVSseG
ThrRSYWnARvHXpU/BBCMMVwVPWn2gb2txkQUj1/nRUVKWedPgQT8jkn7cE10hIYYvwWrCrja2erd
k80nU57EaNISe6dxG1gzg77a3KZUa8if602vst8JxeWBZTLFa6ZLbGyYiFDRkJYLmDNipUmeDSRF
PIYvCNow+1RwdLLZchzQ6myjyFtueD5cyE+DChRw158iuPBU93u9f52GrVIR17igALRlgDjiHhj1
VT1/u/8se9xMl4A8Xgl7kQHZJqZgGLYGptq7aYCnQPkMtAlQ4kAyXFnrgFeuu8uTD0O5G7oFvifO
B8irlX+U+W0cngdzO7bLptnBtO/hDNZwwKT9oN87wKAExNX3Oq8FmtzoU5EBAHNgp/oyZXfe1ejn
dsikfWcHRxCTLlsl1DQtoElIUlB+JcaWMXVCH8UcSNehJOIrzWCjw8cKZiO2A+k6InQwCVw1hZO5
iUgvUU7NCFzkTtkS0UErQcHBORDKlPaQQQ6v77r4GEbPI9SROgZwmLqbyjg0EqSg+wzaA4Z+OQPK
O5H1AswjNedy3AqzdoqegYCiDVM/y5rbFVPx29A/e/KlKd9q7Ryq71KIVzpE+2Ib0325XDKIjhJ6
vapbTN3K11elxWsb4xa/9zJsWx6SEsYkMk0w627NC4lnGBNwLIuxrx3rp4GCvsKUpV2izkAe788a
8UHMLthU2FjY8rnDJofNaASdOXgFjshrk6xuns9w06CZcEWyb+MNq4xgRyAiRpCAMIh31Z1HyoO8
D0O4o8SUWCtLvY+kR4ftH6tZQTdcK6B69cBL0y9HwjTqTz0q3Ip5iTmumHOkqA57zIFWqnc/5ItW
JnNnGfcSZj17K/yY4MN1hTuMLINZUcyo/9ASFcma3dd03jwmk9GDnbgEtZjlhth6t+EsDnERwIcR
ui1kMKI3wvC1xO0G4X5f7sN2qZt0izvEqGZ6HuoUlZag6rlZ4BZ05xZ18vjQpNde5SC2DLomYQ3F
rJ9qKyKCHPQ131vdnYmCva7eJG1hD4KnCdmlwvPC7I6mCpMmOpQ6S8tG74kwaqdgDhDjuIz2EWk1
1lO8dB5c+A5Kvb7GR5P2QSfXoYMgiRQEWxcxdUxvJSkig3E3MCFp0QqH3UPDx58MdJxzfKu6hygm
CBUosMaib7KWHQ7a5bIbNphx+ZEbW+fWofKhvlBQlqAC7PAQCyBjImox9tj3ptZSw/mh63aSdl+0
b6mBYehDX2+kMaE7f2JgGKGO4XxKDhBhG21vwK+xzsQQMCDp2TtxHk9Dlho1yZYgF328VsXOBmGu
uFnLfthq074YbkfpKolU77fEdsHvyaCf5JUevcLVsWSMTZBx4+F664zLnP0xQ2SgIeB2LmV9N27D
7KkHtACjlkHfWVBm84knpImxZrXgAIW/AWKU4CQ/PnJRkA+McEOZ1rH/tPMn5KQtCFjw5jks9E2C
QYYO08stTP4SPhoUltGB/EyLaUfU31rDaSgf8v6S8cbUBc5G45tk4cKI/j4Jr2mxwLHW4pkFG69Z
SSrQjHW1zbMBrAiPnJYB+gzxsgWN7FwNzlP7amDcoij3JB401jafto620bN6Bk9WruczyENEyciQ
7wXki8G8Yd9iXMNqyKBcEPTSQJI4FBj1+sB1BQ2eqV96+W7KrsTtiSqn11YSh5OwFYyQ5TC/rhiL
8pUYv2f+/Rg/mNabeGXBYqNHoaMm/nFW0q8wLAJrN6pzZWwV9UTw1yT2CDQyVu6G4XML1SrlhG/p
/pMAXDR8FlUoqgOaXzzO/BbGxadHm43LhXLo/Md0/EjMaN6HgCyDTejercFLnC8GDLWSFBPwY2Fg
UWxXd+N4Jtk1JcAjfuMJ4KdNkEPPnGagsUIVBysEz1CYm+YywWibf8WLDV2fcS0+DYVNmO66J9aY
gjT23xyoeFSj0N1ZrjREPJRKxR/G8oA977jphLpRPTPlSPlOrcHc2RCREq+1d8KZN63Z7dax81Di
tIWLjPpeZZeCMYUFnVa+p28sMIFksp6vWeCF/sinT8ItKei8p+Vwi490g/DQf06JAPNwUWaKfe/4
KN9RCZw01OaY34opSnSt+w9uY9sfLXsbpg+yswQUpdq0w3OqHrlVtrQHIA18jD32mYOr9R45puTm
5akE6/X6bSvdguqNoE92tcg6z5XqMxa/Lb1VfmArJhgbHBiycFWLcQtiZ7FwfGSB7AHaO9sgHbZP
TGo4rw1MU8ubVi22Xfo6AUkiSfJXU4+9wi40LgpwSsuAocecB02cxQmGa9ohiLEUeJLMTerngCE0
MJj6akwaGAwt+EZ4tErNQ99tp+UUbbh0MjyI6osviAeF8DphpFditL9W9WNFWHL3oYw7T7oU1u3o
7OpiZ3YnhgiYosbjMVQ/jLjhDTxV9Tmqz6p8KbJj0s9jcKoMSuOcd8QfyIj4VLyLmd73HHfBUppW
mMxXxWMed7RdjLV8zHsRkTTMALUHOz+P9rEA8Y/SkwoGCY9XfwvwfprQUAPL47P/0k3reIK0tKL7
QbeTy3dReRCZvAZJcxO4GlUVbGZclhXYyx1+o6vWejDg8XKX2U6TdCMPR1U5EPDjRw+6Ny2donDV
OCJM97aHuq6BoEVUClyD3wlwFOtL0EeVoyjc5MZrklozr7cPaj3QGW4UzLG1tVG+aFjYO7q0tlqQ
eetUMvsuEMtx+tF5wXUhqpedhClv/9lJZ4y79OB2hGaCzHdRVndFn8ylxmbw3a6BWc3uHfM+yFdx
57Zg4w3mX8sYwyWpaqAwvQ/Fe6HhC+E22jZBQTeOSLE+dYgAmf8BK1/ykN6/dMVz24AD89WBZG8p
3A2mWjDl4qUTPMn486mgwxSTiylzq2jX4Lhl82pjM2qZNNYnn650nDGgGPBJ1teyQnMRg8Z6Jzw1
tfiADKCudon1phtEpcBjTHZTse7NQwkULatPMfYheO/h2KktEuMtq5ligS5ChnLwuKWcj5+H5KJY
uKijddOp8key7xibKBGQLDR65Rz0z726cgZ6oYf4NbchaTXsOgFmUfXVaClapNcJ0bEOp8QShkD9
llxiyEx2BXnHDfnIRsU5X0H8udb4rkaIh3ZsQEUB6w/OJZtMPR388pRjkiQZtETSSxq/wDSjUSlA
LKDsgcI4JA8wm0NgByuhjBYy8yO5TNi6Nj2pXv2q0dyx3RT9aymwmwYuXnvG5FBzOkDmHWefB3Cd
UL+12qsHDDaB28yangE8bVQQX0Y0Gd7WTldVuyJdhUORQ5XzK8ggaGgwPFSWofJojBSK8bnFcYZz
i9GyLx+ESDGDKsKslpdMBWInEt0VBt2cm2J/9eHsC559aqwDkikoILQNPfK5Ny9CFSGv8ArD54Z5
KN/MH07msCnKx5zCROog+QxvgloT1S5hiqD/HA0evPYeEN+EIN4FQuj7KAmbDOkaeZ8WcFYO/2if
d08TIikJNLVlO/KGO129WNZdLoNmcO8UEBk2QJJHS4hyjJT0A1nFwibA47KW00DOgYQsXJIIBUie
aolcuHWUPqbTI8Pqw5SufKOgFX1u9BM1FazpmrN3mlyd3T7AvQL4J3AICn2dqtvQ3LCYBNlc8VFx
mxy7pJ7ZEpnj0E8r8sVZtFojjDRKILfP3n+pQqBbCPopuLLjOgQAkOn0AGctGp+GYUPjZuu3Un/q
x/eqfHXCD48epDTJLrA2WYG84y7n5+SHdA4GzzJPDuKqOMVMAiqWTbj1m4OsvAKDCUyM6OkbZZ2L
n3va3NF9Ys5iSG6PUqVA+6HXDDDpkACLmIkwsYqevv3xX//8n/+6Dv/tf+THPBn9PKv/+T/89zUv
Rj580Hz5z3/eYySQp9//zf/+zp//xT/34bXK6/yz+eVvLT/yw2v6UX/9JfFp/vcvc/V/f7r5a/P6
p/9YZE3YjKf2oxrPH3WbNN8/Bd9D/Ob/6w//+Pj+V+7H4uMf3655mzXir/lhnn3794/W7//4Zjjf
79O/bpP48//+mfj8//g2C8Ki+vj6+x+vdfOPb5r+d1M2dd1RVEtxLNU0v/3Rf3z/ifp31XQ02XEc
yzBsw9G//ZHlVRPwj4y/W4psa7amWDb/T/yoztvvP9L/bpiqLtu6zh/j/xrf/u/X/tPj+8/j/CNr
yaXHC6D+xzdV/vZH8a+nLL6WpRqmrTma46iOrpmO5Wj8/Pp6DjOf31b+FttRkhXDpM7AHxbwNnHs
WKoLouNm0SfspIO2JBJvpT5h2uiKnrpY/HCj/v2BfvwAivrXD6DLuibLtmmofGW+6Y8fYPQ0tRrq
RqQwecZNyEhTmlH00THNefswJPj19cSf+/J9uZyD3bghbrul/Plyfqmh7GHEiDIvILgT8l97+fUV
VPEnfnUJ8Y1/uKW1WaCWS7kE8sqFfPIP6jI91DfJPF0ib4QmwPzQZVR0r+4wvJiX219f/6ffELKu
bWMRoZoWK/fHyyu6GojVw+XVk0L0of3y67+vWj/7fv+5gC2W1A/fT22rSJM0LkCq5Rwf7mo9isAe
5P03cN0ZTz0OLJ903RzsVexijjdDbVQsDcxSC1Be+zdPVBVL9C/329R4KXTHUGSdF+zHz4OLYmFX
iSE+D/TgM5YZr/osm3eAopBzIC0kj/A6GUeqK1bxvHpAMveWv/36rhg/+RCKI/MiG6olm+aXdZVb
5tg3Q4crqXFK+b5GDq6r3Pz6Ij97tCr7hGXIsmbL2pdHa0zB1Gky35SKqfcuSsSexO7+p839Ty/j
z77FDxfQvzxaOeq9bNC4ADqTGQz9mUJlaVEezqGCAnAP+xRJYbCw5r++8O+u++Xu6UVet2rFdZXE
JqWEWh2FQgnR6f/vMl/ezLHHZjIYuUyoDxjGDcce51MdscivL/PTPe3H2/hlU7VUNXDinut0ruYy
0I3jOQgb/ATEJISYf/zu9ik/eyV/vKBYOD+8kollsOMN35/bwPzPNXEwwxQ4A45bl0skOcRS0Gen
yjnEIfPX3/Y3i1IXz/aHa8tBnyGj4dqSdjEasFoSiH59BUX/2ZaqWabq2Ar7l6F+WfhyhfhKKiJU
G0mpEAPWgkU0eUSyZCRqZ59w3XxSmEEZ9ofvaIt+khHSaDDlTQlPJGxJrk6tRUvPYOTvexQuo6Nv
gzglpsIkKqm2YCXkagRK3CX2zKwkQgvqTMZfwoCi0aTA6oE5MEiIHaLdaAmLFF6nb0DCtiUMIGTJ
evKIMQwFX6+1R0LlZMYeaOg4yMKa1pmT9pgMIfgmv48iJoGkpZcISuPWcgdD1sgnCNeIqZL10LOV
NlSfBA6HuKZOqUcmTkr4RVSUy3DUgm0xaRLoMrFXnmW+aXW6HHwKUQwe4NtqZXEzkR3QRpw7SWKc
kgrxeKy1gLtemW/GxJ+WZQlA15a0jXmg+/MkVxG7ZV24s4RUOFOUeVd0c4W8OjOSMbiocaaMw6tl
h5SqnejdAJGd0W5WNqnZB0vWXoNWWieV4yqetMrM2pXb8DjZ5iyMJLeiUy57+O6yl97VNByugd8o
29mKW/84+kzj6z6d+7rMQGPEuclrqkXdIYS2YeMltneZDGi8k7oNxu5gOJ62+BuDYFCQ1iFPq0Si
OjafBk1CnRFzWnfl+m+9bqt9YPkQ6pNsMWYDmBupfjKukJqs70ItAk2pMQywA/o7ZOuh4e8KTcH2
IgLLy7X0XUJS/7eqsPpcriQMWOoMLC/SUHzb+mtpMrrLcjwhmo7hwa8XvVjSP55qJue3bii2ZRqa
qqr6l71KcQgi9h2La679VbppVqg5XHVV/6Za+OllbGIITY4tw9G+7Lz9KFZzqYjLwOkkzhE6pivj
2fDrb6N8PaTF1zF0mwLPchzT0MUO9sMuYU4V2s6oh5A66+bFfX6ms17gB4RPkUlmNHKU31xQ3J+v
9+/HC9pfLmjldqkGA3YaG3GQxcIUiAm4a7qMzhEJ/uZxiSLjL5fjm6maLluqbH653H+WouwwixNL
0GQtdnr5WbA2f/3d/lJhiptpypz0jmZT8GhfLpZOtWyEKRRC/PFfzY2811zeOog/M0RsyytObYxJ
brINgsV+py3iW/3860/wlxOOT8C6lC0LLrloG75s+i2WAoUmJYIZhwP4LHLZJsUBp87ZM+/b9Hcn
wE+Wz5+u96XGI1wdR7iUbVicqNMa3i3sSUJ061tmAQuM91ZTkv2mKFHkr2WJaTuKODk1jVaL81V8
qh8WrdxZQdF6IYamkfJYRs5xaohgaSxSkWUU0+gRpdSc10n90EmyfNtFVnMyDOL7hihcVmAM06Ti
7KDJ0q2fj5gqRf1zPHrPrcx0rC/xvjTrnYxPdlg1j4qEoMR37othJOI5awF7hVTLmxzCUzgHlqaK
db5WDkjdlOHZs2pp6wTlmdRtbBzydyul5DblEYyMVHLL81y/xYqpsnIoaVmAO3zerZJUUW/9EOfZ
Ii0RISO4eByryVxkoAHz0q8flLz4qKY6BBLUiIJr4XPWOalShkXMcyjBCjDM4slpZIZS6s7pnIfO
TNu5PFRkpPRVzlmWrmRC0W3V7Gd2y0QvJdkqpB1b4tRM7kJqXyuLYZUFo8opxESetiG3mBCMpofT
tMwEIoz9EjzeGh6zXHYOJccP0FWwCizLrb3sfrLCZZGge4985z1RQMGlclhPmgltvGIuHmYghXUY
nPKxVzDW0RiUqj4Uh3GpNCOufa3e4iNiNL/ZBn5WDJm8mLRHlq1YX9sAiIqF4sWcSF1mXRuNWdTg
1+bv3gbxfv+42dC02zR4dM28/6zML5s28hsl0XWbapKO+UA2w1xbwX3Z8P4v7WuwGj6Njei7GNos
fvPi/6QS+9Olxbb7wyuRerGFMoVL4874pM2nVbLF2+mGJ/bbwvLr0fT1W355+/x4aIopdGC61MMy
HRXcPkyhhYZdui5sLKFbdOpKuvr1N/xZO/mnbyge8Q/fsKyzqElMC3fpmbdnqAzFd6nPAEhPhHHf
Ytr0xDtLQve0wZeBfhIodv+72/z92P3VE/6yv+KXgFd5zm1Gl1cu2pVxB4Z+rHYkYF80l3k/Ep7m
k3fg8+ov8GNbY8S+FVshTp0LeZ66BPodf31jvp5wXx/Hly04UjxHzivuC0m8y8JiYnob9Zh+lb85
W37yCtmyqtgkPBiG7HyFF7TK7NPY47Fb1gNZGHLl/+YdVf6KeTngXrqq0lJYmm59ecKhEXVlj+nF
TF+OCxKPl9WWGbCbYPXy61v29fwwTAeIjq/hyALFM76sYL3wgt7xYp5i/aSoDFRhHhr7X19D+etz
4SKggbZqGwr37MtziTsl7XoHVxXvRcHRKzEW4QrQOlw4OKkl8HivjE7QVf2u6fzZl6Nk5AmZjg4Q
+WWJqn6i4e1DrO+kf46Cu5FAN4Dm8Juv99fl8H+oO7PluHFuSz8ROwgSnG6V86QhLUuybhiWbHMe
wJl8+v6oOn3KTrud54++6qiIDEsuC2ImCIB7r/Utj8KpJeeaCv/N5dNfbkfLDPxScXnkVsONO8+P
tuGyuSGD7p1M0gVH4iufmvh9jWNIztwOpyzTlfrFGidjaxrEwMembYkbW6sND9LyJr6dDzfudG0x
nyfBr7c6p24mB/VX3TE99+JkXNhT6aYWRsIG4eMq2NYbn7C8EOPKHpwroqJrH5z4w1vKQwwl1/nk
xry5qPLgGiayQ+/kXHLF0T+PiJrlU7cKt3OIcI448j8vEnCRPw15sWNZsASHQDBknb7H4+esuvIY
c+2SLj6yalRBikYHCmj9gCQ5RRF5ZR7+YVKYDo9jFON5JBMf28ZP24LdJ50y9WJeNJJbufJ306Zg
+hH1Axz6yljzR345JRzTclk2JGuIfXE1ZtWLKdDAbo4b+QDcbmkv0rvkZH+bzgKINkwBczVuVbka
rw49/+jfhpYGtRZ6AXQELiotyPGoI4XoLOhTHp31XLAOjuPaXMSrcnNtVvz2GMHFmc5/j+boFzOx
SH298UtGkw/E2S5HbJDJAosA6pQDIQBvV97XP3yGH6u+R9I1ZVJxcXGjyEWqOZ3J4cXfZDwQzmYC
XPfxYdzi8vkPR5uf0kzWD5f+imWLy4sTohjKyTf0RX6cRxu29Xo+ls0h8lc/tstF5HKsi/urteqw
NLjTuaXzHULibFXgY2uX2CioQqHubK/dD5fbzuWIF3O06sxWjiYjgjijkz0fSnyW5fzJIN11Qag1
iocbg+XLX115Xy83nnnknysjF9f6b1VnMpy7nCKNO1drhAVDJqaAM7T0P1nef9iCEJa5xmNQ7Gnm
qo9P+WecuHMoB135pX7/ADyO+7o5NyFsi2bfr9uU0TYxGd41RXJKejtjJcE5cR7XiUjfGLN3gTfi
2gSbf+bP9+r8ePrzmPPv9NOSJD1PMSxjyo0Jq+MGlNkSfh5RzsPnWQd/ZSu+XJUuh5vX4J+Gq0TX
02thuM7Z2eXZ5IFQuk/I9xoYRX9/Oy+P/pdDXZwt9GFq3SJhKFhtd1pKfirF3VpR0RznuIGxcs+4
Q/7fxrw4aEy6rIHqMaa+t9bJPto07IfXK2G/z95fP7SL7T5OapHzMgEbfyNOBoPAW9v/+Pul/Lau
Xr5/7q8fVZdJNwQ7ik2DFqR2U9+oz3NXFfrZqgRNfmW035eCXy/pYlkNU8sP23lizMadFUEZ7Q0A
oAU5lFAPMdesIf4BrcAVguzmyth/vgc4yOvS0aVx+cA9Ct1sh7acr9R6lyti2G9xAN3EWzBTeOSv
jHa5gfzzvv472sVdXlWW8J2C0aolVaGG3kr+7H8aVuJJ3157W/98u/071sXd7Yye7foogFB+hrso
zF4MANqR/6NrmvdAGbsrl3btjby4u10xJkYzMlyzRMgUbdM1sju8VIS5/k/68P+XKYokAm0En5t9
MWlkFmp54DJevIu2rrVE67lE8rNItxKX9NX67G+PSTZ7PuVn3rT5mM1T36+3RCTlEI79hFSNJ+qe
TjEhjDbKqpV2jhbOg/HS3NrvtnED5//a8wTFdH74bys1mwKHbVvQ/b9YWzRbRBooSIgoUfhaj+OX
uAEiVtstep8sF/jLbARiuQ6Cw0QAqkXy7ObaW9NVyMkVJTRjrEGHwpVKhNw45ADKKtn3fvKQDGBI
DdBdbt2kq6xOi10bVcldnvdk/PY9+V11ipJtcqhgmC5oiTmqZM75ju3nWMsP2qDk3ZR6RK4VwOO8
BPbyRB6t1cl41dVqkxWKHxKCBbRKhIUzawi9dG3Za1uCzAntVdN2MOgozHguxrPRwArb2R7OOfkQ
y3ZnOjSZPJmcM8vcwic/jQpVe2MdQsN7LfQWN3irE+tMxlkcHVE5rjq00GUAuagmFrhJhxkhMARL
bzZzhVWg7suJ8p1qonDb6SMS6TZMbkVMgw5BsbvLTYn5IrOPhosLKemNHGZ/EW56X4NFW/f6tlW5
vvIGDaEqIJMTLaK3USa3TQtktVLWuNa0FgZKp5/bWO/vcyPCzjH2/d63Gg2yRqSvmikcAXSALpM5
5NOJTBO8BFaBhC6UbrmVdRLtSBN3N+QGjfcNov+1ADC4desIpCINNM3PcP/TU4vn5ho5jXuDblsF
mWXgSXip6Qa0dRpy2dyaK+cmnW9kJKAZdoNUlSAhd5iKPQRu4pHmBp8+Wjwt0POjU7rL5iZgxEeP
fYvG4KTnm7b33nqNLbuYm4dtkGv7yPRriMW0FrW28snhKqL1AJD1swTE0c9tyHZuSFp0JpuOY3ql
6eAvZ1t9oMF6iedWZpH5q36cMDImiyYB0BL0+J8cBwzs3P1M5j5oHINtKYNqEc79UY9Gqdv4LwZ+
pImcU0WUhQ4koW98wHYkhQCJue/q7mBl5oSynZ5rPBj0s22YelNOa7c3QewkUwD5082RTCrzR+oA
btY1YjwFVDuO+asykngRoTj3KiqOwdzsree2r+YVP7y5EezOLeGc3nBfq29V5j62c8e4KChS+2Wz
Zon6ns9d5dyefrSamYLNtcpvVSuLRW6Q8ZeX+3EOrJ76vWs1Ry2rv7r6dKsGbdpnPjxdiFxe374O
sEI8IDGqiA8106CFfk8y6stQQHAXuI6w7Wv2N7ciEazHv2sV/LNu5aPsnNJh71gjuB4Tc4V+CMp6
ZUQvVTlsJQx4ygaroorm/ue6JkAN2cEuQcdP1evkMvWGNFtVLQlcWb1Jx3GVtWJb6IReet6nnBu2
FUAKR/0x7YpmU+Gpb4IAq2+4k9L6lofaIRowHKbVVlkV5lMUusWnxEDo7ATPVYPeVd0B2H71cDG2
SqHaxWHbDvkMv6Qz2kOEcTHrjnIEvp2vw3A8NHyztLMnOvU03Ctsey7w9PpFJ2Qj13A0BWIpsQTy
6HRfd+w9zMEx0NbhhKY4mR6iyN6Zhb3Wg8e85NtkMIeegTHlXfl0+3vnQIUYbWaerOJG34covPQa
AF0NFbXPxNqJUX5G3hYh5U5Xatm1n9zQ206Nsfbwg3ToyCP4GFP+qlvEoVGBldwdntFAacoekqzD
3B6B/x8yc29gBR6CeFXVXyLrTTViD3wN9MoPXXtO5szB6MxRb1O1OONB7PY4/iNAiraz6FqADl0A
dJAcrRGVMCpqDQ22jmwo6zyyDhTX8tWrJixBQJ/d+nPYxJui6Be0obZBMr1UPaUbPV5K92VStHMq
upzpa1POzM8RXBChkToHBpdGTYWXoE2wGjfRZoz9ZdhZrKrOxsW6ZPdcwwAjXWXrZk4hnFxBvi50
OU5s4FJ9HBkVMcBRHG1jCLi2cY/+37XLjd3nb3xS4O1neArwJoGvsCAX1HCDbRLCUNUFsNqMiB38
3yo7aWC7c5cf4X7np/erGJhhHHFS1By096ZP/xA8oUjCO6cxezrskdzGZdqu7d4jzTWv9ZWRF+6h
KWW0nawm2FIvJMgrIwh6bLJiZ7aed5zM0blL6FPguPeNtUtzfZcahKAGZSwWrg0PujYSWDa+apac
d7JlAmPGHABmRHV9aEusCW1yH5c5v+mEa3xMSFVMAtAllgi1sxlP8aNd1P1jXNTVXWd06jYrInhq
Vhhm0IbakpCKJMf+ZoPu8Xu6UbTpADFk3oDT1dq0RqJWSBObha1FDea75lMq7Le6HT9LUZVI7wEZ
+dPtEFXBfa8UTCH+uV5gHYo9E5dJu9MsFN+Bg4J/BFnnxqepqY4tToZSc9Si1Py7FF7nGPgvcKM+
tQaugHQwQXhY2a7oLBBO4jbV3K2fpT98EtOTGrqOc9+5IB0mvNXwKNZ640Vw6oaFYaZbo0Xg4Dls
IohNF1JhLIpkcVt61q5qMZOE5GcPijgdf3LgbQxkgrTqB6GaDXYRHfqWNhIxz7/Se3IJRfDIR6pj
cAnux3pcRWwfZZ4cnLI/lDEoHNsKEWFEocGcJSSvYpcN8wmoiMjEVk7EH1TNj6rXNnaEk2waAqTv
5joVGknhWJgaVYL264nddfMZxb41NRCWMzpjign0TQjJHfpdAjq6r+PkGJrITHwIYwHGJCeKv0UG
QSRh63GPup/0VnyJGiChvXeDY/BJn4qZNlo9DRFeLh0vhXJfxsi+7YX+2cC3XaTTcerib1ZLINAU
tawoyfS99+13a1bmV1OH45bZGyv+vk3ylQv6rTRqrC55dB9LhZ0uIOzMD2jwj6CPTfhVKi+spaww
vCdixt/Z+pPmmEe/gPnQFShnU5hesiselTbhEuIcUQwPwgzErhxdjBDOAM89X1mq+dwE/puv1MZz
vW2SoYrvSpAGkzMBzcpB6BsPfuO81ywIOTMM58yZWuSJpDwwYv6J//ut1rxzWKS3fV+vNdcj2sN7
Nrx4b9TFLsEYZuVI7AzvMbHwfPmueIyESyIRFLa+bV5UjknSY8YAKEwl5Dofjo3onkqNU1MAxk0E
gmg0Yh8Xk1Xfmilzs7RGwHgi2vkh0e6kkKSS/LEp+ZwmyZd+NDbjwAabQTjP4RwEbfY90NxzFXLL
uaV4Z/N+tLOZg5BoWLRLN6QDXJ6EQet9xBlhlmP+XLcq2I3e+DrU42PZm5s5iKmxR+CEkEprLV7l
Q8xpYE59NEYLL4VbPIH6XTIRFkU/gHViIg7wQ3J3+pS1Tr+MsurWnMb31hjwU9GuJpikQMTv7TM9
+6brw97DzRxNIJiqGdfTmQGwjf4wmuaeG2I/uD3GbWeiFVGyULLlY4cilqFJ5Rsegu8dy9KNC7za
LEw2JoVnTgjIUa22pc2+nlwoMCM3j9AgxcsKWBZoDpfMUtvOPqcxxpckbA9Cq09OkW0sLT0lzo9s
YGdqrPIxradt1Gk8CygTMFRpUPNx107VvgnlPLl68B4GqMFKW2fRMrUnK/RJbEvHfTeYRHUXp3CG
iPXOq8Xumyjze9QROCBq67uvj1/rNn7tMbyADKZF7xQaMdUh/Lg8OhXzKcHT8k8K/D8e8HstI0o3
jJJl3FjpVjUQIzJmdNXakFE5+JA0Yex8J9BXVYT1NijTaSF6YG5sKlqLcan3HiYgP1UX3ssqfsX2
/Vm6FTa7xNsOY3kwQFBlOsE7EVF1Tcb+bsBRTVP3i1MAnrQVQBYLWkMuntlM8nUnGNTNrCeaKQ2W
KfqyU9zf4J0+2Tmh6/Uc7V3am0Fm6yKqnnTO+Tdpru6nYr7Pp+zMUn/Mc21tRXOeKPR3YOGHUWkb
t4NZ5+o7YeHijC0Ohew4hMmNBFJ3ekWhjzY/x9upA79ndi88CrzBEEAXKNYJHtVOFdugsMmpbZ4b
MvJoAy0FpnOjLQ4qSu8aZbzK3uoWppvG7F/hSxjDgW0Krog4m43SKdy0Jg/9o79W2tAtE5tzw5Af
lBZ9FW2463XzzrTb9yq2gLRrbr4IExNfqC5dAi2gzVvpj3AMCH/UAhAu47qSzTpmrZB5y7Luo5oz
XHh/dsevO5R9RBJZRr6xFqCVH7UvqDEXoqlvVT7ZEGxgcGtfIhl+ifOEaSW+R0kEx9NtHiTi9hQ5
B0H16Vpk1t6X6V7Pew8dofLX7ggu0St7hehQ2ctc1MWttCCPVxCBZJNsys586grrdRQgLQZwWsyx
W1dZzwghNTIEAD7ajcQZ4WePmWdmB51IVIOP8QZRB2bblHQEqs6l5wBsLpK45uDpV3P8r4Uu3lVF
fu9pNSWUqLu1G5psXTuGW03Dw5dAZIhKnmxlWZPJUUdviQ8VoyQKefaGc2PahEBUcVgdszj/gm3X
2GUdmDMeTAfyV+L8tue9XtIxLe+sCGl7HS3HSXKfIVgIoh+ppZ5ZNZ+z0jtNBRAn7tmTjqVWtHS+
4zg6G1HwGlg8GNApXDqqWndZTLiF0Z4SCweqk7mfE8OsF2BLCmZTGwI1jtwlC/O5dQrASu5R5wod
EYWbIS7vAx8q8gwZjmf2HNzTOw6fGzv1R6Az2oNeNwf0sOYq1oPoq5UxFYcyLc91EqckJevzOWqA
fOd6bDJSna1y3CXmcBd6k9z2LiSE0OrhHZFsQKoPXpSudx+NUL2YDQy0YdtYY7ScLHz1estn3Mba
nM8L/E8ZK6MP1sPAMze6mo3Rd8cAsBKnjpcumO4D6bQrU3MfzTJ9kmwhCdl4UQ/9PFVnLbbPjce8
zPL7EMuvFlUvUQegjZzkET6E/DpKDqsRgOqbIS8eyGxcBSBECQ49O517KGW91V3/vYErrLlmsDAS
9I5Eeu9EKx7iEJ5YrrvLsVH7NEcdHOrlhrg0ntjL8NgWyafUajZl6BAIVwLWTRzn1RVzjiTZLpUT
3VX6gANY9LPUG3ucDtxBtRa0oCLfs0we8VPC7YLi6UuIkQL2s2NwUDD9jDxlb47L7r5Kko96L/wq
IUDAVd+woi7CyT4F80MfuY1DTkrGVCUPXU4a/cTjRY4z1TXVbkiHXddUG5kOxw76T156WO2qNd0W
uCCe3IVp6d34JoYIDo+Pllc/i6R4SLXu5M6nQYNQyVDkb3naHMcm3NVWc05L6MCYqXJO+8Dpe427
Kp2wwgNonhwX+G79oLxuE5vFiiDuXRBM9rJsLNgwyW3kztlv7jFN1NHt9J3NDgozjQkWT9mr59Rn
ns6XmFewLXp+sUnKkN6+1EirBgFim+9uYD1HAxCRofXOWgCGuM6DTTEHRg9zPUHysLJA/8Wa1/Ou
FHq5s1wqIJ0ncOaVcbTqK4egOndra/K+qpyvNdI/qLKQvTQSb0GMjOYi5ZANozb2YQ3MuGcnA2Y6
IvkbnAJobYHmZajkd/RvOwiMx1I3uudqviZOWenRT5WExKaFK62FBO4r+dZmdXtKp65eBGMNsKRQ
LyKOZuspXRqHW34FoO4WdwXynQECuRXU38ug/lxNLeD1LuLhb/ANQscJY0hN3KZaiEYwmdWCYtYN
eqQEL+J5FZVtPgDwQ15Y+Oq2ngWHZFPsJqMidrJZAQI++7kBzbOU/psyePa1Z/EiKhh2nFnQGM7S
xrSsxk2N2tFipw5RP7oQkULUkEDumT1leaVy/4eui2HoujA8IR262hfF9IoKj2v4WNjr/FuMJ8L7
ZuRX+ke/mTBoDpgIm9Hlzn05w7poZnuqs9smQ+vfL2Ab3VpHaxuvXTCF/RHq7IsLN5Wm4JrD3JXS
/R+6EtJxTLRMliWQ4lx0y0YJ69Lh3MXAgOwOs4qbENtFv6uuy6r/UMn+ZayLSnbjIPrpPMYa0XG3
t+my+D43t+mj3xBhvs/nNACMBNcucf58Lgro1KQcXQjX0mn/XlTvgzDvRwjKI63O7BZYW73A1gLy
lJvOeyLQa5k9//1N/UMH8pcBLzposWM2wjcZkAz4Y77ONtgXduneudJ2Mf7QdrGQB1jIBJAaox7/
tS2RDXnu8wALovvzgNCwXOcAH1B0Ryt3mW/lpxZJdbXwduFN9VWty1N9MK65lf4wfSxJH8ZEcYfm
6UMO9VNftwsME7pta6CKAAf1BTDMjhPGwvwaXxXE/anrgzvOoE8+WxOdjy7NT2NVgZv4VWHNNgDz
hdrlRt9NC9B/iFUDIgL/48/wl8EuJk0c1VXYNgzWratdvenIAZbrbH1NL/aHqcIwiHVQ/tPLsue5
+9M1aYETm1pPvo++N9d4y1fBTttcd2qIP6xhjqBhRsnK9Sx5uYZ1Y5CHbTxRxHodljrAyY+Gf7QQ
Fjd7vVNrniHWrN9/fxP/tKwxLJoLC70kmsmLZY3MSJWFLkYKggpfjP20JFf3U/dm7wjtfA/PcMI3
4UP8+Zrc9I9ThaUGzpmHeOY3AwyeLozJLY6RWaxTL8o7spsW5snbdBt4BMe/X+XvlgqPIeQ8M9kj
dPPSF2wWtZ1OpQeIhhSLd+2OeAoWGcoEi+6Zei3pQt1WLStFmgp1q4Xz5dpknW/0X1Y4fgHbMTzH
QXCIavSiHxrnxuh7sTctFF1JMndvJOWqv1/k7yYceqCWlIgM0YwzXy8WNVt15mTqLN7NcpZbRSsf
/vKBTXvOpzr4K7O8NuJ8i/16Vb+OeHFVqq+qEhbxvG5b6xM3BzboYAXoYC1WMaPCvyM29Mp9//tb
+cuglxuxTRFcmyoGzZtnPbvrQZ5ceSPnOf+Xy7IuJUh27FSW+XFZzS7Zz/ttv5x9U9fWlj++fywt
tm1gJ2CL+HVtoX4amyBERhrHeEjDUzidzT5YQnCNzK9/v6g/DcXdpqMklgbm4oud/V+Tm0WowaKK
Kvummg1umTK+qngkKnA2v/19zN+WtI+mvKF7NhMega/x6+UFqeY1/ryth/FrJamNFvdR8c+57D9C
VvzPeBR35ff8U1N9/96cvpb/H0ApUA3/9Hb/RqXY1enX/FvENPgHcTEDHz7+yT9gCvSj/0sCpOBY
DAHCpu3EJ/4PmUIzgEwYdEY83E/gKfRZ7fpfaArb/l+Isfkrx+PIyVbE3P8vNIXND9RRVmKDQ4sj
dHb3C/P5PyiR/xGagnVKZ1vVhSd1BPRsqxdzP5Zp6EUYwVdhWboPNNVPHk36o1tNSAuASHlWey7L
5FtqJ87BH5v8tpoMmIIujaQwmo59Dk8JSqpDJ4pyzJCoT8qtMKtlZbWc9NRa//Tu3v9z+//inv91
3eEXFrOaReccJywXBfnFWc6zE9umJkO3iP7V3iqpRI+kxIVSfxJqLjYai6QjkNnx/BbcGgoKx7Pp
l1MS9mNLbh2hrf7+K12YWeZfifYK0pcZ72GCJ7g4Ag1saUnf4dTVcBbzUN9IUOQ75Yo7a8rvRjvu
vmjI+cwQI1EWdJ81uxK3YnSfWvI9hti9n5Agm0b7xbPbQ0lc36rry2mdhumhzmy5pFyH9qO6thZd
HIvn39vhF0YajODf5qHtYt/wMi1ppxKYjwNhabKr/K4dqb3rQ6S+yD5b9Xb6KLWuWdlOES8C2acP
ApJoLoqcxiQKAt+liNul7aP09OyxNX6gSDnag01XmgDuvqpp2YCY/fvbjZxnPuz9uzPwixvCZgd3
uDvYZJm6v65ocau8MqNEvGyYvjB3LfP470uQS3jRnb3791ujExGpMb/Yho925ONrZU50ae00wrj8
f36ANtQSXjTaLMNUPEB7zXDIYnMAUgXz/eNPH9/7+LIpY4x2YeHc/PsXkE57GU13SjOj+7KoqjsB
NdKP4ntvfvn4Nr2WfhV0xdvQ6V8aX58e6i7QHygk5StHkp2skeicmh1aHY90CLOqakQatrfOmOwP
3lx+9uC9viJpWnguwSGhEi/jFDRLzxjErYyyaB8NaE5cr3sREVWdxG1g/c6k4jzvOoiZ//01JLH6
QQ7ih2po+lmORspCNJFcNPl4LgNyhJcDEgRbT5z9UGnlsY6ZIZR1nVXgFur48b3AQ3AdKXs/irA7
+rbeHT/+xGLXHYvBz/ZGxy+n5yS/5pxECctFA8bzPbppx6gxcmZAHLvGuMlsA3Tu/GIUg3IAuKZ2
9s93uyrP1zJ1n1XdQXfO4mIlMqcoYJHG0eHjxdI0uap8jbpeHRoHmUjx00tnacEhGO9qVdV3CccX
NH/ZsxmpbKXpcfWqk6ETCu2lyad+azYdIfLztwWNyMbt1PNITYJewPe4IfusnZr8aRLoTIKUOIZB
t/MnTcHPn6x43Ezzl56B2EfUXbWrEK7f+5V5TIMBNIrhqU0SafWngPX9VNbxucsqohTmb2UZrFU/
Ue3h40vRV2Q6U5cUNaqseJyGs2/kw7mPycq1XWRY/3wvy6y7gNCKj6/C+X+LQy6gn3xUNvM/qOi5
kDU+BTv4Ap85BbTgG9PmPKhJnrI5G33+irJvQ8qf/1y5egjMIJiKQ+qXBW2h0VrynLe0Awa22ra5
1zNPnjS6hskkrVsCI1zCi1vy0ucvA2rHtx9/0jR+eFgpglwVMsAY7pozjOoAHaGk/D3/MaDFbPgj
vdpUq2lMRsa0T4y+yW6KIcI5EBTDwonL7uDNL76v8eZUTb1snYpbLwy1PVI2f19ZKtyn0SvICkJd
uyiHKimCO4pj9UbS88lvcK8EC19VmH6Lcl17kTjWTUKyH2FTCFc8EHYIBqOgtVDReUcejuoHYL00
uajzxp5mnvhQguXoQX2k8EbYeZxbp0E89SJybs1E2rdBRT3UzYr3xkVK0sV5sOqDOPhs5aiqrFBH
iWA37gF0A10zcm+tOcFQsxY2Fb/DGBtegV6SP4qRnoAzhNk6cGvjlHUpWmyem4ayQAjRqmWd0WBX
IvTpH3fTcmyVdiN7Z9x10KR7S3zWyASI23r8MoKU7+yUUDlXq4++paxjVYKM1g1ugcSM49uKHR9V
k+nf5pYe3TSB6xxKv7vLcukcY8ddxULW903maFtOtGCsMQ5+8krbuFO5s0oTAu3cqcMS2UTRauhd
0oVBrc3p1UYWmOeyd8V5MMJNUcOdR0sc7YZCdKewlMfE8s4x99pTQneHNYAUUC3I7mNW1GU97BP0
SYblkzpOYbSH8OKQM4j6AZcBgiTyekjBTIJkSR8xvWlIYgtjNAhRSdu6CDtiDrujqwl8Af0M9hDl
QN5E9m5G8jtMPSoJUXk0weUFxuxxd5QkVTXkbfN5MsyQWN4XYDH1Rpo7v8ugOVsOlNuoSIiCHd69
TIl71ZdfvMKut0adOVDlmw6yd9RvA4QwRAINTk/4YL6A3h4RAB0ZybLQ7By2YrceZSYf9fmFm2DB
VE0XhsdCKLzWf/ZDlKvxZD1WrEgqrcebIdTv+jwen5ABPSvNiVbm6MHDD+fpkUz2Ho/ieqjt+lR2
UFvdBKB0HjvDSpPGmxphfAJw8rZ+6mU3Xty9Sa1vSag277k1osePlzwwtj5RuZ4/Hok29cvoZJRG
enKaOj2pqUeCUhvyWY3D9Bi79t4dkpUl6v5TOtB5D0ivDIfRglvZqgOJhcN9FtEz00btzJPiRuQS
ZjU5YW4mjn7u6UeptduQ/Z3nY73h8w674FS0xGck7cmLlbj1DStcFnJwT1lsI7jzYH1qfmdtgYtp
J4HGVHPCtylg7vmIck9Fjholrvp3v3IWFQFpR5H7Xyrb5KmR0uABEDSNwOm+6MfqofMG1K2dvw/t
DpBfPxW4LMcx2qStnt3ItD/18bBUNsTOybcORuDh9LQQh7W1Ht7W88tYhuA3y2haa3K8G+FTsVIO
t1OkazsFrX4dm7JeFp6u6CmlpHzYNcG+MiT4AH68H1RreB3Og+chc12KwddWfhPGTFk0QRUc0vma
unHOiCYIZ6VTzj+mRfMOhutLmBIeNdo5z3O1RqSF38mtJCAPIdG9OZOGS1lauyJJSfcDd3t2rfZt
MMoZt2mOh3GTqxIZsJdUhwL1TZnap7h2vvY1nEcjVt5NQY0KrWhbb7O8lURfpOQEOO1908J8lmYC
C6BgFNMc3I2I2iOyiCd/aAP29tLZTKimIfD24gxZYdE2yTf0X9GpQ4IeyXEkoIgT88ERMCZhBx1a
0TxYoqGPnNBMjrtxBoO6P2iUN/f+cLRI52uj8QUuwRxwAE8yjdtqHaxH4gKMG8cc2F7EOGcZEHg2
DWGxzkib3mcswZNN0jWiFNBMIZl/mSL8SlfNuxcFxB9X0F/RksY0swWV2zWPW6QSvesGebEhuZPL
UDbBQRTVMcwN7qySNGTPC2D56jlSbVamzCQbvHFBmTbcEDlNKhr90cZTRbkIJdoqWttPo5uSoany
z0qiE8np1bYKyVfgq0UuAswHUapWPrjXCRn3QzpHpoY1S4VbpvTGa2/t1vVdr4fVvk9JCHeG9DEx
R3ffhlDVRxFIEsPN+uQN/o9AeWCKaqc9tKF4zu3IgRrSnqOSc0UpQXU2Mj+EQypvAjfwgcXa9KKc
Du1aoUq5bHNawFpukbbj4DEzvdZcKaGoDqq3PhELrStfx6C2DmZcEPA7SuIDsoLkijl6w41pP3q+
tx/DAQ25gM5nONOPQOuSQ6XJ5FAWDtSIhLBbzpgmuzjiWrwZuyCEwinq8qw+7tnQXYuBKAKAP/qi
Kb18KeaboAtymszmvSXK8qCBqlrXo3q3qylnq47IVbKXsJ9I6dE1Y5/Ph8i2O6CPdfZZHCPu7sLD
/FhbJSSflBkqOKc4uRg99lPfoYRhUaQpTQQ6XCoEVnay/ThWNPPZIpKwyFNLP/oKocvQ+9E+NKIH
TuHu7cBj9U2pNJJOJ0Lu8uTrEIZv7iZTnnVX9nW7wQSqbsoxzvdl2NYAIAMXkYnVHTtBFJgZtY9j
NavXM/+Yeh0JCHWgDrVtJgulQf34WCuFnfTECLNWuv0kDo7rDzdFRXqSqxE/9u8LSIPhBgmVthhG
fWcFRAXowgcG35SAY3xRrq3GNiHycwMlnjkhc80yhK3o7DWt/1qPvX0MQ+vR9Ixoa+pozQZnvB+0
XAMyTWSN059zoP96Tnl10yMVUEQ9PNK9JJ4kCF/dYqCt4VTF7ZAZ+ioF7LwYcIqQISBfI9/dKqek
ATOvv3071Asz9NIIUPR4CuRUHaPkZOFUPepuAsg/ATCM0oC927zTOCjK0Qkeq8RaKqhNT1KL3utC
WBs3yPOlMxKc1cn6pSR1dhXPORQ5geO6LLkUHk7tDAivpuNJyUT9qQj85RALyCWyPbgGEz9q6nrT
atWXskLAy5oh0vZ/E3VeO3IjWRp+ogDozW16b8qoWrohZLqDZNAGPZ9+P6Z2sReT0AwGqlImM+Kc
3+obWtT8WKXp1+s6yrvevo5LpHI71vbJtt07oWnhdaiHnvq01NvrhkslydPNmM+fciy8R+d8OZbd
fv7vd8zx/GfUOOkG/T76hZ5YvKwJ820zF1ciYpptVhSnufWtU55/twZX7mPb+Qmlew4Tqr5lqpyb
HxIqLDOSjxDnN3e48h/dRKubEar6HHNT8NGjFBrIjKMieOSRae1uOLglseAmDoedYeTlW21W/0yW
DJDbwI9XI9OnQ+mYIng4yhC7xc1Q3t3p4g//ek4z/3DR06WWvMyda3xHGZHs2gYNbd0K5+YVyAxY
2+NH0vJZUDnUfDVe+7vEBfDbD9RIDLLTXZpIdZfSdaaNNTK6hCpFMcOdUV4tc1XXMCwoCSONbOM1
I/ht/SVcC9+l1JT5RPGpRPN6VEb0XvvJtEc3jlDcqJqCvOO23SbLIihGLz67gfdfEFCUOM5RT0tw
0PCFGWC/bJfulbkJj4mFTS8KNjYSIy8OxDeRdNV6RNO2rqvoEvCGPNy+CFZx2Yt9GdPJHkx9wUfi
7VvfC45O2b6z8yK/SrOPAI9J7eucAxn5SMfuvrVKMriDKCM+Hollp0hhTvzWvzYzYsPCGNpN2dT0
ItYNqg+XM1nqCSSiIJIg1QBIU9C5lAo5xLf5Hi1fxaIUqUmFi7DxSHjoXZ8V5hbiCGjIltZ5iquf
UpnFB4KSmyQQh9qFZLw0RkCZVyb2s3JI2w/59li1W9Ff0ez63qPAu83Kc2dhZy5rp6D/gz6T3kcA
mLQnjiUTExLS/5iCimFxH1lc7c9B+NE2LwZ60/o6vsQdCQrNQAVrOMybsvT8rZM39aqotLrYP/4+
+tLKvUfe4hrCE7Hg3Dq+azsxT7U07SNCEPdgqs8md81tV2b/dRrx0Ou72GZFyD1M9vmsm1OIpup1
ApaKoPGkJFHes4iJd8y53ulWE+4QB9+ExKw1C785t+jkbWH71znBulCr5TzU1hKxHVDy1p/SIbKv
UWPYV1vEpx673C0shnZlN3jzrbC9Np1B3SiPRS3R/xJQ+OjbyjjV1Z9iLIJnREHU4HX/6VhXb5Yk
PUOPCEtqLWkMVaO7t0XZ0aBKs3GUkFueqvE4edW4swdQIKOp1bZe5kEUZ6upV8H59WLGCfZYMldX
dqmntzQKUuSFCRV7jnR2SUtjjzGq9pwRd7FL0VqvXkCO5s2NnOJkqewjK+RMSb0349mcKNFy9Jhd
jTTLryRlXXks3pNMNgdPmup9iBYkIR/0TpcU8ZbKKDeO4njOZ3umX45w9Il6w6vq+eHSSs6FX4ir
bMjrzlFbk/ErJjrfXVFEq3oqvvX1uzCHiJYcNoHZsSQfVNWS7B9F+2mQ716ls2NVzNfMkiT+NKZ4
mLqZdwsLMpvtb0u4xi9zbnF1qeKZK/tZjn50MCXyYJMk8/e6Ho5VK721L8r8ENhF/NHSfEfQVn5+
DQSRH1bcApwqS+r6UGRXd/n3T3qqVjKNnT1LSHhSsr2/LisHWOxUh9PD6j3rM7L/jBF1PVM4Vt/t
Oj+RBqkvRga4nPbtWRPAcikrAhWr5udQZj5/t+9uIhetaFxSb1/54bCNhONQntO9DVmebwrfGLdD
oKaznusP3Xj1UVQTmXx2yxljdMEJWRfflhnX8iqKxvJoUM7QVBZi/jjxt8PS9Ps6Kn0qoprSvVVZ
zsKinI9yqvMPlwzDNqyPk2CS/PvNrDRFXaK+Rh8K8tor8hHJYUt7n+O1+8wZrecQY5ESnMSM08mp
Ckr7OVaEUtT4U0sabFqXQDNpgZopaGGeNf5mE5ehqDhgfOYH2lp2fd5728hqGcSn4mcH1MX9T+y8
rITzTsnGcNIcNZPbPajbFbWVXj1hY7gs+gIho2/tuhapp62AoMO+NM70DNVGsu83GZrutW1hZ0Jj
FeKBBCvpVB/xuwk2E7+5yxCxfRBh91xB7CKeDumJDaLE/EdREEYENZh0m956Q2fnAnHnpUrgY5PQ
v5ZLxGcx+XTYtfE5zCpsDam+JrGB/NTKN0AW4zqVpfXw9bfX3d+qhlZ5c1jBsxHHFEY7naFBhzl5
9hGqOLCUuWFsFgZ1ArM38N0WjWZUZ1jCUGjc2E3ZZ9X7a7jzvJieYleaVG5zdoU+EvixJVBOe8dc
KxIHl+C5IUzjTTDkIznaCHwN8OaeYR31AUZX74nS0FoXMkpuLq1BylK/le7ChzeF57Lsxl1tYsPy
U75FBk6Ncl6gN0XB7pyLM9j6j0j4FRJ5HIUEK44HyzR+53b1vSRF7hJq3Z7S1F4FZUUVkx/JXTWM
04dfQEe4BXUZcWrs07o5BdXgnlUjAK7mvP8Ie4NDIekvA+mfHyW3W+JmRJhl9A7UhaOfscFVqCR1
GkHOCoArDwSvv2miy4mwdmkt74uR2Zad+6jc7mK3ubUq4rLes7FO99eLm7R0p4dfvF+IK7sy2uAa
mi7WsiC/tuRujsBeu6BPeYN6vnQ9D9oQzcc5VER5Sc842yK3jh6Fq3Uz+IcikPYeOd67k1JKgmvJ
4oFTqHXKOcQTYXs5Ku2p2iDdM9Z5TGKZnKgcUCnaKAvh5CnqRHmKjOiRLrd8l1OSpAuXIWUmS6nv
7Vuue/MmnX44TPBWVWVgpSp1cJQm80Hiy5oelGW4C7xP8iDllnoqtQ4wrDwMnyryQQ9X/LLnODPr
N/Skm1IXyVs55t+asg8o++bcmuLpVlkzRkKedp5qX57tmFqP1KFoO6CkvmPOb1YE9bob4qaQoNrI
MP9vaDKSGE8h5aEtYwRD7DR8GXp+t/tbVnTWs8PQtxsjCoKlaXZHaXfmalwkmqYZAdQ5YXGqSw2S
2W1fC4tNt2rnyP6h0s5HE/+7cM0He7Xz8P0cgT2c03psLb4YPJfa3cs4T/8EWfslqugZmEsV1kRP
eJAThta1jnHJB5YXuxnoa1sgYM8fclrQIipKLe1dcgeRtUkX7cr1wUucxnjLPP3fPIGMibkuABHo
XidqMf3sGEhBvlBl72o65IM4ebfzhqzIcBDYxV33BKy6hWooT63hY9gtsE8OVZOdU0PfnEijKi2X
ir+kp3LNfjWsdoou2bze8JBQigYFQ6Vqne393i246dfg7eI6O8jskXC22wi4wRyCp9EiWDUc2R4L
LrvOaN9tv2L7kP8VUYMqejJ2/C10y7YxnccdFa3K9ub95KT2We4SY5P6afA+e521NXC+UAPV4LPO
Tm1XVV9VHP3i90Qj62mqx4Iep4oyb4lR0z7qOfd01MY3PbsY1QYwxrAgaX7Iw63j0egWSUWzlU1T
YBa5J0MaP+aoCK74no4xwZBG3WAS6C5+EjmXTiD0DVOn3WBZophoNJ757Ja3WeQMliPFBr4OFkku
N7EZ8xAlKtplxeM1a3STptLGi+aH32GEGYZxq7LSIE4mSN+G/j7EtOU0win+fZMyyNk0RYA8f+HB
KCRMguQnre79vvDEN59kymPlYvWhI/gcqcJZaeHRIcVihUI++KWT/FGJZCft2jjiksiphkrJjy3N
muHaKzdg0A34/0ysdeA158Eu6fJmRdwYyvEpO1ftYYbbTgZFwgGsOqWyldo4bSf2/VrgOcOqTFFz
BbSWWcjds3S+2/MoVr0I0pNXtkusIumeMsljfPDl3ca8LE3tPE2JldVriOg07G3TECEw2O4+Rk8L
FYJFxaqLZG8PuE7SMEKqjTOK3pHR2GRkaWHtG7l9OZAOJLpQtUkus4fj6tgP7bew6+e32h83csqC
SzP97KzuY7Rse1XoqTuOyugwDSb6ENNxMmpk1IlNYHBcJf8Yoa1WaeJle9gaAk6dsdsOCvTLFBjF
qkix/cnsPCh3P/u+2MYW2xbDlbv/V5eyIWt6JuCaY3cX90Cag130gDiMhBR9zNsq79q19OAOMZpj
unb0m+NMwRGZmsHbrH56XtBsy95XW7BDKoEKz7x6wDAbnftgn2n4RgdytXaGiBYvl47oLG0pYsxC
5zK2k7GJF1QfMZq7qoMJB5Roieqcx/QeKtDwwpXZbpyLaJ/C4KZ9GjyD1DxXBq7jVn9SA4BNMYwV
1dkQYIlZDFsdZPQ39Zhm2hoOUZLWuPbSIeWJnQHdagyCas6tfV/j1RqnOaK17O9EOZY34lOD1VSZ
+qxD+iwNDAJKm+azqvVR1LgcUmyLEXP/Je80xC8Nnmy9cy5HTjTfWqFM/BKJNDZkNlA/6IOeJuro
Zu06663wYHj998FkQVNF9GwZi98du+dECLBvjN9KUVX0zi7m/LH/Y+HYOOiooSk77JoNWBAWOep0
RC+3mgdi56Emp3IyTu5p47yL1P3XsDP3NEfdMS6lzTdNEqdeSWBqaTLpDG1IkXg47ohtgWeqOkB0
htAVxWrDkfhd84iW7E8lB3WRbb+y/Tw94cr41xjtf/syflpVkp3KInhrWRL3WrbzpZQWxU3ucJOh
ts8N9oe+xEIWCsjCrnIe+bw3zP4W4iapgbDYVJKBSrECF2Oth9NoKOMobk7b/ImNwjz1fTutYjHI
N3IGVq6LAF4TIrLGydLSkEQyBFjuC3UwOzg4xxOc0u5wxlZmHLXlk3XuhIsbe8SVP2Z7tByIXbSW
O6GdoyU8b5XUtb9ztO0D/RsHCxKMxg66Z7b4f3/oceh2tmuNG7tV5crPhmpb25N86g6njURnsAIO
a0nCYPVM23I72+Z4GR0mIZFjQnaNn6LWYKelflagwasG6H5rtVl+yOHRT2ZmhORPJOkBy5aBM72f
HmL2qYh1aUglmdgHko7p59A5zqy8t+2d45Q/Sr+goqoXT2x9wORTHN3YSog3c0b0wlWmrq3F51VN
zTltAWO92uoXnIrWZqfdU+6gD9CZwBYGCF/f3wuYxJMYJnI3uNWFE0rYP9IBpKUs5hucim2o/GcS
nAan8+/oibAqxNI5u20jth7tg55RYdh1Kn7VrPjeF2l+xU+XrI2c655T6GIMU3K3rOLu23glBxX+
V7lOt66nBG5YZZIzHapNVbhOrTDE51WWJSgIvjAp/f5aeu0/YxOHF0fTyjo6FGHj3DmmJiegiJoT
Ec0jXuhkI9M8OlZO+W/rJHDhebtAwI1zfM0iccDO8XfzSEcPIL4xTumnEU53QDfzu4dreo0hHCt6
EV50kQ4X3n1/izJwwPrn1gv2/+VmJoPnjC947t36NOeds3VdvOkkD+dbEyAwn3J1mfLe2ItheOeH
1Ju2m8TWbyyDvnoLE7goJwIR1M72WfuJ+zkbUi9xN2AzWqb2OsB8s8dmz7/Aj9WFsKiwr+U+D5Q+
lhiZAE7I4IxG0W+MVM6wAjS7aTloroB30pGr77FX6v0MprUJ0tLeZ63Hcqu65i3BQqZhiGVWvSfU
D/grq0rfbLRgpySoifUcGmxBWRo/FVSu05jUj0fG7rUz6XQq16WkNXe0LLx/Q0/J9mR8K7BUfc5E
SDgTgC0ce0+nVP/Ufm4fNF7NtWLDfLymlow+zAFX8FlZOJhCS+EnIxhgNTsNSgtbXQHtmifKihC7
nX8kFyd6VzlN4OqZSuer03q4qTYM1k6UNfd4ppK2zcXWwqx5i0uOytRbjDRx6OFb96tLNNpEqzji
zbHy+tL1pbWTifPMmtrYorMI16NJpTcGdioTO2nzQcQUsI/hPTYpmJ+Zh/ewpw6p29976U6rFIuv
lcp0M1ttc8otr/yuko0oujfX6PVTtUfPraqTypJ5EwvPQv6QRaxI/j8ukNwDgzXlpL1kivHh5KBq
yvYREmOcVx/t8nMCAiZPjQq5cyPSI4CQuqvjiGk1VAROxXOR3e2opKMuhk6fumA+hWOaHoh4AcqI
OGaAyDG/vRdWDzgw4s62mC/nVW9FmP/K/J4lGPibiskIHRvJlWXlHnRTm3cZAMhFFXaArJ9+AExe
RPnl2X1+jFL5cKZ+PhhqFwXTcBRp/GPAu/WjabkubPOPVSZiJ0VsXU3Ozmtghac+6tkt4klcB7B9
TO1dCWIRuN8wAyGYn/VuhqXd58CKRMSzbNayG/e8MeTOLJKcjo+JAprC2JWtAcCgcN7NLXqY1mvH
ez7mW6iEmFORpBzDm69Ew/A8RQP4PEDNaiRgeGOqND3PGtScbTc3aMqrNFnueTVdNP6rmzH4m7GJ
UO+HMVDxnB5mR6RvNEk2a42Gc6cqI73EjVucmoTmSUMNb50dHpI4K46qo2pU+uHvAIXVu4yJy5CE
yjvUIduFCj/EUognXX8++Q6xTxhmht/7FyBXRzToAcHT6bMIqYRHi3bdJ1QKL/RSY/g96hoD1NEU
R9pGCs50bzo6PSiOqoXaubrJdxYYIPk6RsQ91qC97+inFrIuj3C0wzEvlgxbvyz4fVS1Chden0rX
ICFD3wxOht/9maLJfC9Cn71I9W8QfeFdOB60ZloRipB7NIXbcrz4eX/zRrSDJljUilCF/hxkFuqU
MfRpBJ39ZmXCUt1GwwAPsCmC5NOOtBZ3n/uPidqOqS709PfC5MnHgn6sulE8uEYfdQRPWQwZLX3L
0MfholZDlyNOgiG6TVlDa+Ky6A7Pjgj9E75qc1P7VJwafQW+ZLLUJ31n7bMAuMnFXrrKQh4QYRLG
gQpX7wKAp53usnHV68y7vSidpsVZ3iWQuK3TkkWU1XeUKcimutneJFbwJ/bRszQs27mfc7EWXr7/
i4Uj2PuP4l/ScpYXhIyKHtXy+nq45r/KpXEhNSz7UuuyxIkMFe0st3BdJsuNJarv9ZzYR8/Ky5s9
9J/jGIqdM0/eqQFHLFYKqmC022uflCwWEOflsdWttZkcuEfP7uJ32av8FnYgFP6MlHO03OAU+NW0
9jNtr3uiqi4YcbJzSUbN5Dc9JIdYEdvlAlagyoIwFFfMieE+GJIK4nXo31XTIIZhSinSEOrIBJ7F
CoXJE4bHLfiftJ0fMlPrzQv+EEPaLs+IZFLP3NsUInHzyhhEhxvyllFjP7UoDmsoxUtSOQBPQhjb
qAzYBVhkG2EEa2V1RI9mg3dlCzm2aWKcG8f8ZWe02I/UXImoJKo1blB5DE1IU4JzCoVKd4QoZIeR
IsmhFs1KOs14dIrE3lUzGsXRMGMwlNj70j6dsW6X7wwglX2WGMyqk78rQ/dzKIS9jvuo3oWt9UcC
bAzUey6llZCf2pYZWmiDuuPAF2vfNvLNPNjTLff6ct0lJI+kaf0ImtE5AmQ0h5bDdJ11Q3hq8uYS
OFQc1275gVcG0WDtnAFkFjo9Z7PpSART0bOaTRzWIj1nHCbngXCDc2DUdOIW7nxtJoUtNVfPyA7O
BVrJXZ52uyG1n+YYfA0oN75iM5YnD/kGdL/HIUJAEy3MhEU51EiDh9kUHflILvO2eLMKwrn5aKh1
zbvsAXXR7kMS4/YOT/8ZqQK/RedQdt0wtxA5sR/Kuty6CqePExKGMhTyn85jUSJ/Lt2OebmzyTYy
HayMoJlXd0RcAtlfHk1/clY1bvt19SXGImUmiMtbWr8b/ajeyFchQ8obdwjTCIf2M7mzOI72JoQ6
n8LZiYbw0E4+xYo1BK/bWnjGl2cx7BS5eW7BTbUM2F40VBtbJdapbYc9fWXxX8gchizf1iHvs8kP
38UjgrNC6HpveRfTm51bb5uPrvTUJZqZvvMl/wpx+Ybb1gXv4U6ovau/3BkycrEZz/3M45CdnUVV
Z1k9pu+itrBO8xkKxw5vntLfUHkbf9dPu+sMCGu+QEQnVH9/pRCQ/1BTsHRHFhCU8aVsMGVLH411
zxUGYd5siwMgDRFNU59sqkCWFM6jcHiNgK4LbpR35IOGc7MuTZO4BzBY24wIvLYHD/nK7B3n5WlL
M4QQafVs9TxuvX9eK2Dj8G/1ejVczMhTq1BDJfqy+hppdSvtOCZXaBGAQ1gywbnvbcHsIYE/rSWm
3hoAlUdhvClaVG+JuSUkwj07KfQsBakrL/FMNqXeWNkCk37HCpnC8G3TQJWbwilxTOuiXgeLUEwz
JuzthOtnasF1VdtuKqP+T/M4kdnSQZ1X0qLpXh14tKeLY7sITlL1qICy731MT3fJLLiLuj/MFPL2
eoHXCLau4A1a103k76eCfnHkUvVFd+vC9laoD9x3Bq+dS6DdYyjNvWXW/ValyIheMgnPjZIzxnXx
KCXuGhd13t4QBSrmhVJNeZ7P0pDjkn/FgLWMA56/5CWQA7d1q0Xuh2bRU/FzxJDmRQBxZpYhYOOe
/QGsjIxvWud+FT3q0vrjNszqbWCLdQ3USlYZvvA8JXUjcPqfbtYDTBi2e0JKGJ3DhrSdDO5pL5LL
rIriUbjRl4ht68rk66/GoP4dodXdSauMCR/AiB9w/K9do0KvVNc9oLQJn+HaaMvVgh2zNri8/SdK
t829PQOSzVKf+b8X+8Yvfs8GvNu4vNRWxihX0qRu4tfSboe4xgiPrpkTVWeQsZnFaXTo4qX8u0Tb
HCia+8ZnNDvRGaBpXBfComlD+BTLmMK4dQnfxhfmZClQZ8z94S4liHAU1R+6S4xtgORiG3emd8nG
1FmNUV0titf25Cble0Ppgb+a7PFPV5jkZwwR2BkpZhQ4BT6xpIZDDCSVNed5eUkWrZeoqzeTFRMB
/myAaCXyKwcnCPrihj5v2LAysWIE3bRrgV2PQTbMTz/dziFOUek4wRc5fEtCR9ns/ska371W0R+z
kN7V0RwO1vLS2Q4FckEYf6SyDw4kRRn7mubzlW3yPX+9COUjxKbtSFZ+fI9Lr2MiK4bDS7iYAI2u
HGcIjyhH9M7uDeCP5RxNtAmoVEOkZH2A3tk15pQBhXcwcIa1lWgE2MWEPtAhQiMAIavi99hlNE/E
Fpmtc3O9Lj60XdFvEsAGU8jxmwd6sQ5b2vAc3bWr2bTDvT3p9iCARvZlNSCdGJ1TN/v5XhqQ7aN2
wXaC8hP2bNxPpnuwJywk9AhZxMioVaKD6DB6VX7wBXeM7Gv/q5u+ENr9EnXiosixnGdoQ78auvO3
RtxP16xFuTyNVOUlKUsy1/xnQ+3PgyxDzkl38va9Y+0thF1I+lznmQ8AEE4x7t1c5PvecvwtHvDp
NNdg32ZFnRRcKdR8PYCrcTo+lMvwqQpUo+NQqP0Ifn6YQRs4iMLigiMAuCScc74S3nDtTffZyeyd
lFXz2Ao83RzF5T5FMIewJSaIpR1MMupMigBhc2bfvXuEbMJRteNRlLQ+aa0RhPWBtZsdwqiSH55j
l8cUHG+V1R9MmeYeLY/ad0luo9dCy9DN2j/SIz3znTVnkteN6NbVAzIdHSdnd3K+Ozyen0C68W4i
JtCIDKJfoxFG2VXZdpzCeNuN6fCbSEj/0nO605PF21v5/b9D0v0YajfcQHON7H5qvDJJbNKU6NdV
525fe3cdiuhaT9N4yhr3Z6WoD40jx/s+F3MMdlmjsnKjhxUWe+1mP/2CkdL0SnEcEusO2zm9ZXO4
msqiPDQd93DkJMN7K93/ZuHb7w5CJJQEzn+5+ozCub2UaohIrvTeW1iitF/QpTSw7uE1y7x4K1nh
dtlyPGexF+Hp+TdoCEUyjC0PUHiPUpbcOWCyKcn3Qe/jyb2hDfs4gXNvOStXbSK8j2AmyM7l4UBL
3mYnnDQ9oZWxv7OEdpGiT78gD2YEFYJjZUSxYYZjcLBSJI6LNplayUPP5EDOYHkTcbBvPAH0rkdK
yYPAXKtxTPZdBHuoR/gM7nCiB3IbX3MdTceGSJzRcsa7h3xpjSTY37P7jNuqVuYbdmin5l6NWTcs
xLvfu3pRb4a+c29DIZ5J2X3YuWsRaeKLfSwLn+yUfcmiTVlmMX3Gbr2kus3zaY4rANYgeuLr+lSz
osPKKvNNKDLvbchBWNiZPkamCWKC7VXeTNE2jCPj5lF7vH5JcAhZaW5xXDifMIXuuUiYRNN2uvEf
dp5g+IyGcRHVif74Eq5PrT67M5N3PrW047Cx0yKzLKO91xDR8dE7ZX6JWdovfQt5KMd03mAbMC/2
2NdbmfQlyYUc/CbBbiNU9qWLkeSMQUnqTEhObRmQ1dZPSA6CzNuEvIcr9XpQmxnvCOzsSXqOteok
kDsxiNEul3gdSvju89/dK+DIUMnsEtTcRZtUEdCIa8q5hwMyBH4GCbm+4x2Sor9Hmnyi3FTNXkwY
dQPC47bOkiIqXTU9XptwQp4XmMonn1B5zlvroEn9YgBIjd3UcQv3Mw6JWS3grOrCu0cmcD5JNBEF
LoksBXDPYjGutGJXopf1+npBsufvvCWhx49Kc1zZ7ZicEZ0hsxmHU81yNDvhYejj+o6+IKbuJfxR
O4l4KxSBrRNJuaJvmoMIOAuGFi1abFif6MjbteXVPw1wkm1qBeKDUdA4hnnHP6HtN2nmBPk2b0dK
PN3yWNjNL3ec1JvTdAQSdQXxVbPfc2L44qSXF5LFiXaN5+qYk5vHEC7f/16/+f0lQCZzU5//gqQm
xJWQXf9OJwowaNYpwH0GayzkJIU2CIIH1xDrF2NjzPJmayM6FUFtkkPKude288oQUm9RP7mnNuvd
09Sp7mDJbSzDvbNo0loUYq+1kkDlfZIgSZd2kB9efypqVRyKwQi2XWUhlBlr8JSiq74ipvmdUm0N
fspcO/fHUIeaAL/k22SIYC+IrUNyIYh+dcFSNFUQ13Z5sXnIzgvsVsn2XzIjKG+ZqEr8/xdJgd1Z
SZtmoYQ8yRfOoNVc1X//+PrvSCWGlWsnT7IPMzJ/IIwSU+q7wsxSEelGnFm1YYtzD/nQ/PCMX70y
k5+Dp52zVZXGyq/BNWyvZvOPhq9K1siEugomHT65nNX578ZGpU5xJqBMX6qR05TTB1mNRhVt9b53
8orWP/WtDTcb9M2m1x0W1tDNCQQuEWkIkvPWnFok6g7EIZMn1V9lOEeroW4VDImC8LNRtiRk/WVm
UzzIO8xXHZTE/3peGBOiryn8QI/i1V50cPtpH1u9fU6XF5w45HAGg7stcp0eigWfDRlPjtMiRk2c
wN4hxvtjCsCJMJJbwmZZguPme5UCm8dQmysbE4VRVJckZZ55qSoWeMzwOvtMXNQunOLuk+FiQ8D3
+A/up1Wa6w9/Ao+Kjbh4TEne3G0HMduwQSqublUeGY+hqcxHn5obd0LATFqnzwhF5qYtg/T2+pNQ
Nej7YAfHoLv6tl8/40hNV8eL9mqSfHVBaqjv7dHJCvfUUdiarIOSGxczvrHCY3lphDDxevLiyoH7
xyDxWXDMVI5LJqVvuke+pFyyZr0SLEw3VnLBF9gFfMrCPRw0PZV2rK/F0HxKFr4pHbGa9sDgAkGI
kK361fryCru362XZPDoczOfE7n53Id+rxKog5yPz3s8+kuXeJJlrjuJbl9XxzRr9S1bJt74TyTED
s3gfMgl6JpYc49TLuc3QvDeLJ7bJEPZVhie39nKK2i0jnSZosQtQBMbL9OrMXn7KRXCrImLpVQ6+
+1e7ZhQ4qWjPkmuuieqXD3kR5EQrVzjm1smC49lh/Evb07xPctT6qi/e8tTokM03b5h+4iOheDVV
mTZagnHfqNJ9JrBkxyCFBiCdPDygux3JPg3CR+ZYpLojuNlMujzWZsSnR7LiBZk3zWOW9Z4E6VOQ
0EJqIJbrF8baRsTFk+49ESqpWB+EjrZ+bPfrl7lpDuLhgbqYrwRJX1rDcYrmrS3i/DTkRrUq6q7Z
maInMHxZT8w+YFhw0BsAMrrXrBKSTFweCqaNqy8l98vIiMDUdXiJeVwAkxWB0YSUISf7gt+dr0Mu
/52wx/wPZee1ZLfRZel36Xv0JDIBJDARPRfHu/KGRd4g6ATvPZ6+PxzqnxZLGnL+UMRRlYosHQNk
7tx7rW9x5Haze+bPxvbHpmZ7DHia1MfQR2/1KSjvLHRAK0+qTq3Iv8LdoDeRqe17jMHbcXF8pVWn
YCiuum7CO+E4vbq0Ch0v8XmodF8SnCh7E5z7xYKViT30rPraODMDMS+iYoXH83XQmlN5H1/MSQ44
MQ1rZzDexW8y3diuk9wlTEMPHJi+lKlkAu4NE1bzxdIVmZgwydbEtm8Pz03cMPU/c2AoOc7TWbna
u0ifPPiBwTJHw24T+0OxHzE38tc4/1a0gBkPLZqa/glbFUrqaLyZ6xJTZBIQGcsaGSNKOPdWGbD2
e6Q1idr31okj23PHuQ87pXkKMCMylK+a1yCFfto0JjYTlARW1U4NU1TEGGhHh5VXle0NORrtjb88
1CXqZjsZmJ0Pce9uwtZG9tyUyXayCPSwC326PsAu16fEnDG9jUyZVnYRvWgAZqeyszz8tOlmsoP2
EIbT94JGJgyGiKmqF/EkFvYCHkYQYFn4FmW2vtdWSnz6hGYzNUNaoEXwbDWyOHHs5YiC4G3rXC/V
pdfsZukun2WzCmkqbdpwKfyCQK1S15o3fmOKHUJo46aNHXurZrmv7IicM1O/2NWQYYoVTzSlx/Wk
UfJw5fiGO1FOGMcmq0cmhlmIGA8Bmxdo82FsWG48Uj8ObeSakNbNfi0itS2qEhhp3RiIODnxLboR
z89f2jjptnYwiwf6iZdAtoer+xJv6LxKGLKvB/CSJ64A/nhXGJ9SIXHQyRkrAKtanK4qXET3abGb
w768JyDiMDfpdA6XotSp14LCeJ0VVrzgu1+E3bRHWpPVAbf6dF7gwAr/5qMd1o+QR931VWua161z
RPwwPNZqOBhqPpuYVNAhGqsRleDux1oUfi0su73HnvC1gRt5pikHpNDqvb0fYjlPo+ajXxoPkvno
ayIAg4edvuXEedcgLl7npTj2kRaP9AeyVTTjeOnw7g2Imlgk2mkHa9m4iWZ8zewf8zFL4qW4oalI
R/3rWMtdaDTHsGqMPQogoF6RmxwKy3/UrGsmdis51ThbRxKD973ofJzQLfa8RU527buBuCn2rl10
DMzsN4g3GXIEuIEJJvctjREMpmhYD8FQsKPb2BGv1f/1U0uSHlyn11hQIafpcYKb2YceJg7HSGlc
9M/pWGDxhOeOFBlrXEGKiC1zdfBZ8tbcdfNHh8iw0DGNV96KYne9dub2LGbXp+WbWBuXIcBY53+g
2S13rdLoSyuaebPTX+bIOLhFP5/p7H2NVFocAK5SYieNfzv1Vr7uBuQmIm0i8kGKPW86JGZ/bHdB
k7kPHRpvAjxoT+YBh+16Xo2qCJ+60MEtjXYm8QpGSX1dPxZD8S320Xi3I1KrTG4cM++fnSkZULTR
hLNNp0M+wZnR6hzQ/nXc3k/LCvxDFYTQ/GuaK0SahWSKLjQ97lD/YXZNum3VWK/7YRh2IUZeTC7l
RwYL+dH0IVJaMgl3+Rjm+wnD71p11nQSQ/LFMNIMc13YImLzhvsO+yp4O9i6qNlXbWIZF1Xj/rPy
jlV38CTpB7Awmq5ANlZn5sZTaKOchP5XBleT/j6be9UTIhyvdaW5sWunWUkL2lAZAgbVE3e2MWI4
Shhk7YN+MA7NIg6sy9igiCDbWpQMpfA9urRwoI4H8papyFuCDjdF8banzkU8uDAXrvSFOWCDQIN4
G8xmd8/ZeXXdwImaQFFpZAIjdYn/08EVi03iRgHrXTWITDYj6IyNHRzq9JSTKvOI8Zm0Vd2Ep2pZ
cTt3OMfkJ2IZYazkjVF8M927fs0IAv722XPIUBij4eyWPebZpKq3ERiH9dRwekyRUqzhvrFSaOQK
fpjUS1uMqrTNuq0ASLy+zuCuD1LAkVB6WOaj36uhtB69yVOPeZO8WMaOuaHDKL/tH2U43AmTDSHK
k+Tww9RkNwn3kmE92zYcS8QpPS1on5xAm1a5VUvjOfOj5nliLj0XA6EVhC3A3493irLtAnx+pKaa
AnDT8EiaVLwKt7H3g+6xntEVvzW0R2+tMJ5cMiRO1+6pkEa+MdRYrCPze0c8CUOx4c1A7EuuT70q
62VkwiKxDfA30pxphdwnprgVy7zKbKhIODneeMhikR31Dz3JBYQ0xIXY+774nPcPA4ajuxym+d2Q
Efy76hlssl1sY3IR9102WCeb7BUQzYzctmVitcBfZwIplofC8f78yrS5WbH0X9K2Ffjr+Qyb1ERV
wnem3fa7MUN8E1tde6YnRW84Fv0TrNzotquLj1hE2Na+yTZHFGrxN2JKJhVKXHDOJC8IgXdGge/A
JdRr3aWgdQVZMBe0ts1jaTQkZdTfpqoJbnJ2p5u4RJ7OAWUlG799tBl3bUYLCgm3MB7KZYFRuBmn
gIJlMSyKWcg7zYhvqukStElcbYreKT5k7KlzgTsIIyLlvuOgxM2Q81+uDzSB//yKLhlGIm4ka+nz
Xmtj4NQmsGLQyD4H8iP6kBe7LMaTP6XfrpMaW7bfMpVZu+t8tl+GtJF0kA3FzM9oDD6EwHiOaqix
vS5HiTltnHXtJ8W+A5INl54jqqvTL6VTvSWGbE/Wwu6IyLgyC+7Cw2Lfv5MGi4IVIsYZvJvr674q
wa4Pbq1Ndime29yatx7ivyCT2TZdmlV2iyHXJn5dCT/ciXHQH7y4PvgW3WJVtNZ5sDFAtNChqYFW
WEb6W5Li1a4AXLL+sWxqng7IkKC5a6ArOwGwmnbiPfdafd906deQAc02NW2ERE5JHVACDaERfJv6
Mt40+GSp+5bJa2Y9XjWZ6BH/tSL33oz1Emk4MPLygGmLQRRxVV2g9aEU5efZSzdNNfoPQroXj/P2
Lm4FmU4a+JHXiL2dIAnDR8aGSXvBs3BHMbxlZNNFj9p9Jr3Y/IjFnRE2fIKkq7p9bQVf/SYOtw76
n03QyOqppq7bBgx2ATzEqNgMo6GQZhb14+U3VrdHdISigry5jNFASSWr/Hl4gqqECMH09ANu/uRE
iFu9+1M8sAzzRX/EePVytS66FoVK4E5kuLS5hTWd2nJyPECmQUHp20/Hq98WGMVhIikbEymLbzOF
Zyc1HqZlPGREZYfKEfWukzLv6YKw34H2SBgQ5JDBkECxgPgFZ604WUr4nhNjjgBHivN13H2d0i7T
dTvhcKaZUi8P/bRBe1meIlwBSFz8B8yW/UV56Q3KPbxY6DdXlTUku7nErqqGTLP7kSdops7zXKT5
nssG38pihsa4ZB4yNGLLkXmkwKrjRUE9hDdl9eX6J9yFJIOudCUELcS6Htfp6LKc85SOisHSqfcK
lEFNTy/c0neTa9xeb+oCWtNqSghNA/rJeHlM533efrINBXGwlcG+6kcLkEpP3OngDne+Gv984GLJ
t0MLDz0A/qBFBdZkSXizKE+2cFq8y9VNnpBJBrZ3+Z4NcF1EFmfGsvQ/YOz72GdV9Sok4jI6Ensb
ZSVOKMu57RagzLA8dO6TL+vsB7KiRaKwnDXJ1BV6a+KBOl9VIUq8AgxbpwUyTpoSL0Zpv/KE3ANr
D+1YfgGRWHxFXpgJ+ybxVt4yVr0+6OUrTsFbJdz85Lbpot1aEB0D61YVR3JPu845XR9EqBCYqOkR
cB0N78UrDqfu89ARrZYYFM4r07SGXR5joFsskyZY/mwS7aZGVId0gQl4P/nPLbrGy+RV8UljSv/x
HV3NXVzC/p5AerzYfYfpv0Ddqpsc1jGGN/D9Qt2IwdZHyzFP0qBdMDjeN8ebcTYkXX6ILfWJgbL6
4BuyWicNQCzEjd+vI9Eqb28rt5mOrZkFW52nOQJtRqWJ84CJDQMTLSCnYyqQEiG4sZV7Z3utt3Vm
4hnqgWQFJN3pBoRasCV64mNYAsvDkcb42Q+8HfFttyOf3qXzj1aNPS3yKndjED2ztVkz9hGa+zX9
cGzqsW8yYIDH3UQO4WVZ/hR3yEtlmH7Ri+raFwXzVla4xvJ3CdfqilnMcyQY2FxXg6JqubxF2xFq
YyycM1LoacQMj9ef8vugzC9HrW5yIaBZRQNcop+xyiHeZUnZaOZ52750lwjBIrwZQjPb2SbGlMCe
h4deFc/2EkoVW+VNoqpwS5AeooRGy7siuQzuF7zdWDy1/YYP7U6MKCSTnjSX7sAdid1DoWyQCl59
wg3jhqraiPEuRQd84ySAw0ohUqg7tXO6KqgQflBvL616IBKaDg7lgwOyfmvYjtzYy1ZFlIBlYzkZ
dcfPy2MQeRMWuck/1M5Mf8AambeJXsBJScWNazLZbLAU5AmJMp0OiAlw3lIaM6vGxVWNfXGRuDsx
DAczJdIhj09B4z62Di0N3yM0wFKiO1wlqs04fdJd453cYWx2baLkwWjMvdVkRCaQcoa/q7Z3sU1z
uLPdTxXT4KG1m9cp4/DgM4M+lH6JAnwO17RJg6OWJQL/xbqEBC3aETSQrLLBx6Sqs2yxenaXeaFu
te4Ybrox6eGOMLZNezQDXlAM3D/Ip5i5wV9T5ldhW/WZplK3Sw0GoEZRfqcn62204KaLIz/ZA336
RP9IrXTDronghNhYdJXAIdZDPHG8LjBENTPFPTkFXkUSxqit18b7QMeuRczcHOqh0EgiR32elofr
tyqh7hstusQuPq4jaZTkUcex+QAmwXyoa6vbEhGDRskWdBoC78mjxUIVZ1+6wb7TYeQ9JLL1HgpO
eh45rzvPS/1VOBvqIXNL9MgKyUU0u3IbFBywG0756K1kDTeHqwikfozTJdH7FOk/RqAsPYiJ5iWJ
0xLSRq7SfddT9ItZwYNYTG9TzieUZ3N+GE1/4p7Km1W0uL5R5n0YJwZaFZqDlZjGs+68fm3X3W5a
1oY6mwHLQ2RbSU6/K5H5WHNKg2iAS5xPI5JCXQU7tWirr3K5ltSzbE6y01UvX2oLASPCn8hyImbG
E29aJy5X+fgYUGSGjofUP0x316MkouJ4TQ+JnldrPeLYJRcvArjFVCu+iLG+YITZOGU5vZFR9iyE
rUgQhYZdIkBG4oi0AqKe7zHXMMd4ly9mQ6OZsp1XMvbuVLmfYm1uW9+rH3w/Y1nCVBe1j0xf17hM
vUdIQduowrwU3l/t9WUjCOg09ccADT4WAR7o2i6L8lI2ZoOwodfeBZ0lHg3ieVbKquFtCYEJGwHP
3vUZG5p0WkuUXuzhgzznNKDWV+V2AKR2rSdT3v6oaOiVvYWdWFwxFs6HeN8G2n2TRrIdE9Zt8Ds3
qf+dEQNTIH/GtijC51xYK11Pw1ki56AN48JlGqFt6Qr3ECvAuUvUcIeOJaGxWvhMhHR66b1wvDOK
+FjbjDyvUlHe38eABLp9mQy3renKVZXhvL4W354NH0XnJeS4xUEeGtO2KGrzZPVkYiIUlA8W83BC
rCoYJ4NkXG/gCGKEsrO1sg5+xIrIOmdsu5s+teMjSWwTdsnQeR6TO2cu8PXJrHkRhmiPI4NQNKhz
8+KiEj7ZqBVXjmfXL8QOfNKCXU+Vdn2Vv6+Va4IVm9iykya8JFmxUgj1kYE39SbwEDtYGM03o0fj
0rYHYvAwGq27vskP4NbAoCIuovPCuNCDjBcIcWlJF1IN3qts8XlZJYHqYZJqNvDo3quDcJ+mHuOu
sbVRnMaPSKshXpWhYv7qdDuOacwYm+zQe6V9zqjPkEFIB+1HWN7KqsJFmybx/aRyLAlSLRpkY0+N
QJcV+yfoo3Vsphm0SYuczJbbUbTkWVaywOWTNquOC+F+5GZ4GB0wpPAju+21w4CBES2hrLADFOQm
NsxbGr2sh4kfrjXt1olJBBJj5zNTJswmGfrm6lBo84xlIz96ZkJfwo2IH0KhvSHDJLhcH3h+wYWC
lUZ4GRrUWzOxKT2naGwCOaMYDnrbZlmVMzducOG5JR3HeeAyby1/m3cGdj2GtUGGDaEtnZWDEfgc
2pF3GrwPBYPi2+tD2IiPEBQwiXIjn9UQGfsaRGgy2c5Nv9AWZMz5t4o4tUroZjQR6D6KjI0tzYtF
VmBO9T39+Nsiq8kIWXq/bghYFqz9ssAxXZ0HBH80/ftb/9Nsu8WDJezuyGa/AhDzSZIZt3Ml6gbC
X8dLzPntYnox+LuwAOikYvNOlQ9jZlFKQ6x9pUG0WUJEIYPRVscDvCTL5GhRqoV/5EcviEM6RiNd
R16n+h5MZUcJlBVYX3gAhEh0k32+VnvXB2WI8VCPPQdmpEoLnqC6DsWdmDu2ajL6lnn2MA7p3WzX
xcXkq4frf4q0/1XKRX4gg1cC3Nr9VdtdAS87Bwalbp8Fx/8ZXXBJnEoPBVY6xR9ARQCfo3V/GzXx
/lo8iwWkMXoIOBW4HleiCkRStEH1qPnszfHRg77PuehLr9ODH5bmx0Spb35b/pEn+W1XmsFNMyLE
Q8Q6vaXgQHAWUrMYww2Sv3STdpoqcEIlY1Qj45YgI+oNTtVb1iSMZQlvCin+N1QN8Z05in2gavWY
CqUeMUF5G4OClFbO6IHloxfY0OcSubNgiJjh5Eun1K7m+igrkezbOSOzQJAiPURYGLhAvCcs3MOD
Ity2/PFd5j0lFh5qRXTeWdTLt0lJbCo2ps31L8y5594OU3lz/WFoMvnJRPWZmCYfJCDqWS8LUY23
hbsgw8aFbDRnYHJSeTcn7eexNPsesQODoz+/9F0oZx4dyet/jP0p28uo/OgnvnuKCywEOsy9E0yI
dlV5idibOIj2FXlc8CSKw6A5NrsCO9rAVG3lqDkCYBCqA71+ayCMyECjets2upacNqkmDF1DG4qF
oMH7rx/7wnyzu2hJtXQrxglhmt7mEWepQiCgu/6G638LImcSq2TB52Wu7IgwIovAMIFm4NwaUcJW
BUgpdJmX6/fXhzgt71RodYdElF+mK5AukjVt3vqAOs167CjnaEXB9rte9cNyMu6Wh9p13yBWBMjm
2vSAsv7meiKxS49jiT//+fDjlJKa7Q+O9r8FbN9/L24/Z9+b9xT2r+P//lqUU42erP0/z1AyiuyX
f+T/CX5fns3//U1gyf98dgtE/advtjm1xvTQfYdl8522TvsvovnyJ/9/f/gngB0/2Pf/+o+vRZe3
y28LoiL/ic0uyGP4X3/9/X/+veWd+K//WNfF56/vaO7L3/hBcze9/wSW7dnQ2hGn20Lzkx8w9wXz
TqwZBHDNZyYsB5b2nyx3y/lPzosOHmbHddDgAmz/F8vdkv+pXCQ9pERYputZtvp3WO5/yy4BOOjY
WjqWtmxA8+47LHYUJlXexNCHUBsW62FoYDraH9HYgFvqk2dlyZMRxPiTDfvGt6MHkFkk7Frd+Ckx
mmILEWc6/OXN+yda+8+kbi2vTwmTlm0rjUrCfYcYD/uwHyBZM8RW4Ws99a9hqdi6hgFjYmSsg5ID
TzDg381BR1FGhyRneqiiOBjyxAbnN1EI13yF/yGH/3g+jrm86aYFVV+8y5TofaArES5RtPCihz6N
Pauw8uE1CE9h8pb7SyiXj6GPV0M+NfiVzF0USjFPmkZZhUU0/EpHdzu2brJ3jIk5bDQ/jnWsHmoT
JT2tlVQO8abK0pizJ2t9VbvkwRnqZUT0G+VAGwhkNHcLySyWnCiAj20QIjy0sn5IpV/dDNPw9OtP
QS2v6m+v2jIhWHpA6YT17sJoHaGn3o24MNJyHVUMkFzbPaJy6natl2N2K5OGCQliipmUVDyIWXqX
k4LRdZSWNKvgiCbP7WSntykH7lXkDNmxSiIyl624WvdzkB07+xNsuQ3uY+u1Gwx6F6HNeA3VNWuj
ta69qQdWxstT41tPx/X465docuf9/SU6RCy5eMGUc42e+Us+EKVeDgysIuPI15+EHuBiOsMdhgJo
58w4OR/aN5ZPeqhdSWy5c/ndUxiJcmky2S485E8VTf3a67pt78z4Erd2V0TrXz9L+Q+3A5YnTbID
7ARlvg8vaJB/B17P2DW1+5dOIoUiAP0I4YGCi05KoBNG59GdV3In5uSHQNgcn4M0fjXlnKyKIOCc
3xcoHocRVTyqppyNewtCFoYBR2L2rCOKy7eu8E6/fuZ/S7Uxbc26oqWlCGDjGnp3I4tAzxCfuZGn
GYi4jtD3xhFahGaKYJTWQ36XoWpxZ2aWOGL33PXWljAs7NjFCZWS+s2NvCya7z5vno8rHFZPR/Oh
v8tcINjShuxAWmvnLRTwwgNHNcBVFKak0BjNiwF9dQWojul0TRbPID9FugdRB6bhhH7T23vzoRx1
ukucuf1NIoS5RKr8fMNpnp4ULPrSEtJ5F+dkGsQn5K7lr0CFmwjNIK6kulpngfvRV45LF1T4iGYR
2VepVxxBA1TByyTs519/avY/PA+XVhk7E6+bf70Ly6Caie2hwP2ruuojKF5O0E043E5DPR+MDLG2
XBQvGeGKCH/CeOdYlF1hBc9v4PCApNqk5UFcJFULNGtL6H3puwjFyhR3F9Pg2bC9feJVHVmtmYTI
8KrrGJ1ofkYxPdAKB92rKsZwjS2grVTDB4M28c63R7WvU3X5YVdqEN+T6Tfv5szzjnlmPfUyeZh0
Mu/MAeFb4vobV7mIg/wODUhePru+LXboQLDR+WggPdi5m4oT6SprFDh4f5b/XuzIsnFo1yazyiG8
R3qcAvjE/7K+iA6zT5jB0XLyPD+6r76W4wlmBFPb+hgAfwKwB+tK5QzvhQWsvLgH499uqyb0z76V
1P/2DWB5sC81lYXFEc6R7y4xWhD4yzSpSzQkoaR4NP1gde2KGVRKnAMkZVaWHfGbOevRjot14g4l
BI8eq2kbvXmlwMMpw/Kg8gEljmf+JuvL/DmnZXnDllWCZY5bgH+9j8EiKKUW9ehyCwReetN1WXU2
HoGeKhKWrHFLL4goUqc9E7Z66CWsJEygwS7H8rBqUfP/+kb4W77a8mzY7ZElerZw6I79/PHpYkCA
BTOYnsMX0zS/oc1QD53CAu9JwrKk0+z9IiDHGurTqo/KhlEdeaozeR5p+dJURQi7F7hIV/aoVfTv
nt7fVzPF5uxaFrI4QbzIu9WsL4gYRbWDS3/CbjGRINGUEAII/058ZCdNnPvbxAQi6bccpLs0/JJK
WuWqOvaOh5Ytk4cijh565zcb1j9sq3xQUmqhPcmTk++W/RwtFv1TSsqhk/aaBsficLkxBWQ5e9ZH
aO36SK01A6wbv8wzw1x4+8GKIO7L4KMFdTVxwWGRfFo2haal/PCD/u7XH+7fYuX4cLkJKMlobTiS
5e7nD9d26zoaFPZkVBwe+hpCAQKJQcVRWE5xp3BcJqhN3rmZZxyFP/XrqXyRiIHeskA+z20BBbVu
vxfMR9ZRbnYf3SzxEXRZ9AFt7ykeCEn+9VM2r/vlzzuEskzbUVQslo3ScVm5/7KeQLZHTpCDlbWs
gGbawpuYQx/d62yMi8Xfy4+FZbw0XYCdA72v4YzhtrXiO9QbHCpHIyBflR2ubZJv4zAXH4LEv3Vi
8RYHWYL11am5TP1mo1Or3LB6dZswypDiRegPxsgkXXgkyRgi+OIr9XFrGvFizcFNELFWP4yb7zNd
6h2qtnmDd5hcB5UHxwZb+BovRXNDyMveTAu9mZVK74cxN1dJZu8ySFM36OLvl337qHTiHmzMVCsf
dd/CB4WsrMFo1rNPjx3rpXKjM7uBeebqOwR9l5wng4lFv5Q7eFudvR1QS3ZjKe+mmEZ9OjMlZD6i
gogYcLNAPNB0B7/L8rMCtLp2y+IEMQ76eG/UtyV/FO11sY5nSaL9YCWL8YZYvGrx75F0kBpKcqxv
GYvRWEHWke0ia+jxl5f1AU/liYbEK2ydAjZQSlO01TGvWnK9OBMpwNi1r6WE64H3gmRAQrBKb0xr
+u6m2t+nyTzuAivqNhM7QZCa+St2u8v1cK9Rp/xuj1qumffXFFlOiuVNuH+/D+qxi8PMEWR4d2v4
mvWFWGtr31n6xGF/3vtjnPMmpHLTE6yyhfn4rRjmgAHeYL79+vq+3nLvnorDmXaxcyxLrn53eZMf
Y7ZtxAwwy+ruGHWY3uYZ+lHdIYrmdNpsLESZ/iScXe8Fn/H5nzMo85mVe3sRFJ99cHIrQzX9IROa
epjdysnGFnYwyUFhbymwSNFOYhTd6MaoN9zuLwnHEkY++U1rVTXh49Hm1y9K/dP76zlLDUxI7pKT
+/M963LApYKjJUzE15GqD5N15u1Z9XYFnVb8RWrl56PadcPcIk/1gUqDyxw8TLbg2/2V9Ga5iSNy
etQEZWgqPrq9Dk40uUke6PQfxoChhRykbQhZdpsx56nmgTSXIVgNurK3AukSUqSw39ixeoocjvLG
UP8mXutHhPK7z87WzDaW8yIr1Psze16EEBINSh01fHCKWu0RkbtwEucbvWR8z8AH4xJNJxQJFOAs
8mapoO8vCSmQn8qPsWl/7XxsFRbOpmkyxKnt0ugwT3l4xzW4bhoAZ0Dd4ZQjunxlPf/a1UYDgDa+
GXuUqHCYfOb39n3Y9MyT6esHxrmyxuLjt5Jm91r0OHbJ8nkdR/fB5sdJUaRvrg4fIkbrdBew0Adh
+sfEGGRF4PfOkOV0w7jYrvEWInc0Ny7eLFyYq6a1koOOGI11KBR9UhmCyvBPVQxSMZ6BobaoAFy/
8PZMIFzqrBF/wth/MccIHfb8xP8qOSF7TVFm22gSIxtIdB13ZDWVCL3ETJMhoMmAKvhS9oG8EVM9
HePSuY/7/muMM/hE7WMj52VAKOES7Ap7tLByR4ehgujidtWzLuv62fcw3mjvUNbZjQDndaANhOdx
HodVFICxDtMPftCap4yB6TL4mCms7q027rk+q24blzYaERkxQ0yt+9IYbHQXUiLzz4eNVosuHu5T
yZBoW1uQ9C1FI9QvxnKXRTWD3LSDtVHBRKgG/2MKvRz0+r7wOn3wvGKrTO84ME3atrpEkzAO2GKf
EKH0d9AEvqS86zv4ZHdRlZvrnFwBfy6/unQJXjDEn+VsshgF5YeBi2nlJB0qHLM82AukhNXqpc3N
O1e05rkDr5OUkOAKaZEZ0PKqgt7Zl5oNM2sEGTxzme8BsJvzloaMT7R9T5BJ5TtHdquNN8efrZJu
Tj2WnG86JviRDbKtbTH7D+E3yoaGJo16LNiuCelwAyztGCnNrBrv64CgGG984JQjX9zK/mCZ/QcI
osmu5zfKWn9PfdEcg7JdkDVNe2PiuBkJjqLPhSqZ4BXe0orSFsouOqkh2KIqCHAGGryvQRoyFkQI
IMTwXWXkUC8dC2SwTH5mcVEWEFIV0aHq3HM7YTWjUkaCHUCg08MfgZBbRDb8T8DMrJwg+q4qH6yT
ntnHsPpjsTaCU0BMY8FwBhIC8KTjNHBCiFFeMMwklKVoYaZ5prQ3s7+c9BZkNWtrfdSVIdZYHsQa
w3/9BOpjx1trPvY15Jc8CJ2D7TMKdhUsJBuKQlVXfzCUPALb3gxx0T+aXo1CTrvHxOjG+x48OajQ
tGUUxxDCd6L+++I798M7BkDt518v2P9wDFe2yyHE5oAkKDje7UK+4+P6li3qOMwMXu8Pa4xSMIyK
6F4iZXxxeF21dp5xkPqbaHI9yJztvHbxYfxm7/inQtrhYMG4F40mmUbvTuJ97ZkFy5CxGpAx7Yox
pqQOR5spXviR1hWcUcilK+VDDmfYXqylLvd0uiCbZs19Vs60FGHHISJs1+hdBT6HT0hH+tWv37F/
LKUdsWzbtqml67wrpTOnsGdsd/RHhTtsSkAfhy4FG+GnM2ZeQMSjoA7VMmYu6oTEVbjOJq/M77iY
GVWxfSEGWOIfG800XNFa0NVnSEO0QX2Tc781hhfL6b78+ln/0+dM2aOWCE7XXP75eWN2sHM0JHJQ
TJeDXmRw8uBN7Y1VXSrJbC2cLO4yO4HuG3jhygzVkSsOE5EbpPe/fip6OXa/2zw5LKG/8BgTCO96
EP1LXT+mMAnQygVr2aVin4w1DQv6Pf2EVXau5m1PXM8K6UV5RuWFfiMfyvuoDu0DJyW106G9yb20
fRKN+5Xlun2OvPHDnBbwSmUdQ2uoHhu7vJTQ9fdFxAWBQHgrWwxUbQkbNvLnrUtsHPlKKE+GKjkX
WTutg8Q7FJ2Zb2rXSlGEYlv1BmZ1YWCArQys29xIUC+58x9pEpgkk+U7x0yXYeV4FI5X3zqp3uZe
e48YrF/R7WCCXOAx6bBjFWVXnwLU/sfB6oGRMpHf4acnwAnt3wJCCbLy61CxllwNes14SSrRrQt6
zi868I6pGp9rJi0XyGnG2lTT51KWvzv/q6XD/e5jwXTPFMLimG26zrsrJBvKQsmGRlizLOQqzVfd
aDbnrIeVoCtn2nJ3XoLSare1Xnjc+fAHyvxt4TWYpuS8zQIDiHlnF0CB5RZHj8d6B5kWdbKEdGb5
1kfdjXe0dDmRLA3FVhFN6Q4tV37GftTmuJeqcip3vTzPJRk5Q6uZMZf5TZf4xDz4xm9WHLWsKO9f
soeZQZrMo2gAvmv6+3WKZ1PQ9Ne9S9pTbJkrGYh7ARSxpsa9C0dRrFvyO1DyoyZFnUTiVOgkhBxq
EMI5bWZ/MaFJ0yf4hQql/xQAv3lKwvGQzsjk80LdGlkVbIvFpcJxrjjh36H6wDi77Rl3rDnwW9uB
7MNjU01y7eTig9HDx6yG1yaQ1c2v771/WAYsRVWOAdCiH0DH7udlwA0RrVQRuGXKLrJBTDbRoHSJ
94NrAtIVG78xEPEnZcLRgtaxAQRzK4fmSU18Or95Mn9v9fNkJNs5hzFNKf1uwc+mWkB7GUjgKYLo
AbzWju46bNwmWg8A6HcI7w/0bG9bm5bYghgM2Un3ZApkXtD9phl3feU/XwsWbWXhEibNM/Ksd20c
T5d4KAuezGxgOUfLiLYvqx8Jqjupvozu6+x7jmEGBAl5S+6cO+ue4uAI2SB9DVDa1938sYLdfR/i
3DlHBtG7QwIZdoiQ+nth9GwEdDHSfvZPQ+MA8l8ogVNPuYGuGZ9JJ4a9nRYmTUmC4eyw2haLzRoj
hXnz34Sd147cyLZtv4gAvXklmT6zvM0XooxETwaDnl9/BusCF7u1N9QvDUgtVFbSRKxYa84x9YFK
bVyQf6aG7o92lweA/LXbDi2/P7pM/8v+uW716Dh7WyHTxxiFYFCT9DbKaAwrOmGM1rtTpJEi1DMj
CRbVPSiyOHvET58hiZBMUHn7HJsIuz16hr/faf2/1xbuNJfWZYVRGfCuzb3/WPJ7ZRm6okeriObG
W11cGYt1rG6LdR2oVvYciUM+gX0YW/UJfPiAwHaousCyq+VRRdjik+cQc7X7YznR/7QSQijV1Uj/
M60QCKKwP7QfVRsxAMpsymVEEVnOqeRfvsr6hvzxnKyDaM63zvoW/bxh//FVPBV5at2rCpDNMPWq
fdf1GuFqkDGYiN9Zo2jeLexbnVru7QT8HgLBc7b2NWqbvSGiJY99GTFkt/Hk+uIZlgK5M6F9n833
sdHqLwPLkIJvBG0hfHZVkb/B9BnvRrz/l6/y3y1Vc+2Qa67hMZfQ1iH+f94V2CpazphF4TjGOGMm
mmibuxBMIMO+s/fnqRffyrh5wR2pYwrswrjvh6eRKKtgjYIikkkBKJe8VBJgpNBAysgk20lhm0fS
SVGJQK/ZUtJ5yLHU0PCq8ZaMRyp8eKr/spRr+v/4MnT4dddxafYb6p/bly2UrBx7+sPphEhOL2BC
Rk70YrZThKS8vNOLOd1WtaNsoQ4EnFRRPxNoQozgRFKQVqV3+fTtgJrV+uaKdmpXZzFqUG5IoKkl
bGC73nQ5/JCnygEYoqqg1KoBjOis9Xe/bOgQVhG1b8WqMmUNBbRiM/MdctV60G2eWC8zgLR0uJDq
yer28zxgxCwNVhrdfraU1Au07LYoC/sxwmcLm6YdCIL16tDuhXuumuV9yJWzRFR1WVr96g61fHQS
7XGO640cvebRiRiqU+FIlbBZe5kGkqfJ3AFdiSvcnPH36Zx76FW6S3smaxf/U7KoCA/Vd8Uh2Zeg
tTMxBCpiRYvTv3JAEp5valUtd80uekwyced5JITZikrsZS2cwFRz38FuLIF77DzXQFLYcS60qx5q
0zqaahWsH4x46ODS9LPQ5Ye48NvAbBYXdRlTZgXkfkh6KXrIpS+vCs2qgiyJQ0RE8aFLv2mVe2HR
1SMhRDomAosYxca82g5SvjkvMVK0NIzSRKobxXSbuyrK1U0VQycaEtHt1u107i1UhPkEb6Jonnu1
w81KN75EqXVuy+bZtejPTBZ5Qn9/vX60JH+sFMyDVUaKBDQyG/6junBK1x7xEFFdaBMwsxYMpyJ7
6+SQTRH2OUR9j5O+r7n3XbvsEww/T2JR3GNEPjadhDnEA6Y+mQsPcBFBSSFi4vDDFoQS+z0iZAQc
m4qDbki4JQm20NVyN+I0SCtjl2iq/hBDeI9FPW/iSTV3MQg8P1dL7wTDh7QJj4Yns1V2jGn6HeN3
vtdwdfpZ73anUtlLJ8GqMfFkqKWxM4fRRWhf+WM+NWc6gEenM5VLwSn2NjZhR9qYq/JYrT5tQ9JH
1aA4RQPuc0gOgQ7m9Zx2HU6LQVH2WI/BajavzODlxbJFvAEiCzYnjZ8QVxgPTb9erwUnXtIq71Mz
eaD1yE6TI0vMkgvzqKeVt8lSJ3+bk3eYHBu5YpRtDXadEwGaTxCMh1HkFafJWu5/vDoGbeW/3+D/
ueRYKrWjq1FLqc4fuxrbVla1+poBKlC8GgZdghjzBQsM04J+WB/s1nlvEnIfnQQLdaHczi3pUVEd
kRNVELSnFZazlXN9KAaO33oNfYKD0+JnhoXllbTzwClaQJxsZlsrI7z1lz5Z0Ubp1f5f9jXrv09l
pu1ynl1FF0xb9D8aARKL3VAyWoE1BAIs67JLanevVVa/Idn1WP4RX3MXMBk1MqXJxMu2tD1xx0V0
nQmGu4cj4K4gio2Xl+0J+1N9K73i3lX0/we5HgjbwbVSfMTagBmhW/KNzgR8V/foPtOJQ6mEZt8Z
nzp76Y/oxFugq0W98wbYbzhULmvLRL80GvPqAVR20DGVx4uNLssiTeUpiSWWPD0Pqm4y9jR1z/Sy
ynvb62VIZXLA6Tlt6hZC1d+fg5/GxD9fdIdyGj4IeyiSCuOPorqsU9sdVSAtUzbQ/spDmvcTQ7Ye
gIekx+7okAuLOMdhoq7aoHyu90Mhyd9SDTYWsBZXSu8HkdrfcUMcBMt5fG8s2kauibAZNOXQYamm
v1xEp4kAXaC6xArkir1i3jFW5ketm/W9XUPmdYyuZUzzUFmk5xB3RLJOhhHeRUf14xtLFYGSvag/
TA/irtkKAPCMXSFQDNjrEsg1agHb4O+XyFufnn9eIjQBumfojqGvXfM/Sv0snTT4aoJMkgqdvrKy
LDtNS08q7lpSFQTaFDRt68pUPoJopqczmnQap/5QNJ3cKMnEqIz039YRD3HVerta4t9G1jvB/24D
T/9wh8LcIZEDXDi7vznYaAeVQBujIh+GhrF6r2aIt5LUUEPSw957MWV4353s4jWwx6N23aLTie5z
4egXb/ETaXaXCfsgc8Jyn+RDefpxKwzqDLrInbIwlaX+MNh84o9NosuWF7Lp6p0Tt0WYuPN3ay47
bG13LdTAbSwBjJizoLU4A5PROpvA2e49X7mPtA46ONW+oEd50vTuRVjkTK22DNVV/CxQvOloNLYg
FF2Euhu/LKAojw1VIZ1aJmZpVW88G2N1lsD6BUYpjOxR78D2rV4qalLkA26zJ+BYHvX8LV4+M7ke
XmuJGvj/2xw9z/iX2/4/VkiXsbhno9/keG3+OcKtTZF5Qh/jYIgfyGZ2fbf6NmrlFpgSYMGK2IFi
VE5LDVpekgufpRCt6jnFY8k/zUghSfv5xLQRCEm96dvpEcIeTCuMsmUN6Q4B/eHnREG6aO+TBNai
8Mj/bcC/nvz+eHZpi+gah090c+hQ/1kmM6sBYGgBDkIDUu8ox4YDeX07Z9KrS7qH0HF0IvehJ3Qi
6rLphiZqtR11et7WBaz+dObXJPuFEzaYovqdMXZ5rjL36+9v2P842dOysWmdMub3kJP8IXZJWlQ3
bc/jUuGLWzF4z/HMYKrpXWuTlSSNzSlT/WipSgCzVrSreJOAdihBV9EV/Psvs16RP66YvRbjKG8s
z0Kz8c8rZjdmMXsCLhNDsgBa9NbCIPT3jyD95s8PYSlRV+nW2s8wzJ8l5z8OYo1b5HWOc4AoAZVk
bfYaiKvoZs5NSr4zpQxBD1VqYrO3CNfsbV5M6iYV6T1pKXMfalHxm6CP6JwbcXSWORrOUi+ODF1x
XCaV0Pcg33beD57R4FU9x1BjoDTa8/RNzB4QlpicJomGaO1N6RwuRugrK0Kf2SQn+BGSTiua0YeO
5BF1gVldscWwUztaaGnGIbxXl/5lBgKGfM+ANff4k/6LbQ4iXtWO/jga19FECavBqVGrdAkyr/iw
DUpuj5RO5vBdEkT5dix42MyCDCF7zsJOtV+mFNeJKMVRXxAzNE0UJmPcH+Zm/CTYS9tXEMoZJoem
lZmXqeg2hNWkWxa0aGMhBzWmMjkix1vD8Z6SpWWexfwuxOH00uLQDpOohJUFPPzQA6+2Cg4vpYwv
wK0pH5Mu33mzXpKku9w30rzQmY/PYFcvc8XQoO/yYluT6xsVVsTokQkjhP/LUJEs55KNs5HABmmu
5azfaZ08xPaRtqSADHQahJfeDOVK+h2iR2UC6gtx7nZg/Hb44WE5OSrVRo2gIK6QlTRtqThSrmcQ
w6/ekgTlnXkp7L1CljQdQULCV2PRWEnf1ovmmChCPekkimGxjIHdUbseDcR5R8kCHLumsoMxEXMf
x/LfXl/tv1aZdWc0DFXjXtMad/84jAMMqMbeiZPAtkmznuMUKtzwBkXSwFCmCV/76ux0Pg5Zbuwi
mpZB4VTKuZiJqGryhduVrboTlfZSAdx1HTOjPdYJNWtjfItL3ZL96Gb7kdnLkQemJR8UCrLpVl94
o324IoHbDQrFgu1ivpfOjhHUDXEW7Y0cspO9vHnKkCNbCjjZX7WuTA5O4ZR7YCA3pB2Q5jTJmzHy
5L3iWQtJVMdKt7Qzud6Xag76NSFeter4mJS/6Ibki29P+L5GNaMVLiztNmoOjptER2AH/SnJWULZ
liufFoN+Sw6AcTt5mUnXnOAhdfZ/aAo/XIVFF59xZd1MHByYx03NIbeae8jUHyru5F1sZn6G/+RQ
WikAKg0OC7uy34wN9uIZkTG8MxgZh8xCoFlNpCvlzOK63A1bvmE0cOjU27WSbwgQLhiWQXkiLQoG
ZcEZ+JJnxFwSxBYaluixIOMmnTtOxcz5SLyRMNRqISzmQBjMRuE8aG6NmMeAnF9S+XBuGMMfM8sk
7egw0l0m9sI6CUTKJ8jmMQqAE4yakqkQYQlJAxDp76sotse1rf+PtdphALiq6nTDW48yf6zV+HO7
Oc94nkTTRyTuHIgUI9FPe231kgTS1glw+H8lLeM1F7zR2tbIN9BoaReXzgsyIYBMGPWBdfdAVuKE
lwNU6JJ8rjE1AXGyX44xcO2U+KMmh9aPBc84tuVNBs5sk5MSSddICT0dO1bWNXdaHj1Shn5X0QQv
Mn4WFSKspb9jI9spnCfacYABDKANhfqyyYwENjc/MXrHGJEfuqJBQ2JhHvB49Gkcdj7GwB02I2i2
k1SAzNewFfEKTaPyTSqUCsCARcNm6liMBePlNRA+U+GFgoctHMBTZCfiyrete+pbn+CsvduWjyOQ
GxJo+OU7e6GtSUJsOT7VkfdLn1vdB4zTrpNK4YOP+3LmBKS6TXJhhtc5N0GKGeBVSY7+NKCX8lTC
/+XyMEVoGoYo9DUtP22RoYr6cSqHjVJgP9ccCDKIKtZrqX6IrgPV2gKFVpLu5D6liP/IjWLc2S/5
A9pa7GwLHMZJJFSSEeJWCetDYhdJDPO9LUXYas10sLiOnWZM4VS3Gecx9ToXC0mjDT7iRqk3jfUo
eTjCSMwntyKjcqVkI1piRE0zp2I8sMksOKuYd3f97NxAYT6mFd7tWOaQsLL4ynj9rCXKRXEbNinB
xWGc5pEISwiDIo/9SI90IOkK8VgWGGjyxoo2xcKWH2pCeWMFep9LvOWmLMygmxjA2Pwpnx2KwswJ
M9u+pfN9k5nk+kQZshaoYDfEIWPoSUmjqhU4QrryQR/zFFV6CMocN6vHj7DEFHZKHQUeWX3+0CYL
rAkMdf0B2yF2zbJ3N0Nc4O52HheRH80m/SR06Q53q8Gimv4iV81s83seknfP5duCrZAepX9WEg7b
OcZz1I5pUJZlRZur+cauPPgty52dJCFhijXf1kNnUryCG95nZU2YjjoUG+LVAEvbd26XfWiAxZqR
r9p7XLhFGX7Z2bDPJ04ydszfaIBiMg+elWhzv4I7gNIl/z3KmgtsVs+ZFrTwTfWM/9vPEIU8A98e
aXK4vrMPb6kf06iEVjPQb4FktjOgOwZceRz+WIlTuBk2JUswubwvkFqOEQD1QLNcpE6L8a0La+tO
8tR3ukCzRVqjMwJo1eqMvJPGDFR5JULrvHQMdZwiussN6yHWSg4/7ilXm5qGFjgApbXyrYINiFSy
fZw5ta/pWG2acklYN5UlQJG/d0brc2GWtHpn6fY5tO/ALYfidmFNXPtkRbh4tL+q6H1p0ImqS83s
uuoQD+DDLur0OmmIQ+b06ed15Q4mm8ZxAyfJEAzb1jlKeJMqd32V0+G3R4BBj13SXzoXdYtjUh9E
D3rTPfHy3PAQwkeBRuFXZr9VCLAAYMDNUAp5GzfdB3QqxkHTL7SXzIc1qjVUq18QkgSPdSru6s79
BshaYr8h8C4mSsrGahrWmQq1joVIWvk7RlhuS/lgo8XFH+V9KLyUHt/HolILEswZfn6Pv13166rA
1Kz+zoVSsdwW72XCx04piaJ5h6QDrmUVe6SF5xmpw/m9oULzMQTzIdQSfrwsuA0X0IJ75kjEKALZ
n3KTLxNNH3rLVVT1+tWxya4o5cdE185PjVdNaT/61jWIroFuJYfvWLBitfp8U7FaETJC7z3nRiPa
3rmD+csSu8lSIDwWJQtmnD+qQjs6VfLoFfFj4xpmULSs8u7E+S0jbJ067FvNpofSaV+qZdgQ1cCQ
GI6+j8TmrJOS3lR8W9XhqmdEs/iRx8fDTmyEAffQwUYmXDiTYsU5sdyWs1OGF7Hm4trQRvhRga1D
ckijjEcck47fM/I20UBwS232oZz47gUXR8G8TKPJr9AHC5CfdEHUhXVZ9+jJWeG3MOboSBPkGjg9
tzci48DM43s7v1PqEbuBUtHPXopH0Sp3i0V4E2T7JlSsWwXoUijVxMR0UH0msEZ8vClAqaSzqd3p
C8TrHqEU4sAhIYqt52HTsuZOceVv6fLIqgYxQubAMDA+VmaZhcTNyiBzxsco754kCz6RdoLpjKBr
29Fopzf0Raw7dNpqO9kDUmoLNGXqvore8wjbZNyf9ISJETXvu7PxWFX6GxJqIyRND0VaM56ECcm6
r7ezl5FBmfDMSLsOYjeO/EoYAO4Hhofu5G2MYSv0GPorwcRB4sS2T2gm9kpuVtzExE2ar4ps8YXo
+Xc5AafBz/ULxW8wqgPCWx1rQx8DgP/5D5+lt4WxWRZKlFWkooP2ZIngTxl+TdX6st0mD2wKZlK3
582EzM+nSv8aRIwhYCzOS2LEq1KLtJx62U5ojX3GpQev03pS7dTa72rvN22wIyj8p8TlYQJN71sK
a0GhclOrzr3Ryv48LjKcLPgGZXLrROq7VBWTdbJFQjZY7zThcOhA4aVJ6LFZiVfLct60GXEqukXi
ABVX8C7t+qz/qKskCyabAtCbYWqzdQWMRqhyaDvlqk071MM4VHvFraU3PM9aXAUw/SuSMn0475hA
zewBMuoQpa9FSZMxenFL9SonHkYtTkZ+iP4e8XYDmAZL6ooPk36SUku0v+gHBw9CQcTkGCrMsTAn
4TfkdrQlq6roEGf2jfGKEftKzEEaguJ/G2X8NM9s/maVMD/mxVYjvWWfA7060EIaNVXAGkpK4LMx
nTkTKqSjkBmY2TTDAPJUM6JqGVT98ps8JwCb8D91waHRnloqpMwMGhux+qI3pyknjK+zELi3aX+r
EBdFLB1qBMohhCm83dlSUKFRIsyG9y1F8656kEyj6K51kaYWZBJvHSu+zXo4dAjeiEIpHsoBLDVH
ie9CpRmPfm8IzJJdrilPzgA1koLvMSceT5ryYxnZJ4uiflPAVOEdIBtZT91n0SEx5vVDNTt+uGNS
hoO1BpfTeh6Z1uR5Eab2LbFlj22HqbOeMfyPYwL4jPY0tuKt3lHDkSr22DEUCsr+l9Ds4Qbcyrc+
n8uW9y/SzB2Ecyovm6I2Ing9s1AgQtNZcoYAWqISO0m4UMlDytiOAIm5ZCLOc5pq3mvsKSSRDDZ3
lXvIcfaFluulKryP3mM8U5aqGy6Ej/uekIfOQxBKENHH6DEp1/jGQ5lRVTHjZSAMvWNmkyCiCgoa
vxtHdBFltChzncYDWHBH3SLgog29NMyvJlA1aamxTaXZgRSWZetk2YPWFu+OwR7qzsQoADNNmkqG
KVUlyAgnxv47j7uYiCJlRI9l5A/aoE8bb/kym+a3Uafq1ijbIJ9tBK9WZfEqxzkTUyMgI2n0l4pM
kHGaWNv9xZ5F6JmzFY5dQv0inPgwjUDvKxo4ZAuworGg+zRSaBbX5rVk4k7cA1MkV7akhco06Ahv
K6u4DyBA0AHQ7vNGaP6EzWOzht239NQ3EOgNX9Swg81SPYDWttJmb0Bi09UEDp+hAwmxxLadfmtq
U3DOsbcSBWvIobHblONViL5gSsaJUpmHbTkwg0SSmTEo+mriJLltROMiFhwXFBhIXeD6hI1NYgPY
z6BJ5B5v9XCqdf04wne9zNMn8rB4a1Y6YlQJYE3Ts70yOeFKjDpYeUywITo6fQYMOTYoSW1TvhHp
B5JCdWugVvNeW4iL/BGpRDoBC8arR5oLfZms9GlP3WiZ+kJX7Whr8J36eKGR43TQupK3OSuPqqQZ
ofPQpYWXgKvIv8qGh56+ve9xpf1e/RojB2S2UZlbvbaeqin97rKEVu9CtLACBD1tyVuwqdhXUhFR
J7txEd+chG5FDpe7J5fWR7hMiSi7N/5hBdE4N/2+eIqKmIAAtNWkLfNE1Gis56h5m8pI4fxu3dtx
EvuGhDJjOuLSgS87oDgOgHH5ueM9Kr03+hPsPL8h1SXBM9aPLfXIzGCYwGDEEL2fj0wrvRiIHDIl
2E1kfykkx4SL2n6j8yfdgaqSSAYCynqdtJDB7rBK87I/laYjg7h2rhO87SDt/LjsNvSQk0vESKdu
ejME5cIeMdgHt2TKv1jxwFsiDkozznthpj5ixY/BA6EMqv4qVRC8dETqIJmmXdqVagBdKCgt7XeW
0M0ER9nQ5WK5BWNJU2sbafhSCbj/3XYEtOdqHiLi2qs8b1qhbRfP5UKW5Ws1kh45K93WceFPVdEM
Eqc5dA3mo2iICXYXb4VMdI6AEIbwjNwByEOTRQbldjDNa1cSliJHCpdF0z57hxaVMxMhrWddHpoo
urFpJ6+LNn2rE66qoiPTqddQ0jWrcp3FCNGAxsQj/tXFcxdMxHyVy2Jw27P3Js/2tpUTutI/zo18
mCxDsjtGQW/NDcMeEI6jOilnUv5QATAFAdi75hDLZw6TdjoizdUwftukNKr6dIjJPPLTurs4lZaH
sHEucuxD0bP/5m23HsjCwQCV1k7EXsZ9h9bT12aL8LxF+onIytAaDQCbM+QCzbV2g4AsPIxyn6JU
sxaCiEFIz0NEg0nhKc0j9L+NFCN1pjLtskuxZGpAfARp1XpsvgjP+9XzaPm2Iwc2UIPvVVbJnnuX
4jYeaUQt8FqlYe1IQLBxuaM2VNkOmgkVB3xvhHvujSI072JCyqxkqdI5fsVcwd02MufG0kg2W37a
FXV900++NZEtAiaFw7/qlbsEY6mS5X43Q4Lt6WKHhj7mHJWVZySHmFB17wkP4xRE1vyZ5e1d3C4v
+pAVuw45jL8kSAEjCNqMLp0bh/KLFjdDumFeeOGs6NKXOns7+XsoRT1WhPIRWGxIWU6EH/9zmQiL
IKzesB+Ukeo2zW4ZGJJ1nbbaqZm7G+9Jw3yK4g2dG43w/Wg27bZpevLSmNTFsJXSeQmGonOCWtLm
THhpG4GFKEHVv9fLLkx6mORmWqLtXR5L5GPhrM0fecG6p8ZQAhIvD4qm/MwAYsPx0knNoxupDMbR
NSdifLP0oRH85AE+ESGlu8zox13iIakxst89qcOh3ZAh7ihd6I01aS6muIwNB3FzViShCGz7CH21
2UWRE8dfCyx4ymGr9OUaCGI4H4PTpsdcia4tp89DxNjGVFhlp7qh+yr7ezbMa7S2JHKrTjlsWBwS
TbmjbfnUVe6nqD6WlmK58pbrKKJ7KnvyJbv4KBF6kWf3xJxzZ6f16BvLgImDWIR4pNRy6RNHH5XR
ELiZj/AC6zyQfUud0+8Id6Uj6cBGVowLh6rnipQY9pcatX3CNaP00VPUSxwuk+42cQA0EsuN7kE/
OamSbmOLWYyTaZe20+5pnL3YMcINHhPkwQkBOjYveR3TDXRSdgjj2zQwMaKMCZMKefCS2jdCVQ6m
KG9FpH2W2Gy6Lv72akYfZndvqqAM3WIjEo5XXROMdtv4nISGZLzWuLQD/jzTK5DrnGvjojDQcvPO
UJZ7ep79tqzjD/wd806vokNVKbdT6dwJTTZU10R9K1pNEDkwY7JHsLKuZXa4VNxqgj7d2HE3WpR9
jqmwwzaLL9IpA4PxEvv0XTeZp3IczAuTucvC6QJpWX4QXg6QWHFRrQLSnkgP75fQkpHcwYG+qTxl
CVsXJZYBWjmpdZ96qOD33GX9uuq0t1Kthj27JGNcqEqoMLKDa87projfeL4KYzst4KJxy8hj0zbP
lTatbj8C0Xqr+Ha95ju1Up5ejTUfnh8AhwoHRwsX0nUdMKjuZwP4bpieooruQZmrNH4HSdVe9d9Z
MV6c0tmLsrnSqdJvTDP/jPLhk/61uvdgiUFr0xdkWuTnqlUVaBNnf0tSPopIBVTHWDTwuPRL+Q4g
hiOIsnWX/ouDJ5x4c7jqkjhygCjiVBM0cCooN2HO6MdcWMt2MFZrq/pbrv8ahOuvpodE2jYGt1QC
MFBFwJQWA1mXXsnhcS5WP1OdGtJBdb4i28vpXA7KFeztGBoOFjal6xoEzTC/szp7sQCXwBJdQtvg
3VUo2irUSzssMszJpQvF5VXJYyLwSN+D4B1Ok9Jue9F86Koswg7m5raxDTre0UbzGszwisFLKdjb
9CYDlH/WGvpgIP+eOz2nIYY7HDGro+KOuuGklaBOlCMnTC8ObasdN5iN8yAiznBTpMPoi0m/H3pH
OWV1AetyYjszyMndl+T5QQiFoCXpGAOjJBYuYbaKAFCwgk8co7zuos9EQvL3la/o09YkvZxeCFQ1
oT7SB2+UVXUs2/RBz0Ro2g6MftI5kiAZ3WFjO47NSFSvw5Q4sd4au11MFwxarnu2uvZM7MZxKVkM
UJTgg8og3fvEid7PFWohNSboOWXUJMurF8F2jxOFPZXss8JR3h181Aijsk+qbPVojXIqOdODPB7J
XGTypN04JmHWagWljhyCY23jEl1wQRADu27ntMqb1rzwpd3jHCukcunNN4BasKBKiZ0CiXTAyJVW
SgIv0ha9vbUt/dMqFjNofabmcPJ09YGt4rwQ+rxFzNa49n1vpvdpgsDWBYVRIZagzxei8KnodDBb
7cRylJq3y6DpPnimODgaK7ExzeQfa3TKZsxsmzlPOdxFyo2T067O4tuZxJKtokJqTmRBH7Kqs6tZ
WVkgnOI5X8VAXd6+KUGklCWpvhqKOIMS0PK2qWtdEO4drMn56u1oW3tlGehL9olU82HqYMau7Sk2
EUmqRQSkJ33QwI3LKT7p7BxpZ9a/umFkjLPJi+GKSbDcyJmJHaNG48wKuXEtOQU9Vhjlqsf1t+Is
LfMT1Hd0r81VaCb3LjHVrcGBqB9tc5N0m1YnJX1JLWAP5LqXtDrrxGRW0mHYARV/tJfklkDg40I1
wgSkHEPXlUejG9aLTIfMqidiyrVfpL69eymVWlOYdqCo857W+0vKw3Ojy/RVFPaVDcIOGSDelgZb
hWx5xexl4PrQ13Utsw8A7ND5aj2knuiHk0bRIO3YL2kxXJCY4MoczGojm0vaJrsIz4YGjrkcwEzC
m7xrqhgM31dkkp2ORJB5OEQVBya+bltUEJh66Ben+Ocj76yOt24WLSymFVEymbo3YyyTlUTUJR3l
XgxtHQwtn+DOJN7M8mYwGmXnqgwwqhYpK9KtDPdZxSysL38rBipoVck+YpUON9Hze16Du8Kuyk3a
muOmG9XX3EzmrV26ny1gDmoZTvpLyqdMQAMCCqxfTGyfbF3RT8h12JmItG4dEwns/N7MKcVezi7b
sI+TcU7kwtgBFFVp3tYO/driFEnv0eoGIKZHYQ6UwHy2rpQThTwRceh2wkorNy5CKtk7z0sc80yY
PXPl58buHut8FY5EhFJVGv70cUxdVk5wLUzwGIV65jVGWrWpSWTkPT1Kq1deQFlhxcS6hCZcNqDr
0Vr7GuJ8P+7U/ThDSVL7vjlYAgiFGDgvpwXia6tK8QVRcvrEE9GvRiDfmnoVJoZShEJXnmeK9tir
LAgpdbEZK42Zt2BfyxexMSfaJazeOj+wjGmONHRy2dUGUj422L52GosMJl0moXI7u/iLJyiums0s
zFppFkaXHWcJcjxblfBT3568okIZFoOPGkE4J7wKMhmjA33xWzPRLqqhv6VkJJ4SYoB9YTkPimzu
itYcUL07BVMZMi6zcWFrc8rtqAplwxp8GDQyplmVtXjGxsqOCR9qzQB5hdlN1368WoqXndPZ2qmz
F28bk2lONqqfhNxMe21yM5qT6G/7pD+yxH3EMXkEbWqdtTUPdJ1VRPVKi5umq2sOd30zf0RV2mCf
h5mCAsy3S5PImYpSjngbWXfZdui910llAzCMa0/eHrEkBbkF+bK3y9ja19iZnGYhZN32jnPnfnVp
8aS7l5K/tzmuQtKsaPRyktLFIR3UnaidA9itZoPY4tRB8OVUvtOYOeEypcdM12jLMDbZmJH6QI99
E/ceyl/Qk1Se1eSebHtOLsq4PHljc+5KElxHI7XYpcEMN+kvkg4AhJb2Z5PZDiXrcpNH8fskZVhz
osHWyyuLiSimLnB/N8lK/DT57Rje0TfT2U5ceEx7NJDqTib2fWQn22JSxi2NLiYMNolmfZVxAJ9v
OR7gBaZ1Hbazkm/bcWSjbvudBv8GI5K3bCORIWq3+hcP6e+DUyhnbyK7VqoW4QTqvtfo0VjW8qq7
xUxFaPudwf5MXDopKMp0TJUJ6Z4onkWdO7u80J67pdFOA91ZYpA5dy/1t5kbp7QW+ItXa0E+XRfV
+PTKnrIRlyuQgHdScIe9SdsJzHh7sPvMYuYlPvIZgyGFlmCmB7eY+o6sOV1wmjRjmzlGNT7lrnJW
Mrkht/ep8hgau51Ca4veA2QSnmmPMgirPDzCJjnzfrHkZAzxJ1fPt5NnPCPYR85sX9FI0IQY8scp
4ahS8LBwYVD0UjRp9S9XL18wwndsWrVx6IAKs3kyVE6YpjeRe2P3Ai8h2ANo61BW3KDvLZYFtz/U
Zd4HhUFLFcA42RuJHULE3/wfY2e25DaSZulXact7VGNf2jrrgiS4Bxn7dgMLSSHAATg2x/708yGq
ejqVNVY5ZmVZqVSIYgQB+L+c8x1R/vTReBDj5MS0sd13N83qc1QCvQCpg4svXVY69JzzE+hae09Q
mOWz4LZzvCEWIZEQXLetzYQBH8V9h8hmbbfWtavadwwKt2hgMLzoMzO3aWQVtgSmJP4PvfxoDe89
95j4opffTqX6wXqMbS6GTqOxXgO9IlXRi39iQoXpm4k9NRCTRxPPg2P6EPbzgzdaTlgtSKWRxTDR
DGRj25W7LiZmAaxbOYjrLebhJ8T7wZYD5CaJiaqDtsC5l7m3FFwn0NEsG3wTCwkPEDYU7AFbwtR4
Eea2nkH3gkaaYtOfAa/n8Z7VGYyGxAaL7oVYm9or0kmmQF/wEfeuKJaVNJvKMJbzFOb18JRSMAgb
UMIsitcK4vzRKDsil0wmX02w1ymiV3OP3t5euLv4KIigqexDjpXdY+2/ZoK/Qb+y9Xvrh0g1iLIF
+VsyehDs/HCm1Ou5XI66hAQlslXWcpyg0lnavVDBHuKt4OjHz5ytsoSdI53f3pfOGxTRn/jyocVi
VfSZLQEVmx12QZb/jp0UtXiN79/KbxhnvfGnAeA02k81l+lKJMU+GOd1yd0+Gc7O6+OO/blgkhGB
/yGgiOmBJKKTsnpqkIJ0Of+5IJw8YWujj9WaBRhg0DHbWtarStSj3jGITtGLruyStZHMvbeoVikO
0Z9kJ41vzWQfMOM9tvVkH6PY/GhVfGxJ8lrl5fhRW4CIvOww1jcz45pFMJQCimAoxKYqjYv3PB0B
JRiltU6UfSBRRGrqBYHaj5Jfr3O5U2yn9m6KXdu2yBoguI6KJGMiOLlw/fO4349V9ZYjBDhYgixY
SQm3vIYtgmwXx9rONfuzZ2h4N+xvhj3syFpeqcZpkZCU8SZq+fokzX7UNmaEDmC4lqmHJjgZ/FtL
OCVP+cdcJ90nUCfyEnfpLG6dMdE3ms6kPPEmseo9Kwd+aXUry8jvGi3edEw515DIirU307UkvoWk
qFc/OMS+oRwjyyNdZnhsG5x3ZEArmUIFBjUUOqa2E2SDbYfhhdRr4B8GnVk357um/WYN3NdGpQhv
ZZuJ/SoOmdk/sMJHEO9v9KZXpFSvSpFiIdDtZM1K/CCC+XGS+veoWEh/hr8W3qDfB1IjtRj9MdXg
M3bo19RX3/FLFDtV3oCOeOl94hk6xkU6kt5VZlrrWU3eOrH4SdjLDSebymI0kbFhZ9TFIqLZ4X1U
G936zv7JYOoSLVsR2uQaKjeZIyQJl+w5MWanG/YDB7pYWp5mMTZFLmmPE/xL8sXDZIbgXA42sJfm
kOk5s3A2m67Sww714srtq2ynW+vaZBJiBzG7+9l6TZP5hKJ/WJVaxgLT9e+8gToaHwMzy4HtYWBJ
miaGzR1ZJrwOO26Lj7iyxw6fQb23gVnvZm36jtyjJdWb/VlWbbHFB6nf7W3CF1b5hL438xlIxSNe
kW6i1+X5EuSYnL3J5HHN6FEsM0J23EdAqyMrvhKDUzPVx0lmj7nRO6wkCJezI/cuHkkVJtlkjXNR
UdJYu9l3z7ipUMwO1doawEXDXv3uypJYwIyRAAqgjWUQMVoHM19lDWyJmHIOxGwB6+p3fBD6VqUB
arA2f4Ok43N9QYBqYSlZBSws5K2sZhXHqY6mtlVkKKY+WAQPnRstNFU0eWejnj0RgT4wxzLe6Y+0
VnBeudyAQ0c6MdKicGzYG4lCf5Yiqrec/kRx8ayuG1Yx0DvkKpLZVY+ICJuqXWsAF8mK6b2yiANW
xuxtUABWXJ48zwcHLaypM+zNC/+e1JlpF6EYoTNVE0NfF2FBB+tfdgzpEMM7913i0efOXFqVf6E0
a9kX5MFWBePN6NbgaxoqtiF4AjuGL1jUm7nFzGc9E/iE8onIz9WU0xMtVpyTqgb/WA+vEgrlmuuK
O5npyIoQ4xstmvUw9vQkHDVj+csYjqs3K3e0sCrKXZk7FZoGuYEJUyBJQlDYG2DE8UOs1TAzvVds
rt2GL65eWK7Gu6Zhs0EWDFXDsxGU5ZZCDtDrXDA3bJBTNW62R4/KRW+ipyxczpJWYwBlo4Rr6qnY
1WV/CUboaTRZhBTgtkeSXQBIa/N1PFpMihMO+6h6tCVzwshF8uM6dEkR0HJQUdBfuuLT0uKXwfI/
ZURLZLSsp+q0fFSIZTYoft/I8eTjZ6AifG3rptarnZdumJEVOOAdZQOvR+vSRz8mQVKEgj04Z5ZF
qDm6phxT9DrJ+fnFdgknISGTMsPusHWKHlWiS9iKQ7zowiND+YL8VqvFXpjcg5HPY6afMqqa8pon
nVyzDyPDHek+acHMe7hrE5zV6DNYqzZ9dGmL+tWLUWzEmcnSoELBRhuYIvjg0jyweZtWNQLZrclW
cmVYtR2C++FdO54ISenYNwOTRMKzWQEhKvl6VPpi4L4P0lVfgdFMEudzSNW+tzI260rhdZpfGLWQ
nlF8eDkDtaEvllNW8ClXWRXKzNv2jREW7DoBY7nWceTxWFqsbmCeQckQlrPBKc26iJg92q+V7lmM
G+j4eXRT+TtefbDQZ9CkdWuSkhlcLr6whJP3xGVOocdwfuUitELNW1Qrpy1vpcjObeJMp0brAVTH
aBwsNFlFqW0yybGaNWzG0LtoewK3GO46JWoUc94xcEN6Jtr8UBjlUs+ixG53KOaTddCgjaPz2LL8
T0mtuMggOyFmiPaYAB/cjnhRM0cgM8BXLPqEaYkSzZVT3iBOHbYbAhVM7DmttEOyFgG27KetLtqa
IDWJrso2EFVpxq36RUO7ys+f6UVpqh+JYb5jYOxBDE76JkZb5zTuoeh4CIwrV7AcBqomyAUsb5Ix
NVayRqjQmgqFCWKC0OjM6xTdDBEAJZH0GIb0VEPRQECah6YDpYLa45xQm2KMP3JEWFIDS2x09LCM
q15Na7JCAhnHTb4MUnx2UqnfsPSvyVHxNLLObQatrWGy9UCqFuLG4+AsgUMhk974amyOjqbfNSpr
buwADlgS0wSa7PyRpr+a4J4ISWhCw1fqgPeTe9l5n72Bsa3OZNqtxsda0HRA0+HH6I23dj8Sf4rU
CSJYSxti7dHT35smcgbBQbpzVdZzJlCGg2gAMjB22fLoeZE+jeFktA/BEG/aJvi2MCy7LNQHBIej
bg1bFKywredq00f5VhdMKgj2Yx5U9kdNC3pq5K6FyhhQXRlMWcee18PKSk9BtfBI+sQ55/lvdtrj
zO7RIc7QVfhwsyWboez3eoBrDJhfTvtBT4IO12WLvcqIyATS6D5lKntpcVyuMVnom6yIkQT5xUUD
vxM7ARsN5tAUuslOI7aFJfzBiLsfDrncoBBoKB3iYxhelj9cOd/F0QhAIqvDAabrerbnYD3iXfgq
b6IAzzdQsHadFvUjl+OMlZ1RDqnZa44rF1FF881T05sfXVuXvquRuJeK+Vo0ccAkkL1umcNpq+J1
K5JH/B0kk9asAXI6iyQxGKgIwqRmdFUjOEMaS36V4+PIp3baFSVu9TzQmXSLMdlmXkcNE7GIllGt
IXOTJ02r3uIE4b5L28qwnAqQg5TVVM73wLimGJ40JfY2FWg4j8gdotxuj5WbRKuGNbZGAvtKBFax
EQf0lPZ6suKHSTEJ0uYnz81JxERWW+OY40Q3t05bOTDaAMmWhtWG+ci54uJtRTHh3ykPOYfUHKzp
kjB4fPB5X8tNDdxnbzUl944lPxFaY6XOxHfmcI+kmyKA6aobT6uu9ei90ub9BH2HkofF39rsZkyG
Y6WHgoBvBqDYA7T6SSbGY5sg/OxsgG25dO58kbJmTdUNajGxNmK3ptlh5GuODJ8chrWmpXYBMvEF
bEegDKSyXep294K10B5e4kceOD8811wnxOrU2fCtyFO1MVlR0yBgzzGYQyOO/uDNN8cRHfqK1h5F
hOnAXDF+NlWXnHMh392I8aOHsg3d2Djf6kEeLoFqwr9WubhNeiZnvoB+pvvZK6ElJMJICflW+7Ai
EMBtwFmW5su6Nituk9RxHt2kuGCS+ClMpjMOltAP0GrAZ6AdFYifw0EbjrNWBUTtoURqG3GphXwa
Z70+dBS3g6v9SJQh118QIXz0TARE9T7UlkWwpcv4VfevOICdU4G9XiOwZW/bBwBnZOa6rCp7s+9P
sSp2+pxAVWLcW6bE2/ZQQsBP3wsnQ8VU9ukOdQxPECzP2yp1r44LhPaLtd3DebtaXXsdECCRYMua
B1MDG38UVvrCO0QrEfLUSrdt4z5+vYDpdBdm86TOtTYZ7A1vg+UgOTHWcMBKXIVzCzQ5wXUWahS3
pE65lwV2T44QQjnfFxvTYTsrhYa8qWXKW3Q9dibeWllz2qrRvmSZMu+CyDz0sst2JktIsnAnQkPd
l8yzQWwZmgAwpy0qf7QcPlO2CJWWC9BNjJI+dpkBeWo3OaUXotbYkIPFNKWCKBrTIxW+rg7S4kkq
m8IFAs2YyLNe4sl0QixJaOjo2dgiEjXl1yl+iXneVCLafYG3Ko3QNo+XoozmbB+BNqwjnTzzRlA3
m4YgnD6mVVHZgyN1mxyfql5PJFROnOOkkcXn1hq1x/KDMMsqRAUUHb+IU1l9yZLc30/J8EBM3Lwz
Z8/bug0wJyF084BK9CbVI50ybIZtX7cpCHSENMDECIhuOYWCuqGSVyNCxmKk8oL1Gus42TIPc1KK
RqwS+sFcSLazsFBetTzkooJELzUGAaS3eiNydn74F1aLdGxFepQ4ROQTkTLWciZi0kcGCc+sMin+
kzkluTLKmZXY5EnWJVlwVdqfyYrr2LIwzKuUyyah0vbO4PKEKIc5tM20eEwCwg2N26YduLdV8C4y
AyRhGj8HRWPhCDbe+qnXt35dPXewTi+4lJn++N5txngeueLNIKbxAbM3w1MQKDElxrPt+Q9fqNTa
8X8SE1CsTba84F3qc2eamBpJn+gJh12NMR+rEWOoIVQ7QRb2I6P/vcwlZYHZcbm04F7CaECaP5HV
Tv6CW7zCJj3kRnOZRiiCCEwpoWd6jswgug6RTvoucnlTaEtFPtf+yY+RiwRWtc8tw30ZiPdlZBd9
2tn4qqV0kq51Z1vISnRs1ARLG+Y1MItPuUAjmZoi/x9ld2mwJwhzUFcm/s7ek859KyBx10zwDSqD
o7dIHznDjCt6JgfVRhKEVTufwX/KZ96ZfmHWtzNNiFMzqUMNK1oq9RX7PvZayHBOZUkR2GfWc9F5
9nrMzJibjA+RYqe9eArvgknGOmIZiS11Y3aRChPpt6Er24hc3Klc0v22iFQrJoODyT7ffnQHm7hb
tLTIxLqzZg2YJAZtW/gJU7/OT0OrvMeh0D9TQQLY8Qhi4ud7HkwW0zWCcLtiKNQ9QZi3r2Quwa+m
W4xH+7Xu2JxWoKdWlfSCDe23fJ6Vs/acqLwXSOBUUum72hTESKW99pyQxxmA2Z1TNASRzs4RPwxb
PgY42h5Pvf9AfOx06dqlBvICmP2VZ58MRAoTneB3bbEOeIlka6T0SxtIcU1K9CY96Y7rYSjjvYTE
cpt3drGJWMuE8azdG7HW32j493bxKAiOLc6Zhwg84ow9Z6AwEIzSCQ+R04dlXKBw10y5Ma363pvN
l1llF6Oo820/1vBFlrs0wP5M2jk6uOFnzhA7DjrjFBufPsSzk0LNN3foHr3BMja5gwOPR1dzEPAI
GE2+WUQfH8FGh3nf+uSOAXY02Gjqhay3kbQ/q2Ksb+H+4PrzbC0ch4KQ+t4Z77uUSro/DQFz0yrX
01uGMDjFs5XRROmRadS4dwBrR7qb3iMEIT6uJYo7ZhzhpP3jZNmnjE5mNzZsTMHFrM1YM55xenX7
HMCB7Q76DpH0Xv/K64BzTzAZPXQi5zCapo8aAfsN/vhyr/fCCZOURX7f6G/CxvK/TBMdp8/ustIz
V2aiy7PXzgSs9qLd+lmcHUyQGNRBUbGjAevDNBX9TUArVmmBtmMFRHNqs7hSen/qfZSlLZ2PYWr7
gXthbyKSb5S7Idsv3UEnNkNrUbJz620xNyCkI5D7/AX4apy02/ruCNs6zhGkG5FFTVUlZ6KGDtVc
kRH+PPSTuI1lT64zyTloYdCpUj6DTuhfuBmyBm6GZDMziIUOtFxcqVAIr8rIeMi0ZEu8yjFt6+rE
3bd3m645KJvdgBMF2u3IBpDshCm+Bh1PkMIe36ysv0LoO9IXQd9twZpqreNzE92gk1L7kpHkiQH8
e5qlXAVC2kgTFutZ9t5EmsW6m+sJ3wrz36D85unGE3wableZvzaTco5QYxnBuTeuUQ83qEbGMCJh
cjMSx73h0WLdalnxppuc5BO47vPMmb13JhHv0ra/MP3LzoU/lVsRmMfJrr1zUSIA95gtdoloTtoA
9wz5ZrmGBQIJ3xUPWZpPh3owUJuORXHVv7kzTHVmeNM5HtkQMZJizabh4KjMPnloGjbMlhjubFvL
jl5NUId02HJZinmjXeQawgCMU2lUM0jseyqM7tzPyBiScYhvOqgOu6DD8UrxvSIwpYOqW6RDsE0i
xvaB/l5nko1GnY23aeQfCmz2z0WGjRIHwHLs4arpq/RJWu0UfpGzVc6+xzIXuIvLoi+e+vaGkUOy
lkl1TtgFkHlMd1xg5cwUQYJT6Rb72ZqrUyr97yNF0wYyJaaWIA02QwD+G+ZdtUFqD5/XpY0D7/cd
kCPmDtoipXfZx5A+p5RY2K6EsYbp901ZIOi6JLLDiSEsupOE6txK78gIwKZIb8etBIAkVu0zrvMV
UarM7VL71gnUeOmWOLEqKVHiUax79LXdPKUsf/0RBQrTV39iRE9URH+UT11eap+lJoh9T38GgdlR
kGiITGU7vGkTl1mUHzMfVkqnXlSdj0D1WXnAjvnUsVWwJfEoOyZJNja+Pe6KNqSVR5pePnia5twJ
d2RGYvITYkeKF6nnFvffzRYWp5El89b2UYMHDZM5kT469thfbb4Dt+6vfHqPccOgyGhJqMws6GCG
c2l4qq+AyHxDCbeZMGS+2xzYKna/seU2nrRJfUs4a/GGvSTYF17GMXvs6yo4OgjQcBd07NEJq2VZ
T4QjmiLQt/PrsPzbVBm0HlHUHeM8AubrzjpWP/4QklYepxpFm46R44dGf9PPuHeLwc8useq/iXym
MJ60IOwYd57sErwmTJON5gnzHRHOIdfK41fcJOFiZDrXM6OgNIPZ8JCYAcp8J1OHMmB9W1b7OKrk
WTeZyhse8VcihtBX9c5NyeDyjuBbfhO0jMugpmOQGBdsDJdBo8uJ24Fqa+xFbe5QB87j91zLHESb
7E7BwzOUcIJjpYnkIHssK+IIM49TUhHfNlPcrRIDXrDZdq804wmqWIswsamuDvCmXqMiz474espd
rVS5RfF2psvnu5aSfHQiOlaeVzF/Z0mjFc/CqWLSIXjIsB/ACZa0L2k8G2cDAKmgsinzUtJJ2rT7
VZ2FM9EHOqOJTvMPaT0EJwvCKaYSCO9JfF8qx33skDUh1ipAwxcTAIFgPnGvfkjN9Y4pkmnpCo0f
YXkjo/6hjSLAcRF3bNsNELLt4n02CkJgs7smmqBhILidGqkdNUIXUJt6Hj8FVV3yaWdTsNxJg4/D
IxtWS2HKFoxl9qJgwBqn+s04s3QgOdTbWFmDts1wvhVmh0RlYhoHfXulGyV2cuFj2vWyR61mZk7v
iT6weg0Iq9klHNa6AGqnwWTbSp8lFw5d9ILJscis71wX7HMZ+6emPW1aVYROlnhr1b34Nu5SwE1M
GXgnK0CVQMm75KdPIaE3kXNx+x8mkAnSeTO5B/wrTxzDW+zKSJAtH9nLWD52pN7tpDs90a5pWwfT
1mZgg7IGBovPFwbudhoWwYuql2LKOHdxUoUDend4LqjD7Ys1qWk/l+Y7CEbsL2Zwy/HCGMZvul3c
crmNxughj8/qk6fePBx3F9+cGMzK6SiQIy5VcLquHQ1JA3USqXNbXdcF6hKy+bxketMG8eBPi9qi
HdmRMUiVNrIOGbuh5cr82HLY6c1MiNQAiPTrSM89FqKdDg6ljfaz/tUyURaiFHj2By6i2CtSLjIW
LrrLpCwxuFwHxiO7Sapvgw9egvnmkSz6RysiGETvgdwxj2eSrscvrk87RWiSfPSpUJjkLXwXNZnR
XkhLnbpKmfd6iXqja3E4J+gdaKl5RpVsUcSk7PPkpIxKMQiMdAubMYWDAxzg62NrOp3NiVY+1CW3
CbduRmcMq9VNNW5p5FOnMh22Fuzd+0nnZ6ePkCEFwii8b2sr7Yp1wwe/Jr1jftDEhJ8w2TKG6hEN
XkZ9ss9phT4CaWpyQXfHqkInameYEy1MDP9KGMEio/Oap9ohdD6LnpKGdOJgG9iIt5WgyU/oYtbE
PyNodSKXYTEZK3g8kF1jeQ9omwLrVOVwqpGvpiPqKSstw6l1tE2EkGvnzMo9EyZ96AHGa3Vv3TXE
S6yr6Ti5qfe9Rw3mNO9sB6cfEnf1QqoAx0SpS+3UAuGO4IckiTwbmdZv6+ZF1LK9icgHImwh4qBx
WfDnFiqsMmvc+3IhMk5mC1YKI9mEifHeyzCEAncXZxgWgfHat21xS/Z6ts9Ho1nkmLcd3OiHwSP5
bh7RLNVMKW8acfKtOQT9h/Z7qWNM9wiq3PjmDyyfNP5CtH7aXbs8PlLdqC91OqgXD3EU0ZCTc9sn
XChaC1HPVPeZiFktAyRbR4mMb7VYHskZfi2GvPgmIvPY5MBw9DG+MwqGJpUTACAk3WppVP49X+Nf
Q16QsxueDiXepGc2vvJS/gApQlsqPA8D55pNHsMf9v0xQb88SUIAZuWRVjTbgXvmQYDAocK+EZWY
Eppp2LeGu09IIAn74GWadapIdJeV6e+ajjzDWEwGuzf74kGLXA0LgJrza9NSeZ8rRBhhqxQnbS2H
v/iO/H/hBHoIiVzLN+HQBIHu/Rl2l3WBkZaMJSe9eRhN76oFOElYdNoAP9bZ6DE85fg+aMSZ5Fqx
5VEtdnxrdeCkQLL0+hIABo+K0BxT+8ZI0YRGgiGD6JjhKwWGs5itJzQs1hGxHZQRbdR2sTSda9z3
SzhR+QIKVGGi4B+azfrdkjwFptQuzkQLHf1D61jlnZJxdZQW1wFMeXliD/fuI6480pmwganBqfRt
wOAWMG08uddG4h+2kJxtpGfH5NiPxI7q4GBqqX/r7XxEr4pENHeGci94l0dzMk9fX+pa7yr31UHV
eHZZjt412TRekDqztS4D93bGb0JwHrL0GPWVAYUSNHrY0o2cpFMaN56a/RDemVjDA9evDvuprW8X
xKP45qGeoApOHUrif39dWv9Cy+VThMVnmxALrSUl71dCV8XMJ2VEKdZAz25bq/H38RK8g4XkrMW4
IiJiws6mX+xAaLXbNuHWLwxrSe/DP27rUH44M8oe7X0OQJgMQn/kOZrtO3z/lwgudiyIqmNwRjDK
nEAmHN6Gwn7Ew9VvRdckG1jqDzXPjMYiF9O1WpT/Cs6fQp1nz7K96uawg0Po/xUA/f91+foeIQi6
o0N1c/50+bpqslNiMJYPG488pU25m6u6A/4+WZzgPGbnhNmql9sUoEPA5NuhPf6Ln36wwJx+he44
wMvISLYN1yQG4U/kUGyT+uDGA4q3JuPhE2uEm6I+IixWf1r0TChfz03enb2x0V/afn7GcYFCbRw/
cY0/4wwP3qSXfB/Nyt0tLjuAmDUG6wEQ4AG1Yb1qZxN7GtNthOFyDS4KSpRGAT5r3bMwyw93xlvr
2URDDUBGbaIp8HZiP63QvGEpZy6+FH4qOHHuIZqIiBxKB3ADRf9zoIcPKXnJNGV2U9gY/1ACUoB1
6oJCaKXcFHfIIMCWjWE9TcPBijCsdKi0ZuyYG6cmqsEJsAIaNTMHkwkdjZi7xo3+lIu3KUZLa2P5
XGcpzpw2sF/8hOSEjP8c6YuHnkVaOzOIckrtY/kQS+IZVh31+Qp9WcUIEiv8hKV8xiaY8RSAxn8f
Uz6CTCH7ddavDPBYGCfsozGB43V19o2Ck9kZtEasi6NSpxOA6svk9klHSzXxDYRSkN/WyQRhUAQw
rXCDsO81tQEHs+S9fSB9TkOy5+t1EgyvnUPuA1Be5vVVEOrCfcTtjWQI0otY8huVkutMTfG2Xar5
OK7OCFvPmMLupUHcrorJTgMP9+r4OICWJwvVdgupCtVgSzXo87zvfIScSIIaAHhHL8Nv747M4VMf
VIUpv1Wmfrs01JnZ+eB70BdFtjdyKfSY2jX3OJvFbdr4E2ufYe/M7ofeQPSJ++o6eGTfNcWzrddv
QsNxNw6k1Vqo/ONuEGvT4e81cfEg262uJnSOmU5Y4WKAXlOsyTN9UKOBds5EoDsal1rKEWVnIrd0
omPn8aN1px2A8GqLNwkZY6WxRYYI0Ds1C+SOOe1AGgF+DUg9pUyaHQtW1NSAnzljWv9apk9OU8md
7EiNYPQYyhalclfz3vygnO9pxeZ738aPO+VpeiQCGG1k8lg4PH+rCpVWpenRqTb5PEemT1t0FyWx
n9EIx9GEKiSy3Rz3wQmfqXYxTZzZ9lAeKjeQN3E0y5s+vUsr0zty0euntrQAQBgWdaqbcXm2IzON
QjB8yZOMrYtjmgfHMONLkHDZZ3b1mhpgHoaSUWjnrJfHaMAhBRTU5VOl/c5LJFeVvWi/ALUuVjvK
vAGTXBpcK9rJa9J7D6VCAxBNLrLrRU2hZy4rt1xdAxuhgEAUExaWXZxEbD9axpBczUT+7CfpH/yc
wixui2tL0A8TyGTtTOYl65Jql2oucBYnKXaGgShCAEU4YKNd3NlIvAPgsG4EprpAccG+7WbKdfKE
WU1uWU26oW/1P7DxI7spGCZBBzfJcPrsZY/YpbMh8NrK9bc+IgOjAH9Ocrzbr8xx6k8FAAMIBNgN
OjoIQzBSAUN8r3xGFWPink1zMVuhxFq70nwfOse6ATrypA25fyxEjtQrBq0lE7s5oL1sq/Fgst/k
UqCoaPup3fs+pRDCmZjoueJ9dJvoWKHYg5HAwEfOkbgtGrZvkbCMM2503+lcdo824eVS/lSdJQ4i
16q1H7W3qUU/hiKDBs2dH7HCN6cCFTDmyrF/S8uth+4oj/rptopc5Nypg1Ewb9OTGNpplXX1eKf7
cdginHgAktE1aX7D6fAEYVHdqnq+n2ES8URsD1o50wtjMllc5/wE/UjeiL56o64AIyqcfOPp8UPT
pu9zWcJxtN6tZT3GvBZXQ1JtitTlAxtSIAmiIaSgN3KGRIyBv6CQVTbeVBU1S0b4ysjGM/SUDwSw
Ll/a2lB3MNpOU8PlW7hJuklHJrdA84t1NxbZQZTsblEuEtisOUyjSo4VHSLJbp6INOpdHGko8JMX
DNeh5xB9rY9WsFcVs/O+AvhUuOlL4Uor1GqPKxqWhEjRawD6TMLCZN6tDagii9qXj/WSULqMWv/9
+buc8f9y+lo27VCA2M2xrF+Ln6H1J7IG+xQRNxgTRRgVqQz5gCekMfbYlu5cQQn09Xf+5/fxv+LP
8vYfL6/+/t/8+ntZTewZk/ZPv/z7Yyn5338vf+b/fs2vf+Lvu8/y8iE/1b/9ohvxvSlV+bP981f9
8sr87f98d5uP9uOXX4RFK9rprvtspnvwTnn79S74Ppav/P/9zf/4/HqVx6n6/P2372VXtMurxaIs
fvvnbx1+/P7bEo/1n398+X/+3vJd/v4boNyP4geZZf94rf/5A58fqv39N839G3OIJZWMQsR0CIPl
tYbPr98y9L/ZngVW2PZdN8AqTAVVlE2b/P6b4/zN8m3HpWvXPQrchaSpyu7rt4y/8aVG4Ok8AjjA
Pee3/3lrv3yC//uJ/kfRydtSFK36/bc/ITsdLJK0QK7z9XcQMG3/CbkbyIiuT7XVuvC14iGe/Nsx
QY88j1m3jyFRnb421TOZfmvDrMl0dStxoSr8RNDvbGfDOQ4gE3axBhgkdnu1VlYJyyCQw040f1Fz
Br9yHpc3i4uBVLUF7g6W68+cRz+XepEBMsagm11xwOLXT/IjIVrOqScTYIdSaiKPbrwdkhyHTDT5
cNUgTwf57RjVFWT2u8hjzNu29vvX99VpHVw3cjA26EBZ4ru3cYXzruT/HUoOJ4XVgXWCJMwxsTeB
lC5scrPDmocBbiQGwbXCGt01NgH0Fx3HX6qKA8vya2DluDRGUW3Jo/6pAJMzwW4xp6eDJlbmYGDb
iPS9XzpIfFP5iTEuOzTu0O2tpKHicm/MkfgIjN3xSSQI122jeYGs3q+NVi954prBvYObisFVNqxV
a74HGYHSVmLd9ZprHWJeRNZeeamjsM5idh01amZKRPcMSJwukK31ZsK4m0ceKSIdLSz8T+cEjN05
ubW8MbFbLqhIzv/Yl4cBDla5JIuPey2zvWc1Fe/6mB3pQGEzd7N3rDMeOBoJR3+4mf55xf5yhf6K
XedD5wZBL+abXPaYgb7awD+MHxIsPmMz02dA0J02Strzvqob60YWVDSlXeunwPOD29zEODzAl101
E4PBLyhuuf/378Vcnqr/+9T9ugB9Wyfp1lhyU40/d17NmLCDz7gAAaoB/uhhsHR1GW1qhjWnr3+Y
1aQoqPRjVLvVqeu761AAx2A8TXxi4qZ7hszjqsiaVz2JnVPLj1XOdXIY9Pkq8I+c5xzChedFZycd
/4o3zVPjX9++a1D0GXTOnB2/Hhr1Ep01m5T3kDaZVefFfPGcVFxcLAZt6qwLbg5AUtjjJ0IA0Jrv
Eh+dvKe5l1JSo6WseXKyXlZIBCHXl5jLqQH/4mT7U4biP37InufzSXu64wb6ckH84QMHntZMZhnX
nOrzrVYXN3FWM2BxB3Ntkf9yGPUPmnLM9khpa+j6GCidU1T9H8LOZDlSJe22T4QZPfg0IiA6KUJN
ZkqZE0zZiB6nd+Dp74KswT2nzP6alFVVnkaKAPev2Xttt7j1TX5Lurln3t1/sT11Kwq7vCLk6v/H
g/Dfx6bP+GidHtGE66bu/Otn9PTMbwoNFoc/J8hpu+HDgSkWtpaOaBel5z43+LyQfQSahL+aM9Cn
V30oAMuQicUfzTmbaWDBkEMKbOrNs2kBJais9n8EOzj/9cjCL3dtMjHWWYlv/TsgySvSGGjuBH3N
9j4bVYP0TB4dY7gZBdK9eDigLHun9Cm+9UbNkdDlqP0m1KEKRg9LzDA1iA+qRwb9le/+MZb207HG
haOfWsjdWf1wt81mv30JylzPxBGmUdIhtiZuky6R+Sb2fpne0gqKUuLHX/QC9VqE/M9xJYsM/FiH
pUCwuJX/ZQJ1G6FGWNnq6zL59rPIlfNUttfUkdbJII/Q8D/Bbw0vXYK+1rFJe0rMhKJ1P2nMrf/v
V97455RpPX74/HjbSb4S6/39r2GLlDRmVjNWe3uummPhG+7VB5XJoJ7MQF1xzCL5/DoIe5fWRXMq
WwbVpOxepA01TndQUi+GEoEddq023/7HD/dP4Pb2wzF94fY2GX/p+hZT+f+9KkJojD2KlCV6rfcn
q0LPMFA17Dj4H/xq5Pqbpl9u4tN7ta9JXV6Qke4X5BVsLBP7PMbqCO4J4zJy/UMMiwP7Xq7dweTI
8P/+Uc1/Dq3+86N6wuClMYTFj/zPt3oiRymzpogyoot/q47PrBpt1gIm+A7ej+m970pWJ+j2VwGB
/rOLlg6pHZx5e70QMaNpYYs7zoJrLTJoUmVlXSo8qtgsird4EMX/qDb+lUbw95v3DEen7GDWr9v/
CpO0tFaLHBuDo0QLf6QeKM6MjHognXfG3Uz71tWRqZuhD5pznQv5F9PN+8c5Z47wPz69fwYFrD8L
+Ty2b3m6MC2DzKx/fnquN9lxFAOLF4O2DnTb9L6Y+XzWZvFt+1/YJ82rNsGcquf51q/OC40saCfv
4WGub1/pFJ9qzqIDIa/WqbBBXix6QzDS3DLEWDM2Yl8x8mz9w+AaXqga7WRXdfI/PlWOnP9+oxgB
coMCb+JkEv9uXZxYABjIinw/1JLhUZtUD37hIBJBqphY/T7FOx6myyq87c3jQvDw1XTq4uAOJVRM
ThirX96LOCZAXQ7tzlJOvidrlMzNSJpAa/dkN8gLSI1rhRjwksX5tdON+knV5XlN3/VrYV5HCbqs
Fk0dbjVggT8vTOt8DhmR9+durYKsNP3qoDXmRrR/xWX2kCnskaoY18KuChr3o2sjVpAR8rpkin+a
Mx4GI/bOyE1exLL4d7tfDFzM2Qd+qF/jgoaKcTTVVjI82A3eICUt65zmfXrrMo7cLhpwQqyRzY6A
Ka9hgUsZGz1inQi3qtBFk/1diup7NkrwXD6mu7xLX1Fpd5gpnQHsLn2rnsBHVM511ob05nsI/lLz
UYP+YBfRY8y7ifGtrw8qLafAUFBPW5m/bsWywuBxy6Lu7nEqHmGFvCWsIk8iNd70uGbxS54xtb2m
//2A0qU8tpiPH4ksOJkaNGDyUx70LgHKgOGL4UQpb6rKP0jtqEO0BHebUSVbVYZ1WkJJWnrPlg/z
0BPNL36HBPvEhCZ8imvYu8nXsq/eS8K1cRvmBLitX7HvSo2qG+qxzzFHbfhz+6qUch8t4V5LvmI1
11EwFGImBK76iThoepIamZu9Ym4Xr7k7wvUQzC7Oly4yh2uE2tV1VOBGfOdY3h628wbxcX/Io+aL
BawOxZHA69RLw4Tf7hUHuSBS8EGZxhkzag+91c5zcLL5Bv/4JFlgZ6uxC7eLNGvmV3LNRyLgSubW
KQvCFG4vpAeEYANJkpFnvQ7L9OAV6kzS3xzyyw4D/rGSAKpAjGgv534UmJ+Ee8r5JGOnBXiXpiwp
SJLPWROBn5+1x9jBpIULM92jtsDrOzVnMUdaWJeY6Q32I4Nlsdf1iXvXAABMkLr2Wt0BR/1sPLT9
Om/GUa2N1MhcObEBhA6ahJOpoqvd2P2uBZWCocvBugjr71i2mX22GZMTpmHx2Ta/vNG2BkjyF30l
2HWO8WurItGnMlzzsNt2QwY0D1GmCptSVuGs1fwwi//T6FYMwnrSR1ErX0EcE0JPjsBS01ms3/yc
u5c6co6drx4X5knMUU3jxIaGF5oG9+p4vFDu0iehL63ytLWz6K1PZlw6R6hZb2Yz6ud8Me5tMXnn
MhK/kbMw8ZQDBJokQ6jBquYA6pHEAPe9t8uvsm6xVnb+C6Ht3h38eJoaD9nSVsft069tJkc1kuTF
wR4LciZ6hQ//kS/jTa5Cm9rz2oNgCLLiSs0AwQDDJOWwpfKsS1YDiRosXviq1Q5mVX6xauObkaXp
3/uuXiq0DIjJo5kI1ErCES2qriMvKAqzzoYtlDYX5curaxj1nYz5Mhvemtz7pHd4yAwWEpDLAuD2
QSc5Ev3IgTpQs/DIu8S9/P10UP+ENVv0vZw5+CBmf4OYBwvn7CQZk+4kvW2vaWg5BWb4FhxdxC51
l+RC7UflLFfxqyG8vp9gpoJOt4M4UjMoYtSRVLi+xfRgWDGiQyIllET5avl+0FSl9TJ3/g3p7ARo
pGQlgkx4Z0Y8y0nbELyCurQtyp/bx7+dZEvkhqNsjBcPPBdvWvQ04FsIpwjcVBG5sPv7qGBj72YK
YqikV9wKs6wYEODyELkiehB1V4d/X2ZDLuWtI8clBdt7dmI9rJKjkqVz2p40lOPiBavKdjo3vPdY
un2iHrIfXdMizuZq7dfeqIvL24BcgtURrgmAJfa5aXe2Lsa91XnaYb1xPQffjGnOZ4de++AhiYB2
lMCE8DBu5lABPAOLGPxW5rNJRXTCPOxze4xCh33Ynu7mLrgE96RkFSEWe+2wvSJpJuZTi6UDn595
2rwf24sEEv4E3b0MBjs5ei15dLWnXbDrdWx4GOAa6cE1WhaWeTszmWVkQfMB63SU3rEzsFEhWgll
F84xi418KOyznxafc2YEdq7yI73Udv9uNyYOEagPyFN9aJoHe5mqC3mkB8XuHPNUDy/PwKjEbxdN
WRQqH3ti47MoIPHiP1/DML2IrB6vU1TMLLBx2dNRwROKxy9+35av5fwLW2IQyTlDGrYAf6Osxjk0
BFWPUzHuDPsKoZZxrfYAcdODHFvSlaY+ndUWdaZIricsGaOW/dQuxXhefPkws525Z+k3M1bicZwG
lmwO6Fjvnb1Msd+qemOE32zEyD8hsEhQWMbBa7GfGIQeXmgHyM2q2EoJj3Qkr+inpy4FYZMUOkUT
Y3yRLdNjOlX22ZAMjIQlfqV6rUJwbtDV2hDueBRYFlqw7awltYioVEQhO368CAltfGqLaAr7WVf/
kc5sX9VIwgU2KxnmTRXxxTUHH6/bJR4r+1QKDvYJmgCrOoV6nGyMc7G+Ql5pnqBg+mED63CXAkd7
dif7MNVahFd9oZzJa8qg4ahhJ3kj6vxow2fECEcUUqYnpH360a6URxx9H1qmO69uW3xaUL3mFcta
Ibiu1m5269C3J8LhBcb7XDzwCVHMiO6cuToqKfDfmURfWrnMrPvSA9BiDfN5cE2sZ2n7KyWKPBxG
bwmWISVFrZ7fi5LGc/GX+5zm7nH7p29DAInky2CnS/ZbRGlYT/KoK+OY+z5YHkByga7NXpAyewu8
Rf8uPW882VF+spbJ3JXD1L9gcdB5bpkq1MJl+1/IwOZ0Pjr+WaVZtjcSzuvtnqxxWF0RFL0Wk3Nu
SMp8sB1MEX6mznWeJa8LePuCxPtdVdrWOW/jH7oCVmrm+dtQcGsBJONNciu1xzGNg7xfnp3ISMK+
cAR8i+KgNRJxVy3BvDgL3gMJJcYHTBCh/lZ9ZoE9TGHJm1V+d4y9il89gh/OfPpkxLjut+3K1owP
k4wviIV+iBN6vVCb6oDWCZNZvKTwbisPtzy1xvb65n6MLQdsjckCBNuy8fK3xbdwDLB2LKBAieTm
sHwNcOWuSLj0aJU90sNqrZ5d3vKxcvQQN9YS0q00Z4ln516UMRFL8d5ikiUXLjasI/IgpcNRtBYr
SaTI2sB0uossQerqdm43S/Ip8c2wfvRWCAxUczGjtdwOYhLOI8LLMMZ0nJY0FBYRSMXn1h46ifi0
klF7BDLIUBXTwN9xr0BYFBXY61xRg2d20+d+AGFIV7kVY67hvwl88CiYgCU6BU2DVT1Msgq6EUN2
FoEyLiL1tNWAVtehDSktksrXy4lgmsD0B+O4dN7ZqlG89WYA0bS9YhGK8FY+bj/iWOQPtFc7wd1w
X4e/uZRXM2L7i1oUV1nfNaC9w+3d77II3VwGCmoCb0Sp3H9R87PJbPYGKgL5cg1skYNkG81sj7ts
iTYi7CKgZ2WSpJIHzBwoICmj4H+1t2pJH6P1yuiH+F7Wnfeof90KGxis+QU24m8d9ywDyPTJY954
diBm7EZgJDz0swgRKUmsrjH4qK59xCr4DWxNc8Y8iq17vMQR5vMMPGDF87DvbWd+rH0YBpVRUZuv
8/Ymw50PVu9g6OAES2Nk6OySlGRk9Wl7BFW7pqfP8thF+sBKuGFoziC8H23m4ga0zh0zcV4CB8HQ
yJdyxky1XNZtrcf4hyAk+Wg0ya968Q19L+O0CkdGRuxGi+rdXpw7U9gv89he7biJvk5R+mjM9hd7
in5osZeEktGUsS8lUKB4HO2XFmfAyewG0jAFdgJGdJFu1cBD23uPMxmvEl8ZDPB0ZyuBT9rvvWCl
6HvuD7OhYh3qKr47/pemYRNP43E03ZlZKvh39Lc4fdkNAbxYTroFfM2RtGZJB+MoMj0Sudtfsisd
aF31me4HycAC5KFiBTOXixdaw9iGbcq2sUPhMBxaR5lBpk9k7hjfh95l6UB24GGzCGlVu3ey2grQ
ysYk71b1IYZtnNM57re/pTD0w5S7yysS7D3c1fRMBjw1mj69TbDFD7ZvvksCi/bKQgJClpAwY0rH
cThY+vgHDRLdJIYBWK4VaLidscYT6s5Pp6GsbFjio1AT+9QcqyB3G1JeXRfx/Sqmx214GesBckhE
TkwNB4Vqr9g7EBb9DoxOlj2Y6R9pXYtqhq5h8jfDKwOvc/KKjGU7bWKcNhGNfw5pSaCdmQFOYG5K
Al3GP0i7/ET9DzRnYOGaS7La4YMc5tQk0ttY72fL4QaM0hNSCUhR4EZC23OvLs/XHpcLFI+yDohz
wb0aP5SmZj3MhctslDa9NiKA0s7MgqZpbdI70C+hK1YkqDO4+MykTFG6d1A2GP0Gmpse2EfHANfZ
f7sYU0VpfPj+PGAzobKyRw3LjfhOTgr1XJrOiHCdk7IgvuUtQW45KOFcUbBaari6UAqghUGEoFGv
/NWolXXfcx043lRpa0IJ0Vwi/e6O+jdvXTPRWkUULcz8z31VekfTZrIjE+tUR7ngoqTn7zHRtYtv
w65P3kguOOpmMZ8W/GdxoX6m6ZONf4siszF2HnRoxgbDdMJMs1v/uKqy6NRI/eoiYjiUXdI8WW06
QZH5pNvNrxEVepuhgit6J+j19A9oyx3xMUCD8xrIgQ5lZioFnICC8QbhhoXp8HUY8w9tFAWFLiIf
J1F7sp3ig+/w1yIL95Aw+NfKSB6LkfmuTwJPnFVnxrE086BO+F3mjAWAtFF3DNjhsdvSF74szt6x
hxk9bn1J1SdU+KPbts8jXoGSwgGyhLQPVpRfE8QwuMEMTX9gtvzqiuplFudk4ZQA8f3pTeuhPUAZ
KV3n1RPRxQEYfB58vpgmHzAd9EHuJb/7RndPpFD+Mg3ge7wsgPElQ4NWFz9B4HxtOpjC3khOjaEd
IWwGTvHdcWqGeRXJFkX0LbbAkrl+dI5KUkyK3DtTK311e47hfpnQaJhPgkspKrNnCszHVMY/ZwHs
Cpn6pRnyfa+zGWsM1YSYkAhd8vRw8RPUV1Fl7+QA2Iv0CbI0MI9Q4I8ebdOUF/coqT+5uu95idyZ
+RH0cKMjxMdL/9gD31WZM85eVnyZfE4W6ARSF1oIp48adyQCK9edt9bsvvVCYkbhd5RgoQ5lmaIW
7wvYaXiiixSrU+1Q3BPy8GE6EGdYGbgHro3XsqpRyLVKC2xqVA5zqrLE9r+NKgK9B0gIjs/Z5cnB
gHX0gfe1Uf5pC6jvS2aQ6ZaEnMHnvnHHRwgGvwfXEmQb0Zn5Y/UJPAbOBR65g3S6dt+bA3r8zo0I
sjKZMeraK9u2S1Ys7TW2I+zVeJf3Jkp2ZZnnJS7cU6GoZuDUOIFTGeqodddiITO0tzsw3vm71ZgQ
vSSWlRbUpsgoE0o5v80TFnl7APW52O6prioolgbZBDaTxc92Pcp8hQs5IXdI9IO88W0zkqV5pUQx
MiBqDqC8AuTS1ioSwppC0LmU6pIxiQD95OsHbG0H/MlfUQdMQQ+IMi+hVMl+zXwd52sVIZkkcp0v
cKnf3cHGhynMT9N8BTqccUC6ZqBnR7wDP6QyLyJ1seznzVnvsMqhCYz26IFm0ILTscrVGJLWtZBB
Ft9zBGMwpLL9gBUqHRNob0MKBAlAd2ucO8t6ot7Aj95W6Y5C8iK8BI3PbD0yZw4ss9IpSmYVsKXv
DnXBvl02T/7Aid+X0FA8QMR7c+LCb4Hi2x1TALRYn/bY3yssSzWzmqhDDDQYhzbgSzykJRCLAsU1
Z7R6LTwyKwWOw0PN1BDL5ZkeHPe9nCRWBuaOyVhzvPVtTANF5IvuEIIAeftIPXSORQSachx/ZrpS
GD/Gy6jY3JT9C3PsW20h9urynCeeljt3zdCOR3ufpu27ybsKrVVevD6tIAq6J61+rkC2n4yq+vRG
A5xn/TFn9Ze2Tz8zUTqQr83+YmoO8l2gxbvG1CEdofPFHujUQWv/YbKZPkvP8fawITyXWRmskDq7
EJHOrI9dnAV/NM/cj9LnRFMSI0mqlVAvP1E6/OgVLMPRQHuqA8+obADJpQArQexdf1VDM1+m6qsg
NeyKuUIXESYejftp6pKg04ofS48nz+ktGCLRRDbJ1B/BzExQbQ2PCsIc9kjoOD5Mk5t4vuYEJ4Ck
0VcFJs22o565K6HP2s43/Fdg0N2RQqp0Lo0vAophThebffkc9w+1D28q8fipHTIj+NxDN16uuT//
Ucu7pjf+GTva6xxdSOPhFVQOMc8kDfKwwP0yk+I6MBxQiBbCHP76vr56szs+lDVIBsYYj5pNWeNW
pr3LSHp0Of9YeaCYjxsOUEzztk9SpVb1B5JDZwijkMoiXKOUbAsOkYLEwMjcG1qLyUrVnKJzD6oL
WOpkuc+jfXfHU1uNP/Ok/xOb9vNcjSbYDf9tWGghsMR/SPdaofsiEQK/rg6k7mTOAbIzvDwtEycc
fx09isvmUAc84e/yu5RWfRMYY5ERF0ngdlG1c6mZ9yYeFVzlNlsMHOTYFHwaqiAzUNA594Tbn/1x
wlEV6eIxAc0+O0kSwvzugrwiXmBq8AzUSft7GNdEvVl7Kpt6ugrhPXtJWh5VC9ZbaS850sxd3dif
AzopTKbxlQg5LMze8kHZdI8Q9a10jDeUpCQNZZCu51H+AfWPPVTqerBmsVQ2XI1BUbxopGlmo0c+
SabcM+kJ5kG1+kc2ADHWvOaR/CfNJKW14LDLJOORMm8+anzRxqAIIQfshzT1QNJF0FsfMUmWqGzJ
X1kwiTMZRsud9353Ynl5Miz1a2nMVzvpKWci6iHk10EXOxxWnNdE2X8bO8Z8yWs2NRebAmznk0FP
/08ySoP4GuSPTZxgyqklMRC3AK+AVtIn2AKMEdsE8lnQ7pb5eBnc8j4RLgS4bu+Uc/Y9SdJz3UA6
IpHy2RVP7GS+GghaLzKlKIYJvvfMBUHmkFM9Q7c+EFQwHbLGbY+Gr6xDM7bel6UmoEliQN116/9k
UardEr953v6Q1bJ47bMHq2u6EbFSRWhxsjxtf2UrHbqNwu72pblM+4bC5qlb/6PNIU4JaZMGMQrr
yRKL/aQy1m2N0QXTpCaoIIX3hVxadcCYqdKUUjFD5CVncIJ/+1g4TymhHI/Cs8JGNPjFsuHC4Uw0
zUiwoLtmXM/I6k9owLP9MkWBWsBXjT5iyNg+m3P9nniVCDmqBprAuAkycka5f3WE+NBit65+mP1j
XtbqHg2Ot4M2xfx+zbHJpqo8G/l7208BxsrqSYwK82cBKdBeVcKVRbThpipgQ3809Su6Z5Nbc2nP
ZUZmR5bL5phrxL7mXeMEnDk+Ljh2xUih5saG8mEKOxjXZjRf0Ozq/F9/lVflRwpV50iJS1yBtYxk
I4DWMhYqYot1TM6HWKzpHXyICVvf3gvZ9yExdnP7tJR/+rZvv3IxbTq4tf0vJ4tSJoKIC6MJTS8Y
iaMylu9jxm/NaI4u7YM2CnYlYzOmD4qtvZyu+Tg5IRna09GPVTDiwbgIEKNtalI7ef1tmWIq+GQ+
L3D1V6npgqh/TB9OJL05Z1fBWc7G6M9iWtwYQ4u+t6cQlwPHo50b1QOGWxTFhJZeOpcf3y6hIabw
VJ5MEKc7PYH4OM8vbeH4hHaiCCz6/ivFWzo2WmApFOGVkd2rYk6/Ee5BQ8AGzE4XFlnZYyXl77ag
6SfK5F3zB/VsATL5O1aq6e3zOP6Wpy40tdkkKTg1L/Fifq3zXtzqJmmOrsj+9HM+HcgMpp/yBu+y
TG9+xLx6m5r4nQO9JIl1RuVsaJJIxEGVDI/bHH52Y4PBa+Kdt3nENvWpUtQoXpRNR9tuyK4sjfKQ
afpNdtaKaUrPcQLEfpswGmXHI2xGxr3LYfXRO+ztxihPtRFP/BSq/vvYxgm9g7Lzk6G0LKxqMsJM
HNCDaL/0uXejj/QeFy5xitGUejoU+Yk4PYv4+bg7ag3LtsWquRKiT8Fo/VqxOozZc0dxkLTx/Dg2
ZCX62ggbBH4Z6eKm8VCY9P+xmh8oyZNLHYOzWx9mFnPTU2727zB1vkSuT+jYMi+n1PY/GX2HSzvl
121RV1usFQo0A7gGspAKiXtyHYH6I6+nNVPeoBn8jarJOrdU5ih1WIlnvWRxkHOjR8I7FylT6mIY
oAp0E09x8urnYBN6izAhY8DY4eiMMbbfmrp5Ryoqc8d5LgJZrzRcsRD+UBPRx3zrUDuQVw21gLbj
3+Nk2cJfkNMKwhdk6sA0Y6W7EXaUjg9/RZOS0evRS8SusSP/tD0JtYq/RcRZXVo2pX06vFBECmxu
qDoFnwdObQDqkCbCHKPe3nKILmYWS8jHQimAJdkIiGTxwD62ZIZIl7TTMqeeH5heak7FV4A5LCrg
Yek1oK10Zs9r6e16e7NfR1yAcqKmZc/aLIxy709v6E+Jp48PBRwoqgjYbaJbH/GBa2iV49giJUYk
FyGG8gcnX6bQ1/u3jrhktgkEQvSJ/myzaz4X0MH2dt3ga2N/paPYx1yLi1gJcg81MopWy8YyplW7
g+jwso5FTahEsPgZdg+m7h3Tzvpse98HvTLMp7TnFyHCN6xbmCVIZ797C1HXhpiZh72niwlh0Yyy
XTc4MJRX/Q1zqGYnISbR7TPDjmKYFkLWDglpdgoEzzi54wwMEf08ibbQYWZZh43GJZrR9z85KcmQ
dXZgk8zpK2CpZDamSo5bNrr1rl640JcCJVpkP3vYLXATMeP1fhDkMpMQKJOL9L2HtkFpliOp6pVr
c5xXF2fVV3rdSsJkDV+QwdDPKrv26Vnz/fJKa8/jIfw7MbaXNEvK+0CqAh6GIRit0gnmzn01FcNS
v2l/dzDRdo2r3X2r/b09NJgDyMiNm6/M7t9iqEpCjcR0bG9CK/xjVGtEJrWxBSejvkBNvMEyQULX
3AgChjxgrRqLN7t16suwniGgD8EqIP49TQwB9o1lv1l+DNJGmwkzqPo67K3hMPvwtBmr/mcmLjoK
0rQmgC2BprF3Vx+7Y7O9lH7pH3rnp8le+yrc+KRHZXcuWE4WuY0R1KXnpvnGQA0Iksg+koVmqJ1t
Hf2UOa/cNtSGKgdGb+jiu1Uvz4lrfkBUyG+ekQ6XCmbP3y+JoalxtNRIFCWrkGrdVgK3/2L0Y/Xo
Vu1vC35h6hfflWT1bQvj1U1JwrBm4o9KGHz7toC109lm/JT28rdvwA5ngg7LHxEBQp8HXCe7dlzU
ySMWBq6o9iczGlz4vvmMzmT2LeaTMFu1utR2sWI4ELf1FBY91+ScDt7j9qvEti9hgfFG6Tk9mS/8
gOg3EzBp5p4ahsEnp+3fC961Z8Pxg5nwzgDoKF0y1AffYpk/zvbjBGPs6mk+kbbu8/YUoN9yrlle
vpvS+aKo5xs7R2yRlz/jUeVB3l8kbEzmns2vsiUKZsyg33WCJfaEelK39C893xCf5kggsWcjtRmS
YIgQYCjSq0GY6kA+0O/LcZfjmrQ8P//aj9FDZSECauBtGaaeX01x2c6gPk3J9YiW+eAQCn3IExpT
M53+LCr/hBkJKxv1GEU3a+cEaUbAkmohkYhlyXahlTWUSbZD56Js7ltRIjutPTt1Bv9F+mpnxgi9
SxMtp19W/Ung96t9zg3Ac8jBU5hlYv6MFekUOq/SpvPcCqXtmN+ui3poPg3fH5/UzKpE2PtR+tFz
aRsDo0neGi0bDx1xCKBmwTCKitls2UEV85krGHiXDk4Ez7gvYgcyBUEbRS3fp24uKarXdGJbBLWT
fB+IJVw/36xXnL/jdNi+qxJCwSkZ4rNd+9jBuvJ5O66WVcqSgNCses2AB5EPDD/Y6ldOeY5ZnaxG
PblTZva23SN/xfwoo7QfBgCDi5Yv3xcEChR0Gifouur2HL9mxq7seyXM72JmpqaL4aRKwPdjm4JR
bcUDs/34kmlQ47UKtkM0Jr9TEHptOpgPHDK3qIb9Mrjij+9q5zGzv2imQr1gg6/a5zWmUNEMWqDH
g2ALaGNYWA9Mr49YQ7WcuMoe2DFTmdn4s76lOSfuptzdVHuOrr0kgjSmianMURXzdB+yVXnLuH7o
eLDGihKU3jljHHGIoh+FFv3Z9pPDurSvVfsbUxaoM1iAvdY+xPWQhqnnPo0Gn8Ff1RAFhTTa6goW
ltG6SRhtP7ZgOipNnaWOQTBOurDQiEmnu0fQu+p5uGPio1eLu1Rv5txZaMdMvAltc+BErime2f5X
fSGvyLRZAa5ibhBtbDzGNUs+n7Vg+xIGi3mTEvZXFSOAzBTU6hrmX0yIwvbn6xUof3VrNmE12CZM
Q3RMLqVJ2HpRGqD+UCT+FMnNVFcSorLYXC0c8jSWECTo2JJgW+UXA2VORgyyPXmXPkb1bC3EQ1tL
dt/+iTFiqGNFnE81RExnUpY8eHeHYMEFc8KZnYQEhZI0XIcTCTb0TQk4DFIlqDe5CRiCsRbliWTe
VNy0aSYuttEuqDhu6My/WnEhTrHUnmziJw+xk1PeoYqzVZEcty8ad2z/4E2sZqz1oMMldzKbWe4N
0/IYZAFGkZhZcTlrFJloIHkQti5r2+jy3eQcpvLD8aG2in4CZ5g0KCwdCsgGuwuVcI/8Q7xLWb4O
+D9ulYcMremm4pp72Oz6iaE+kQH8GyLS/pyGSBDIJGHtyFsfWfah4WPcbCRLQ+mZ6Iw4CLgDcbA4
tyLjSaQtq0NViksag5hrGfwdtm9PWj1/WBJYxXQfg/CqTraX15npxlPFDzoAbD5HHUmXRLMxTAeB
cNjKSMKTOyYmIymwt3xMLulonPW0Z02zvjqV5jQIZVAt1gu7HLn83sT3CqVnIHGRdhyZVJ8+5iXd
BmS9faoGydk7DaSUh7o010hA81DY+QvxDG1eIrEw7BkIUo1JKjJOSCmg7Brpxazrt2y0w7RvfiTp
9GisKVXbPcXrneAm950AIVi51+wSF/C8rat+NK2bHLe/StArag0hd5tyJisY4jozi1wKr13uqlfw
MNrfFqdchRGZZuHljtV964LBvx8bJye5pREPm8XWz54dgjf3Xk+IDYZkceiYjW5v5IyrUQmCR1ci
5XZjludFI+h8O83jrAXcUIvuUrY+vM+pvNpNwiRQVK9bdzpxgTFhjNAJKT/CHCo/lMaL/ldIi5HS
yvvrdnJt98hcu85RB4yEimHmX7x4Z1dvaK0S8lyK6oO5sXXG+Yy3Z2DGbqXxyTTjFJHQoMLtONjE
uRxfRx3som04WPJH55cfQ4bXhnOTpd5+6qP+NNgziwXCJcgxMYh+8zsFpUS9LwvmWWOpfJrm4wTR
84zTyMGTwyI8KdE+ZTFFSCX9OUgB/sFZitF+xvGbIyzjqPl0xq2LGJdn3TqqMbllVvO8Pcl6LU+m
5KdijPWSAmH422rFQMV1r0X82l7/LrY1ZvCDOTxu3qztS7DXuBOm4QKw4RUNVYQDeoUs84qhItQC
syVfufUL96hZTNq8qD6PY/LiNSPBCIDwoo5dpJ9OPwwjscJNBYsU23yJIz/weoeFggWyrSjEFRns
re696O/ZWugaaSS1+bwdL6S39PvZ98iLARoFkL7gna+Qkrbyh94N1UnrdKxWMKfrVeDiFPK3t6p6
7XTk8RxMP6jiRF50i71QZalHMZ+tkVH1Opkp1orZW7v27U11c0DeAzyc0PO6GKc5aAPHRpvYrN2m
XMVsLaEB6CPILUonwqiQ3hcDhWbWE1iz9cdzpX5jLkcwCfNn3xoM42KM+EU+lZ/M5Z3r9t+qGTsY
KERSgih/o676A3QMVha7PZZhM/iFn3L9bTq//ppk/XxzEduBaoSCnaPKGvruY3vF3LXoXu+VBbF6
qqyPmhPosYWWzHC4qb/7vKlX/YmaGOFwA4StynBajBmEfmKXBbCofL7OEfhpzoILg+P3Fhxr58R/
0Oey+534p9qlBPkiiC0jFyWRNGcY8cE5x+1jSr5TLY1fsaaj7B7Y7mw3/sI8YTf5mA7TmYGopkAj
adr/Y+5MliNHsiz7L71HChSqgAJb2jxx9okbiI+Y5xlfXwdgtkSEd2WElEgtemNJdyY9aAZAVd97
956b30Zf1xc5Lrw50adbWdpPyG1fkwHiLLCtaZMhg0Gui8CnrdPHOYm/M4RJ74uqJqkxIzo6pvWX
e+WHmid2P9QFQMlIbBPiDlSLMztxRXwkWgR5nRTfYyemYYQOmhOfTrZp5qbUwLgkHSMmN8z3EF8p
bKWJ8ytHjdQQPb9rHKiMc+HTc17k34si833RsM3+mAHaJ1xZEEvByIZ2nrO1sHRTkoZiO9Acp16k
NxaOzKUyE9pTMLfMGLn9kfn4iyxuvBtotsIbS1gmPElnZ9FlIU9bG0PuWO8bwL+7MEmGI4yMpHKK
bbpomIMWXAgYTXfbq+8Z8S8PhtXSjKFkaaE29RArt+WYkW1bcZvmHfXZe7lIau/7QaP0oh92ZahH
sjKRgADIChMiwvMfVUiw+6DCdNMUAa2UrNt6c9M+Te38xZAGm7VHR8oCNWDLLnxp1VYVhbtdz2WG
1exlyhgzWhQEnoNJvRDZcxoSmNDJVu0rlb55A46N2fRflGVv2roqbl1X7Lok4211RIgNqEDppJPU
kpFYApn0Cg/YPc/V9LkpivDGkSTZoNQrqvCF4EMTDVwmQMtxXEXHNhBci4T8kk3OppgHaHAW3VbJ
3lSN1Ff1XB6qKXmayCCNUv00CdtHnt/3h9kani0W5Psm402I6LRePDJFRipKhDN0H5tDEbdUzUhT
Lb+ikmauOiVzu5GcFs/xuewIovKwA7IIsbCyul7LZtc53akL7eAR36lj3/Jyrk4VSrQ7NzZIYpWo
CmwdPggDauG73HfV/COnQnjYj6Z3sis/OhcMJQyFfDGSP+g8WruaLZSKlRELMyvkgCQGsMhwUhuT
Dg2TbpEUWdPZ5GM8xAXpXj7qmrNDtp6BB/JcaTe/Wl6BI4cTTivHF5PwqQc+TqgLrUVaCTIO2DgD
vo7efQPvn55CiKXL7bftksi9dYX34LpjcAY2dGsbCFtG0wa7yMlPS0AfAEh/wHOw+KOWQ1Sd183Z
phbfOK2BI2qplkP760hT40ZMLkF/wtlN3oAqOycGZf0Zj67FqQ4QCK93zdgdzRkJZZXpt/cGWeP/
cIFYRgiVLutxuHV7ABUo1N0aXcUM8RJtT4WUaQGD+CXZ1v4jQsHstEoIczcYLinRJtdq9J8ScxoP
pemMx1T4n1OyXIIYgZBn+d+EWeKimwS0QPtX7Ebyslab42w91GWhHzOj2tcmxA03RkAdeMEDwFIi
vx/XuwjIKcpKs+DcDiORpSKPz6kuN+nSrMyhtNZvSCX0S5/QORn77EQLpQF5RVdhLH8axWXI+wgN
fJKdCtqMykUWr5VCnokubV9HZDCp2bO3XP06n7rziJy5gKaFRqjYvd+vdcZEWMa3ofHpoAbWj24x
Xdd98TnrZbVF8GFtuw6eBPyiS5FYT5h/qCIQPK1rUdT6W1MHai89UPG9pdwDFGsoGxsfPSGhHHSo
1pNqhxP4mMbBh4Z44cy2kvv1gw67zscr0n/xEg03xI6q69AtCEcWO4IhvEvJEWVj+PCtKufBoUvq
KsYpxJhgv6EPGY12fWBi9LJaeyOcQ15LMYtu/7C2rk3hkLGTn9yipZ9LyONmPc/lEcpfFLE0Btd+
kodUgWHSIYIkQR85nS+BzbxWEJmzngDaagYobAN29SEcniXgfm3Cv03TklXVRBJuqBgTh5hOy6QE
PI9/Z+MoPwHM7t7r+/XtJq1JxAPU20ka5Heb9kpa22IwGI+B12c32n4fK8PbcJGGG+rPAUUCUMo5
k/F93pQf5pS5vN8dFb/uGaXQp3BcjvTUULvWD2DLyB8OmJdzVKTfialN0GUxpvDFN9RssHaXJSrT
cQyhmTQ/Wsn5FbwnmKIs2Rp043Zd99XKkMuvx7sEpg+0+7Ddo6GE+gmo8GYHxXka4IM7eHUJWwuv
2AsJdSOC0+1n88Fvnu2Cz85aeoII8d4igRmONnZftJIExjrfrLUJXkWgmbZxCRfBVVIzkFpa0T66
yE2KsO3YR9yqhENigviyLi7t8svT+u34+wAh9FKSF8nncAqLe/4XG8drNoChtyQPS5NhVl7RAFak
7VOSQFMi5eFcxu9ujAad4J1Zk9/LsDLfmqk97TyJusMhQ9wc/Ov6ASAoiO7Xr+reRLObUO/0qO7J
U3If0cm/eJ1Ozt0UXrU/qIsDvO6yngOoCAoglHQ/tKZmG4o+O6PYvSQJgQa7dcuFBrldT6BIHrfC
6ib2X3Lpg8gprrMq7i28XgcDTwxzZ54RT88vdQcGQeTnFbmn4yrZrzOTdYv1TbO/h95rMkyJQWKO
7Q8eSbJvs2yAMkq2gYuUKORTpYZDRd9ypPFKND+lBtC6tAe8lFWkIbWXlluFZo/pnu3UCSs1z1ke
2uSULcdApA9XL2r8wzibV9kmTBSXFl2D8see34qRbA08gF+KgZi22Jw2jM/i4+D5UEvzU9wKiA7A
wu8S2gCbsRPpybXHn24QoI7kPso9MvP8cdZP5SJtF+yR8VCFl5wE7jt/mKfLqOSBwBMI8vM8ElGt
6iuS9+16vIfSFB6lZlYXaeAKi/q7r23xgP3tkam/d7d+8r1vMTqFZtOZHjupEUf7njjhu6qfxB4U
XnFBlRDdz5RtSEZQlI3wm07+IH+uZyyjMiHxjX69IRl6Abe1yZ48y8e1jQhuLNrYczk98HDfBXTo
3iuaqu0+MkRsjowa3hCUlExubPqI+OkB3DJCiP0RvWvBcmJ1rbkPQ/sSwAQ8lkTbaAtpZs/7cTry
cXBrO0XwnT6n9SHpSTmqiFzWM3oa2UdUWuY80X8f6MXNzbmCWopJj/OaET+uDYq+M9rHMegfyrEl
5LM1op0gPG7jGqq76JmD+Or9m7wux31d3TWwIi8oGqPtHLZf1r00oy92HODTb/2JuUOUD7vCCiOk
TfStklTdu5yi7Lm1PnjZgSzrqtNsWEuhwRImd+t3dPYL6jXpzmmzzwsMaFETG2e3w70d1puAIA/a
wU8ybgM027TtirHiL5iHWF5wbPyE4ZCAQr9Y+vMoINUmMuNnFQzuvlnmL01Wf4SIVGy7ZvgWCAMf
XctqHyAkR1Cd9chnCLFWA+Ee4TLjr8nM3A8ctfbGmL6GTf6DkaR915KNrm3z1A5cmIKgAY5aKN7j
4hMG8WQzA4C95uG3MqgPteapYd81X4o6M18Car+MhpZZLiBzL+DQ1ZjjPRGSr7Yph3PScjgrTIQK
TFUAtHi0iweJTW6Byl9HIo9X50DZcAUW1kllhQQqmh2mSazZyNbBhdQmKLOQVjrDVJbgpajoq+C5
xe6NmA0L8UT4YOhpCrtFk95jljvHdkUN1kxv5P+9Rn56ax2PfHp4woi1lvyL9DNRI+DOjd7mANm9
DUHRnoI+HPZ22ICj48TNB3HnZBBjjZnKzxqJ1pMGcXuN6aQHmF+A2Rd/2UCqwAbirrmzgtq9wutv
93YmiaNzt2PuAhEfYmqnKd1C4BkuUSuImYDxHi50teybdImtSoipjhSzDamWgFHHv0SvWT11Jzje
PBgJsgiVWoyDh+xzqEoo/WP0i9z6cVekJkIpLpFyL1ZM/LBDCOcvnC/2kX6xe8U0tB2C8qWG3X+o
SBFxLK1fpJlVJwbvxLexr1ZNqS+p6T4ylQqIPKG7Zuu65en3GJo51rGZzXMjIvt5venyAdYbV+FT
xsz2WuvQOoNWLLdO2QhiqUVEEQdojpEnBiGfuDFE72FKfyFN/UOqp3uEvbzjzDxL+MBbwUlupwK4
ejXTmSf7pmYn2ZKJ+wnh5ncEIM1Dj0a/DNzprLOyIFMDzitpdzAFDIKiW0w5omwIiuSuGYcFELSs
a03Kvw3iDo39cvwWFSpfmc9f58Urt5antsOIj3SiAHxjR8AFYQpKxSWEaONg56b8oFLxRszoS4x7
4oC3J9rRtvLu/HgoDoFMBWJhCyNpk34Uo3UVdsXQqbK+m2QeH1urHflXyj3cw+6RubT1VPcWM0qR
79Sg3wLDPa/8jLhUl7ymFTKzwqKwRs+oIGHeiZ4AoHl2zkWD9CqY8pxFFau7YRJuJCZTbywUCjwJ
qPCXJwcLGVObmIkU2Io5lMFDPIvvoh1QMiaIG+qJGzmwWY8c2lYhU+71JJLXSI51dyxMChzwod8T
e0LIqwbo3BupUGuvB9A6bD65lSaUQPUI/5B58HP1UyKL4aqY4QIn2xPLlHJ8snwgKR37m2h1c6FA
euqnZjg4eZbRdqvGYyYhnY8YJY56RlQuMHvvMOknF3sg+02QmrVr8qy+xpP/HJ3Acrq0Z7LqzFXF
VR4mBZ4FCHyWRaxs9xUFUnHAtyJ3sSEujsusMmkheSzTsBUKlaflB9B43T5mc4WPCX7N61ma/FjT
7UlIQeZ9M2REPJa9pp47nuYOzoJCSqABQe+m2MZ1RTzVTvUtv6k71EcjWCIxIyJ/UflidCjp1Kel
6h+MvvS3g62/rqNAKeOfGrHnObH7D+tAwBh4DDvRlFdWzYUcqC8m3u6tNEB9k552SnXmc++Cu/Ma
UppExbX3cfLi0St4DoNvSjfFcZZ1j1eMph0pdTQh7f7XkPJrMU0ggswI9kR8CHzAews619kji+BQ
2vMSQ87SX1XZQ64sfZBl/ry66AU28bXgdCr/waF79hwzy1+2s1qWh2GZDsqIwWk2pXKPl+RKcxZP
0UIgY6VE78CUVbCRHMuE7NEiIRelRbnNwBr1aht/9uI0JSwOR3befl9/LLOmT74YzHPB8TZLGv8+
lxCa+sASe1Ih+hv6Q/Mb0IiQnArmz1XOnYLPHjgj5byqu48DzodNlOYv/sS0Fg0zC0fq7lVqppgC
8c6tb2i0OJ87vqqAuuqtWUrEsh227GRqXlJpK2LgE2s3tLOzQQl6KdDw3/yQ9vMA4J7qdXvwmenf
sLdyQarSvjSNewX1ndxqNahN2DGfy/zGPoREsd2tuzMmt+5JZAc3785NxAW2i0FeGBteJtLCXyrD
uPqSHk6d0ZBTXdc+TjZvvfY1OA/72W/gltRWLbfERDGdIYmHRhoyzVpOPJKIDb6973MorDH9VwMJ
dh7yCuhz7/tRPjf9YVz+Sfbujnl+B2OAsdeA9Gc3+rP3ME8CFDGKJ8VTK5OgZjSaxUcD4ssWItK8
W0EQrvm0kjeApTgnBKt0raaWmM4hjrfOiGIzT4MUMeKdrjCipSYCeSZayclMsHeFHp4Mr4+rI5aL
zCk+lUiDcu2bz1y2d8VHP8ZnMrDKszDa17p3sXOwaeFJlufUZVw1fa7ddnpwzfp5PSn79O03ve9h
BjSC8pAQALbvQAQSUY1qKQl/AZPrkYnLYlfgmNiriZx4401ZERAsbE2MOJle/Z+FHPi/TVj8j/DE
v1AZD/+Bw/j/IWFRaLBK/xmxeI+r8WfwF8Ti+hPvjEUp/mU6zDZAXAmtpHAAgb8jFtW/YC6yzhIe
hg8VIT3QoX8TFrX4l+AHADOC0FcAGvmh5t+ERf2vhampITaCSoMS7/6PCIu/8fOBxQGMEyYoM738
JtpbeDh/gjTpTsrML0prm3n9G6shj6KFQctkPWv6h3XfG+s6fpgD945xDF5GHWQ436LmGlZufhqd
+YGaG0PQhKKepkVHfiVVzPrHOR2bXV5O2bkcpvqpqchlBN6OkFTZj3LRBtI3vqeoATfhL2mJIQhb
eKs4Fxp1pkGyWakWoVg0oHU7P7oNRA0SwrvT+tPuEieYMwD6KIlu7hW7O/m4/H+jqLnQl4lPbl+q
Q5TVr+yVOG6s5v+aObOMwCFTxM2T64tzHBXTXRDJcR8pM3xBEsfgoESDUsnwJXIzxmtJ4nN6o6EG
vTz7XhtwFvuy+5QyeJnr7ObWIiZrcPEsx9+ipX+Rx6LDkrvYBZehVOfNz4jrETZm6jqUtvmiMuPq
ChIw/Tm4rS8GAo13OeG0VznhlwOqoVa4xDOledHuHVXoW+tNnHBsW13G7G4i7fSLwk1VtW5+Xwfo
WgPm7tQa/WatJkFSIzYlSI49YXyoC/ILPR97MQ3KX/lMdKzQCyJwOd/EnCYl84mdX9bhCzjHm5sy
vSz7Lr+R1jwf0u7Z4tY8zmU87OrGmFm1OWVYlmU8VkVo7inrrSu5TdapAx+H8xoF3J8erf8OuCj+
ioxbbljN/Wo6jlASaJz5GxPUnE1v7CcKpxLH9w2DcIGtKmzIqWLhTV3vHKoVLg7Kd62QQic19z7t
xJsdudVWJUpc1hf6XNZFJBbddcwiR2+qP3a1Jnk6i+KrQh75YYSE1/4cI5hAhE0jKmH02+xjIjWh
HlGEt2GKunl2PX3xesPFqZyC2y4T178I5jWHtWLqGWQ1iLmWFqwO6ydBHwkZ/FDt+HTyO1H31Wn9
I3pBqP6rDCIoum2R1T7IoaWpHQUxIUfLXYI6nYQtJ6u+6Gw2CKKoimPnuTVOyhq2TV/g11xqCNRb
YivkjJKCfYbyZHB3SGPkh4jTsFsWO4QF3FR1kuPxWa594bXW0e5o7+KxDkkoJ3kLRn87Pk5NyNCR
U0mzvGDeD7aQhgnUE5LUsjH4ONYGJOak1IeC0OuPhSPug549Eqpwws1F2pbrnvtCXoUxB3ApO4Sn
amLkT2cN/CnzOBJZmNp18uiFQfJK/s5DADlqV6oJesV6Ecs2Dy6invxXH75PlcXPPG90KcoIsxVZ
JR3zwKOMsl0/gULwlfny97ed/Ve468LUpBwARQgaTDvaXe/KPy2Tykh1WjV2QgpSdIbkB5xdJ4hY
Ir0FZF9+aWovv5Bg92023fEy8Zjf7Cb8nFNk3luoNOnsPfzxnMO12qg+c6+cOYKDS8vsTi0U8fUl
LJkQoX2OkU/lQNuXdA3akdkFlDoirPVLIi2TwzQb1gGkBGcmR8JVxzrY70BQn2neT29liNU41ER/
eb0IdnWh/L3RoSDtQI9Fg7mzl8WkWRYTZG39NbQqooRmde/VYH7At2nCqN368vcfpPor5XP9IIUE
0baEMrgaz9lf95sW57ttBkVKlo3/bPR5eqtML7l5y1dR0/1MRVBB0+Kv1m/aXi1ZVlR4tzJT/3hp
PNyVie3TVmq5x3Lfp99Dk4h8uXvmbM3z+mJn7Y5NIt10pqvOVGXGDWcwqYeMsUuiQm6GTdFKaqxH
JwXzrZ170xm7kX0CpeAjOxDGx85HU1Q16KylIhfeRQWNfM3dOix+T0mZq63A1fycd6yHg2775yF0
+q2YEVL9/Wfn/n4TchdC2jOlKxxhC1NxKvjzXu2UGQGR2Lg36LKjlzKjXWmBmURFHBuXWItvRjoZ
JJfhih0IUjPmYr6A0oiOY68/17JdXGga3ENJ5anlaB2rJvfuNR6nlrTlRzQ+d72Lb27ddG1alTvC
ABxIbg9lJWsSzgyKBj/kAfCkcURvld0Sizh4Goko8qrkMZyA/zO+yb7TEaBD7htvhQy/qzpADrzE
ZxUuRhyh01807lGAafYSxq/3yThYr1aKw9Nw06Nsi/LJ8ROwJiijqUNBr9nOAHPYPuVFr74OQ/5G
X6Z9oENCahjdcEQEkQMiduriS18WDonwbbUVPtStpZ1+KTA7T4lE/Bknxs6DyXsHgSS4L8civF+/
sqaIxBybnOyu7OnUV/7jpPr6TMRWv437aRdYQ/Mgs+qfVpbfHwguqselNC3NKZF9bfn+n1YWxoV6
IpKNz83iaF/VbodxCTfglrt+NxDsvLWcSpFQ1NqwEeALVWHTX2zSNF+SYmLhFdHjIEP7JU/beavT
vt+YbY7HKKXeqe2O7NmeXJlWcgpTocv97A5fcP5zGFi+2QRELxrxx1jhJzaA/xxDA596EuKO8Iyk
uJcj7X4T3s3P9YjRteiziqYz0QEvVmvP8YnuimJgGZ19V6hwOjDrLikBJQ1wbSAZ8Eb92c7ExS2o
A5XUD9i5Ikxa9wWid0zyrXzL++oQIQ39iZ/vtZyb4h/AjnDH/wwXdsiBgS5LPpQNh9R1HO83wGdA
X8njPzlsEF8VR56hQ9/M/QdhBMYzjK0NZgXacBh8D+uZMIbpfOpxWuI12qxBaWBK/SeDOl/PkG4M
7EVzKzxivtW2F4ius7ptz+tX64uqfXHouxjna96I0xprsb78kXIROVaxNWG+vQYxxKTwFDMmvkIJ
QBvReyGhL1n1KLKuOzk6VMehB54xexGJ3JVLkqArvfe9vjXDm4Exlj27Jn/Rgr4QqPDjeuh8H0bR
iuDwGfRNyV7gxgSsMMhHmXic9ewfhBd9TcoR6Ilb18AL1g23Ryd/N85MSO0AkoKlB3Nv2l23SYGL
YScqDCITyE9HlmY8FN30JDOOXhGxe/+w6Mn/5/lAGu9JpRYpNbFY+rdFr8vUWE6dajdBLOE3siHc
TeEvM1Ldviy1S8MzJjs6Y0fFeuTfeQjbHxCRMFmaEnKt+rq9Qx48fXZwk+4MrwA0uPzRUnofUrLt
7BaAoNTWLSTVXbCn32fa4Cid4otcXE+rmyYowuJ1jtNoDyzgOucemnZJJl0Ims6qq/YRRB8HFqdp
n1P0/lvJ8OkfPgjW+d/uYZs909NaehLci8dW8NeVop2KKi1HcjsLCjEWYs6D6/g2mfKQRjbsxnWG
njoTS4gn/QrhBZLePJrY2tedMyA6+0A+m391fD84hCilEyQFrn1IIqWvDkp18kuDA/2lGCV0vnEW
lWkeqdc0y8zLWsQZnj0f4hpFvl1PGBgJMdymjGHvkyisaLks0rNipj+PIP/i+M2nxC3OnPKu1nL+
TKf2pQr8+4ke5l7mKbaAqlOPo8af3w1ed10kH9om8XY5L6MixHlYdcFe0cl8oIOeHoJkrKlx7IXr
VZaMDbGETZowIHQqIHjCNNtbhMKfSt41UzYqr4abfz2kmfrKX8QPJeD6p8GpnrRjN8/rSz1WAtr8
p8qRCQbI0X4hubA4G83VhZuAay10PuDbGy6NtigBA5BDsyVeE7gb/d1kkoRotNq4Ag33tuze0tqh
ESuB7lfPBta+XdemyWtkY1+w9OR+dcgPJFb2PCYtvvxZvUZFDZ8+jsfnoWtGggf5Knetf+Acu78v
g7Y0kVk6ePc5ybLb/PYwabcOyAjNQOY1Bm75ZiE+rIWTL55KgruQ7Uv71IFh32FDqZ9a1zCoMaG0
KDccDqOsxXVtUc7EpvJbztNm/TsnIaNp/eztdEhublgxclZFfbBLyocScCKpj9L7ZpmExVLgkXzo
oNvxZNYdMwOZyzRk2dVI8NzTy9uqRW02tFnz4IzmIR+wzotC3dtRN13WgfUfL8YMgrXtSn0yKmM+
mbEzIZIKP9tFxw0TL3kG3L/fSZr5WS8DrHZ5WbrswJySh4XgbC7tirgmG29d+Vxrlocs6YYX6t67
oG4vvP3oItD5wtqtdzTmjaVU9p/wmo1k6SGKRgrY3bQXXJBq5o9BF5EjPWfiWNftqZVB9pA0sn5s
5mk/s11ve8Vori50sTGIyH4ycwZnbdskm78/L1p/BXBz1pZLX8ekiWQT2OEtrac/Hy28gDyhVjn4
CKdF6sEcSpV2t6O0femntL5Ad0neWYAg19F3tfGvzPDlNa7t/hUjCbPgEhZVFdA0nSrEKnNYXMy+
I56q4RB5Iytnyy3l7HREa0CWXzMRGp9DMd3IMMe7w+3+YbJxMhed9fYP7+2vnOblvQmcQ5JSAna8
Yvzx1/emY0OHSaXt9ypxYLhC0yMcbxOtAHow2q9+ztEzDRP1y1bZR0KcnsK4PNhN2Tw5sRyutjs+
ou0W9mQ8K1vaL7g/jpBzhocYoDUt/fnblDJgqdOEZkcNeAgoav4Pi7pLJ/FPoQeOtwSc8ExiWfJs
wlbc37oZCjR8LUoLWAwahUPjmcVynAodVj08VTputq7LsOh92kTye3/jsye1hxmrI/cERabnteyx
Opr6Ziq9V47mIKGS8lmMlfca+/qzU5r4pJbv5eGEUwxJsilOXjS3b5j5SHasCtiZukvuytZKNhh0
ps+dNkhtJi+0mGuHQR0e92GkjvJ7AjlWj3tsNM2G/r25G5FbMbnD6fVCJXl1kWGcEwWCqBfEuW1D
xw/vkwnxl4WG/tAs7QaSX1ui4+InNze7y/uDNyqmQXeqR+kUz/BwYCFYN60Bl3rM+jc28whfQF/M
43g4DL75SkTNmXn0DzEo7yKhZwYmkg07upf+YxuEULUYQygmQXvbUfEXel42VkYgJdaH7AVdZLsz
jLBnING2WxRpiEZr+wXFbn4oFZFPiRn8+vubVv9ewLGVaFOAoXUtHFnq9+U3sceyLRZPdoJFC4NO
mpgP8QikNx4dc09odXH+48VHymEV/tdSIF2ye6VfBQodiFxWDLouhgnqtSXuKRlD/GyZ6eXmh5E5
6hkNfXMZlGR4u1yePnbE0bC8/FjC9763HDc+5lAaCH4Cxj7wmZ4nIneBZ3k3TqMjPkdyqZfnZN3v
YTLAVuSGsUJVuZvSGglrzni8gwi8jFW6DKaTI6nCxUOfMImYymY+DMwhqQHrGemFE15MLGZkwm69
5Q9x53obEeE6GrP6FqSJd0Wh3zwPfklvy0+drR5ow4HhvL6fRQtXKAKVxSKasb5b0wiZuSHOs7Z8
ZJESWdg/JRf8N48lRy32SFZP7ZKY+1u54Mq+zfLJYcS+3pQxI/N9aH6XJWHhZNUwGOqcJy+V8ftk
OBgra68FhxAcGnxuaDTUSdba3JcSnyEuVWu3rk5uRXd6NRyYFBz7tdCuXBo87/+dirS6Xag78tbt
OqL+8otbQZfBXk8/ywsYOqDX+aYtvPLebCwQhy3uvjlDg5/hDeFeqsYI1NbSrFvbdoif/v0VBoFj
o7XHS4vlZ2ZKrCw1sj0vNWeZpsPdEIfO++NtugW8RuurO/nZ3hjKkc5S078m0B3B0ys05AtvhmrK
YpzLdG1lwRdzpC7Zwi5unv8tbzbYYnJXowrwgAUS5SjvvAyVPw9b+zxqrqWZ0jTvxuWg4RTA14bI
LY6rX8OqtqQDJTfOt+Otm+vjeopDczIS/7b0O+0Zhc3a8Awh6inUI4nRjFeWUbwdppnjM8ktTm8D
CDanICQYuyr538tnE9kQMeMIGWKnn3yDOz5K1KeKUaYjEv9G8LmvYjQzVblTjEfQqTXGYcwJBR6H
gWUE+cfP9+OF8yUsa+fmDhn3yLCY+7pljFnHSX2Qdqn9S1tDQlreAzz6/DwZiGYXO0qdM35fTKOk
AVQMAH65YV9d2skyj6s2Rbv4Z+2Fqg/ovuGkO4sjZlSi1HP5fgozjNLazXiOKFWgd4QePurtelOt
L+tJbT2f0Ufod2J2WY6JI6KZbMDncFF3LXHGRkNCdlq+TMvhRXhU/9XgWccMYTZIO32fgyh7KgWR
UQ641310qo4M9vkMZtuLEIwXXycvb8nBG7NNHQ94WJdWyVQZX8NqzPbzMqJweoR9MmXO42X4h8YS
wmFAQ2EHPveAeLC42kJZB7GYoYhW//t1dz3o/JGMxC6L29N0XcZt0iYT/PeUJjerXdurBIGihIap
Y9VN5ww34EuvPjCjQGhY5c4Z3KnLKKErPwxpATwFsOan3MwfPBRfaVmJS7y8dMgdIfk+g7QxDlUU
yw+SM+cmznCLcU1JumcG3hAEs9cO0QvBdUwZOJhuT5pIH/bQ+gCgHTozbZ/JRGMVrXX0742yC6wG
nEknLkaJ8OwuDVy8POYSLEjzDCjZZB3XM1UzOg8M1T2QjhT7ADid+4ngcxcORrUvWrI3M0JI5Pt3
/KxnJuRxroCA8rHti5RhPXNJ7BEkDQuj+ZktgczrVGP9ShbtDPBNO2Q4dN/+/kqINXj390sh6Zi4
9LxcJcxli/xzuysCC29ayt8lA2pdr8Cw5vc2We7Li0bIk+cIQ9a/RzeGjopJ4EYHXc+eWScbOsfF
aVqgjtgDk+M6aAOG/Sskx/QIWYksGTOvkKItT9vksWWgUNvGeQolBCKJCS1JPOHSzBC7Te7bWj02
6i2nc8oznRPLOWbki3AD1Oe6JJnAzIZffWtmhKcTSwRt7i4FBELfhnlY2NfuRyvcgBspP3UCgVJg
D8QuJMZlHU/OJQ+mDcnCCe1d42cDWiPpnjjZGYfVQa3ZlmmhfO5r9PGJ8H2Uy2UBusHg305xu3e9
OOaOs50lRs/+R29DWPEY9EmgcffrPvI+HczaL/lcEvu91v6l7fxcv1kOSHlTH63H+rJii9YKvcum
5NoDRMG40zpXESWMD5apXw6tD1vpeK+ERWJFCOqLzSK8VWgD927kFzugSsQCKEFsbTMn24byhhGv
z2RHD3QXKGPIW2795hwINW/CJqsubmqxq0gwG5A/JdpPopyaErDLvODOM0rjW0OHlTkb4asTKJEF
LXUsQHXsRDEg/lxY44v0VMR+vX9fdT23P3qliA9hNfkvOZQDvFjjoa+H9JEGYHBm1Sm/pKxO1/fR
qkdMOE3jjqo1qu/o+4nP78cLHN+oPXBe7jI3qB4mrcEZVvj81jGKNXb7ivcY4lDVz4YYcKkZo3py
QmxIMmqM72kxQktFWEeRVfDrIMwN4Ubu7UD+gCbL6JrB+/wPyVlYpH+vHGBZK82CRvocsqPfB/dd
n/pM19ppH8KAQL9jv2Qk0m78Yg5PeSg/Y5UgwTZFHEcqGpZhSJU5YHUISrRhADbsoU5kkBYW4vmM
I5h4cOirpMB9tX5BE9t6xA79mslPr80iepu5RUG6IFsrvPhk6tx+QYELXabX6potMq44k7SNiZA4
rH/EFUVStEPbkCQS8wogZji/36suOM3jtO6RZWFz39fItKjRgD5GMKZW3VDHVnUKswFOaRO642Hm
vLwvug5EeuNg2AgC8WyXLc52kZsXQdfwIkMgPlUbXvp1IuYmDkmQuGKCm2FhFsGq2TwK2XA7m/3B
aeJqX4Zy+qyG4ZtIk/YROc+nxJuLfcz//dEc7eTo2OarM2f9K/0dZIjeLE9t4nSvFXZ/VM55h1A3
SnZzgnQ255Qcl91hnbIaPWqnpOLYuj5tfYLE7o+jh5nb9+v6YCQOq8zSkDD7Mjivwv+ybsmiLlV+
zMasgbYNcZlZyQ6Ha8GxnZWaDkJ4W79qKwM3V6gnNiLACO8PRkuTdp3808FEJ7rYn/RIb0WL5AUn
arx4xX95gagO9gBEje4a7i22Ok7yhDHXtfWoi+6/CDuz5Uaxres+ERH0za363pIt25m+Idxk0sOm
h/303wDXf+o/WRGnbigJK122jNh7rTXnmKSGo9IIvdw++9F7LUNxzynxWweVMPXwrzrtxjeMX9hz
cx2IyzR56wLqqGkQy8dXWryNbALmSjGCGbT8/tvbHd2SiGDhTTd4BNH7wNJUD6La989u2bE4tX57
1RRKk1mjaMb51cnrUxxpGYo6LM3fe486MVwwKjlvXR2y7WiME2MwCTE9TLfzu4N2C8+/y9i+VomH
cdKC1d6BhLU00eQve7/JCSu3+5trYLAGoRZ/xeyDqSrXadst2gag65pFIl50mKFA1Y3OX5495lLu
idZE/CswxQfWelCI5yDzQm2RBUI/zZaCgaRjCNfaCY6uekKwVk3yVQjy09MCVs2ebJq94vjbKGjP
cxOKJV05t9W+tmswEyieb2k0michkjPUo+13jWBF8FEadWuC2R/OsdFdtRTbY9zhceBW+teB9hoT
BEnmcMVa6mM2Iv20xRN0xVlg0uGpd76lsEGGtHVTjaBjNBjts2CIJ1+Asirt4fH7tmcO+oMszPSQ
TE3eLCzM0//eE5h/tqkQHUHBUg2HYst2jD/bVBrVXuFrMcWS1WO/n5KO4CgCjxrwzJDAV2nf8Udd
TBpTbPoIPubb2qicPG0sj4o0/eOMHWKPBVhD/z5TF1I9Bkj02A8+qYSjrfKM9BzY09U09J5lNInS
8hpmH5Bn27K6hA12sO/NmquW8Z4O364eXODVRt8nl0JA/cB0IrZqCznKM+ny96ppvPaVUZ1C22rP
c996ACCkZVrABNJsP6Dv425vkzeAfewD8rL/l+nWH8mfTLcsneUYXYzOxoqld2r7/n+bKiwDBrYm
WrBJGSoLJh31qaqBYyESHDeF56LRAUyyGQdn3Ed10j35WcWsUSUuwBr5vGQ2nVOtm1zfYEsj1zgO
CWzTaFQZguCQurWA5suOyYqn9RGRG4b+LyU3PJs/1jMG2vbUFrFVm9+CMeB//w4ADnLFKQiRaRPz
c9ad2TQkV4Q6kRYkVH42phsL9jfxNdaSh3kZGzV2ud+FZtEAM56rHsMp3R3/l+8SaT6VRIW5JYYE
qf8kdUcVmlP832ehGoUId1zH2+ROad06cp0f8ZVGEIinWwWfcgNam1PdjDQCLeJZr1qhDWfDa5Ep
xNkxT8ECELlIolVZNI82LMFVNrjhCfc1XHlGu2cnsOHCkvRVo7uAZ1COmxYF7XVU5GPte95SHb1b
V+tMR7LKchffW0Oh2wx3CShSvcB4bgg8OiORYNIhl1i5m5MMfO3Rl/YlnkYhoZt+hkr/JAcBAXP+
0Qur6pc9vYrUMqW2mpViA6vyMhh+B3HovcgBW+p3700J+mAZdG2FD9AKD/TFNqKOmJZzw6jtrCIE
DaAF8r+X7xv1mJK8VnFjOYrp4MSNs6ktoe9MFhw0MvGDpkXqDdfyVc8S47VKxcVBiWYyyY8YMk0a
pTFNu6MRy0fsHcOjUYW7eaf5vd3MGE7O2qfpe83fQomUfI1LvNwlVX7pXPFlsyta06N0LkpnqCil
h0Hbqiau76Bz1LOKGmBBEsEdf166dt1Kwm6fbnnsXhaDBcp/hG6d9Rp6x2kEwBjcXuVaNoXooCq0
CFVZFPT0S70fNmMFtYCAmvBBgSt71KKXuVvI2m2s+7lHFI7S/b65+yMuutS1Vsif6GVOy3WK8BoT
GIy32QRvm2U0LCTEvjW+G+xRcbYNE9/+0mT/oRIlWzZd+yPUxxix8qhfRezZmwQn3Pa7cZhYwT3r
I5LKuIY61G3Q8IypPeREJz9x5aWKQK8WvQlCfyrqTZuEttQrX2hHPMwzw7yKh32k9Lfvz1Fv1jj7
elQcdIDW/uCQ8CArf0lQmrO1hCEP33vl+SJikYi2pApQzKslyIuJdjpOpL3K6YxXI4iTrWRImaI5
jIRgSXVsBIqKYvc7UysrzOay3xlxjpiZT9t33cy4akRLD/jEcPAbjVY+bbir105gV9OmT4Axai8t
s7PLXAJbPMMQ3PKzWvSMSLzMl3+Lg1TT1Y7BtB3/l6Xqz003NylkGqpL196dxrB/9AVNLJ1hRV7H
ys40NjsGNl5nVOPNfCdRcvKY5qfzm0oJf2lT0JrMg07KgIA7Hcp333UEruXpHBlAPBwaIzqFMoH3
k2XjocUhKTwhBPaAlm5QJf2FVFKBn5On9hQ1nbLvWwX2R0m46lnzO2R/DkM1NF/tII9ZUhk0X4Bw
Th02fM/PnUiak8G8elXVBPHoVarmG3Ih84VCAhMNWx9bp8syMFNhfNlq/1Ks/EP05RlMohyg5Qyh
bOzZfwyiYpesMNtFzisp8ei0eAF+YNxX8+R6fvR9UY68JFbacaE3/SkgGu48F/LzwfAJlnP8ulqP
jK1OvY3911Noz/RucJZDNXEL4XY0SbDxaeVdKIKNv8S0hmwe5/5b2RNlVJtQg7XoQfNpVjaAnBc5
xPFdSD9nhrImpMy+zI6aefSvuclNo6X6k402hNDUY+so8fQU9E5vra03F7vyNvOz0Yb58i9X3D/k
D5ZmaPSgdZX3zvrHFRc2OD5SM2IDXYCXZ0w8nHNpYz2a3xRPwY1hBcFnaMXtcpRmeWBki3pNJ8WY
YNh1XBVi1REMfMCH2B4Y5FXwUFr2Ys8WU9oz6w9g+rRXngdmZXhXXecnqP5VEevROXLbkQXY3OAX
HN+csGvWwxgzlme6woo2lVYCL76V2M4+oWRZw7MlCiZ30WrlKA11tn3ULFTkbQq/zQBsp/dMuUv/
zkSgOekjxPT5aZTG+r98Vu0/P6t8QjVmnujqdcPTSZf87w2FkWcYEwcJIHEu30OIccyroCqNldk9
zgdlIHYFtoa+m5+2cS2vuY7bZj/LwDUzQGbXJ8na8Jtzmwz5Iof50tRqeJkPvVeZW9ZyIuagJ5yK
AVq6mzneug9M+/x9sDyMqVLm07QD7qAFPR0BrY9AYRJwOFZK0xTA2UarG29d62Z/tBO62YgZ4DqA
j1qkhOC+JWp5LqIBz7RZX6qp36QVF0eV2Ystr9mY99c2n34/1Te34M3MB0WjHsiFh++UdeCo20RW
KDhtaA8PrOnojMmjrAQlFP5bQm03AFpN8ufq+oSecrhiHNppTbH/35czo9l/bPPYnhoqBlvHZKf6
p9xNCQtYJDBr1pAQ6cJOgWfpAJkE1ue1bcUvSrqMXZHIcM5Z8LipJXELELBdk9m0dx3Ck9Qgcrau
sM/krGeTYADa01BEALSmw1HVIuf7oZlJdf3917diIkbCiAgky4fQNS1UYT7sdFH8VLOgvzRDgJ3c
n+ARpT6+ZTAxRsQNSYxarIxld9fJHtqCBBSrNtYVGvs1yu9pbbVbaBoIIab0Y11ZoAegszBtBSEx
0etyLFDDdvGJ9QtoXOVqD0OSb0k20L/ZC74i0l00xWgBFbZu0C5gRYWCNINpqDoSD79lIEK4qdVc
2UUMt74/ujUgm7hJH+XkX4ComV2I8To4LhqWwCz7S9zjXZir0G6kEw3TxyTrU0uf53NiDM9hKZQF
XtR8PV+GkSpXphbbx2+NNimH3GAmKY/hXuCsAu+wGn8zXyvzwdVcsg9xZ2Nc1jckD7eHWK3S3RBD
I0njiq5mK1iPRn77IqC+V7FAPwX1Lp/e3bCzaT4QkEr2A1d6bOUH2ILFJpQlhBVv+AGIZYg80oT1
KH8hBiEgFO+56siAqI9+7aQP8+arFvS1/vf1af4pkEFWZaCWmETeiHT+sVJRZ8GE6lS5lFWrgkVu
nMN8sP7zaH5qkhIL/7HI/I0/mFe/8/vt3NKhEpM42Cm7sCmgVlfTuy1s4j8Ll6z12uZCj5WUkjMS
e8lwodZEf5yFlfOhkueoZzT+vcsmn0p97LI0Xc742O+ThW6IXVeisB9YyTb4plc0z1Dd+ixPtWY+
52j7DO9Vh8P2HKao9GXpvOK+zf5lqoIYTv/v3HQKT8dRbSYrU1y2Y/xDkqZDXuqTNiAWdB5od2gV
2OpAuWyBFWiTt1rXJUHNdrwjPMhAVksURAPw69Kl3nNsLF0LJTPwFBrtLtZRs8TfE/Y20SnT/iD2
UiCes6ECm8RPzQ12dPdQ6DXeh7Dy+Gaa6B5rWYv70NIhIeY02ddW/EsdIO4lbRFt+rb4zDFiPQC3
/TQKjTt3kO9cJYxvVtVdZKSGH05mhkztkoOetHeHdILVfOdvVjW6GrjAXXjTi1aBaKmLVxQ8wQLG
fr63qskDAj8WqbOShbAeA+dYWOmRism7mqUdLgK3ZbbWvSdsjp5FWvRXKpN76wQ3rSvEszAnqF6Y
N4fUdxiJwJ7uo8z6tl1ZMOWX5KXkpNN0z9/79IGJkFtRDItiMd87O1zuD5QCVJSNu7SLRJwQRruP
Zhq8JmMmnrgDX4OyTTdZVKCMm5q/RU9AB4jpJfBhbY0uPL9nlqYcSzCUC7/EhNtCQaOPyqIPHBMb
psP4xfarGmN56B4wI9NK91oXBn9qytXEhlIHLJBmBpwoIT3yaXDgzqhdki3yDrVZwBt3RXumrYWC
O9dNuKSNjtANIArWXTd8CzepV7z5tvskdbv+bRQPkvVnrJwPjd9smWrUZgQIlDtEcfWuKBR2LblD
hTbq7pXGGxP0lBiG0jNec9NCFQS9E4IuQ3SodcJfUMkSoJs4uyhutHWpZKTtFI76MDCngssVgsVg
SRCkjp8sSeduMD9LrBykeJvhu1nSwVH5K5wKFIg7ICIHJa4PStFDnhSAynNnIg+p9WGuA+anvMlH
EmPZVE9v+Xyqh6vkwOYgeqgsn/KovmMYkW8O69JK1DlldO2QOac5k5cT/JSmg0Wc5+RV7PaLMHV/
kZThf3e35qYXmtt3u+mOvd7V8NxobSRT5DSO0LOSa8nZgRa1w8iOlGBKep7/+rYwtXXOZhbVJm37
vw+JEt5phNUr38VYls0jHapY9+SpTGRmjYBfsW/5bkPmMXhrggnGtZnWNq2wtjnCtuKdb/r40Rk9
GNW9eI0U8pwQ4bkPoWRTEgbGJcaae3fJ3h1JSPY3QR1Z3xJ3RRjLKHeMByBzGJemfb3VVN3WJF+I
aHhL+UCzgVdhlunFevUiUZLcZk0ARnbicf3cPyWpjJZ8hq6WUtgPc1dlyIyr1/hHdC20d4HePoXE
BS6NttDR40VPfmMar9rQKzs2bd/9EFutgofZvoX8iYaXU4w7rYyV09CG5SbSrOxq5nW8i3LbQZrN
slyPdfLAbT0iudZ8Ukg3eLHL9mE2C5aZgUxhlMZ3IK9r+vbFckA8N0ShwkMJSB1tRfGSqWKVpEn5
My6nFINSqa/ECsTLkKngX/0oIhLCbSTC+BQPcj3rbiPpfilJbDz53dqgkxsSQ0Pwhmu1n5ahfDHZ
dH7QOyGCRzjKUR9EdoqLWNmmA+Lg2f+ekBFzHL3mXk7NnL/bqekAa7YoWjYoXUsV9JOKvPqr3xYS
57SooFrZGh//RtJTmx8lDEnmtPMuqsaNA/jmmHXxQGZ0UiKlDPoOCpIFkCvHAEe99VYZJDij/x4W
bVCid2h65cXni33teIdceuoi1UoCJvBqn4CaP8VOgOcjnnhpaZIcx2kLNKZISKPObhjsKNGxcbOf
RZy0U/wc6ERYrc8sqp9GRehQGvkBMUP4M8HcoAMuz0iE+9NIFJGH/YzRO0ONQACwIQn+rphckzTH
lIXhkG9oVglQuTjB6J25EoBdWl1m6FsbB9qyNi2oU9gKN06lVTcugXadqCrgx6mVn/DRMXtNrI0q
e+tNIo5VRg7nym7ah6EZfRLZs4Mja+dOnMNvKIjs24ZWwGMxgnNuxz1pG0G9bPzSeGW/kS+mJseJ
QLZFQu3N0h9vmkB51toUFV0FTO2z0/OSlKSSm6uwMPgOuouwNbjEtRbsSHJqVugnq3VUYeJzY+OX
mQB3IIHCPQYkJi1n+509lMEumiZiUdAJlm7l2XZJXXbKjK6WkcYHhRakbljxLUOSJRAJAeRtRkDE
4/jJPJ5N3GTj6/kTEVVMHkflNcFFJfl35fnu3q51+8sdutch1vnkFMFVMsu9RUig7NJsw2U7weqV
tA8OQZ+9zj9JWVVgcF3mXPP4P2VgzlukmwEztiT7lABJVd9DlUs00XfriKi1rPUf8loSwS7d5lKB
W+9Q8s//+wgUhlLqjHObjIGjwZ53vvkkBNycB9NczreYPtR+59SPCBNp/i9mMg+SDPip2fBCWqx5
j73fliLZ7k8FMHDSdN309bh02W+fMFEUySZTYH1wa80pzH3zoScTMaAzuCmR2ocuGX1pcc/txj26
LuhoKU5qoQ8bhJefWUzyADv9C5SDfOcP7E2R5u416PhaDGjNRNixEgQR5kwBusAclgA+VoNVAwpA
xyOV6mefEszmxaSF2SqaKHADVO7yl1T5iaW5pWVIbd6o5BRVCXVMzXBXpdmcguFemUN+Kj1Cb2vN
0dZj5otF0uMvGgHFAR9LMwRIRH/1pRauBoW1JegKPJ3oxiPrDJloK9oePKunM5yow2Ll9sDBSg2y
iRYUxxgBUhOh3bBMZe8DkTNM/0V2Zb8oOr6F8lUlDBkTTDGbIZomwsl7mhUPeZ/9Utr2XFfvgR1c
8wj9UDvsvDQ6KMJ8UOVjqZTvNp4/VfS/hEPId5BcNSc4es4WHfy+xeZOdOWxtcO76Y4W+OfmQyY0
NzLJRovI9XtGfqCfa8Sx9qJb5OVwVojnIZ9GW3B/O6TEg44lXX/eb3ubpcFJCcKP3EeNqVrhwPh1
QaZDDGbKYTnoL4NGd9ohw2NRpeZisL98BXB34/nhGgTjktbtuHD0IkVVRSyomo6b0SFgAVz/wqyt
A46/YOXAH1+6JpnqnQnuNsvVpzBbZi18Fr1BEGEaxddQ6/vOA4lVSqt7TFN50yQSMzs8Eav8U8lL
gliDCVJCHwfVYshFI5NGcvdtryHWdmVQX4aueBgAABNmvvc6b5U2IlrgQTlhxzlFyXgHFLcPVO0A
LPnnaJQDa1dw8n1AdSNcn4qNGwME7xfN5yX3KvxJLWtTbGB6rnK+VZO+maoy/TUVtCd1Ajydd8yX
AMzaZRUycytLc9f1+evArzlC5XLU8ktm3qOHZWBh9aa6Fl34UmpFuTFJO5JtXy/JvA0YSjv8WZSQ
T2nbLxtHnJVivDF+eo2N5lLGgXu3wuy9Qha0AvORbj0UVgu0KijWuptRkfk5+jjogEHRAlEL8son
l4uN6aUyyB9GVPRpuDiERIoIKzOTk7gapngC9hktWpYTGXp3s+iqxR4zJIlu5iWWUXnOmoRRd5pW
5J/ToA6JKWp0M9z3o5jkSSTy4q5uCLlfhTpMRHwqJExpKrfb3vvdtfYUysnV12u3Lte/sPC/pth7
rUcdTwJye7bRwplSSzv0Tcg/8LQqiKdaWK31sDbEue8yfdHBzl1rKsgwXYU0r0V0gWoiD0OQKNtC
Ud+6WSvsSXId4FGXeXyKxKU0Ej5K4gVCxK3N408dQuCyg+2ziAlaVBjNcVMIl/ikhkXJnmVou2cC
hwlT1u2POFaJACafV2NQEdOXLdRln5GqK/2LEZO/jJGTQA1bPDhmy99/7BEaN/q19pvHgEALbOFT
rKp19id036jAZKhRx/st8KDBX7rJGG3UxCFkBgli7w9H39GrA8ZDdeOF0bgmyUlZqF3/zHwFOnET
/YpCBamGvdCEv0c2tm/IQ1qiRW7QhYkXOyYkA2wi/o/ERhoLrJZgYXxop34gJbuyQHOqdXwKYapP
1wLcfNcJL9m4zrEPiUql7i2TD6eMGWBkG81twqXW+ek6LeJrko7hrrXF3UiifiGGJ41fdz22uU0U
iLJB5aYvFDD1CxnCtbCUXVXGv0mU/xEMGZ0APL/Ii6b8ZohfkHIyu/sVFDgTctP73aCIJY0Gi2Ki
kTDgxeKJ/0oY50U4CTfusgY4Y+FyRPiwlGHfnUxVPYERB/Q6bkoXynTKjoVdBKo5An/3kjxaf0wf
KcKLg1to7cI3fJQ2rjcQzfykQgcL9So8NLxWtVKS2gOHiOlsPHX0y3F3Mhk1xvJiQTwXRhesQoPm
eRmK50LCrslyclHyUVl41qduQieyIhgKSE+Vg/ZZVqJcNJYTk7tI4GhLGU/WDFwgs1SdhVFZd0X1
2I5TQO2A3K1y5QCtTgXbBzsrx4JU+H3GBRwZZ2lEr/aIcYAdKGwxAoG2banBmlTT8FDdEyu905rK
n21lvMchdxZ6dtFyYENkNFa3ZeHfW1ryWXv9eCbm75dn8yFtWpi4oL0YlBKdaiID5lLJ7XVP7viI
+BDYbMz0q+nkEqMOw+TY2vqUKuSK4ylzQ4oFx0Z8xrtOxLsO6BExPmL53GfNAZGrewkBPEQkrAZ+
mQwb9QqTGWITEJdVAdhUiWEGmOTb+FG2BEjG9KzFMcKfarKIO4vC78zDyF9locbFbogUZ9GRR+Hh
Lpuq9hTLAAjduksrcm8Fhn/f3CHba5douAuoFOoWmVt6jAI2a1pS7zI7zXa+0S/cOhFnhBBnRaof
ocrUKS0gItnqb8sKPqUHsd9s731JdLWSMR4eqOTC5zF1sMMOjyRE3HE4c/Mzw60bxeky1LNH3Icp
6g964j34e6qzcRn3qf6ukyfl6rHy3NvchMktOeiunx9qYhiWto37XObWG7T5bB1iZN7oSXCrBzN4
xSFELwS3PAGzcmMX5VvGD7PxLeMDt+i64sdH9mcKiBf+xSb8ZRmHJyYeH2HDUDIZnlofZEInBkLO
x44P3PCDsrGAzhXyzmO0YbJ7YVfhrMYs/wlMkuR3U1NgtUUgzqAMA6340RPs8Nh1pA5UGtn1KiQ/
mnl6fNGnQxKKHjw6nwrujt7ZE2546IiSnp/J0ca7EfUAxWNnp3LZBpTfZGixG4G2ru/8voPfwHvq
OdyAqHeIip9ollGUHpk2jlmYH12nPue+zZCaW32eWOoKKT9DR6F9dBE4lJZpq9YzuyX8OFu2of3W
WOlH4/VHTxVomkNnQ9CuXhafMk6ggml9AjuujBjTNW/SQ746JOpuDHqyhvJohdlgZ3o5pEaLWkiD
/bwp1bo+V2F9t4QYf2A7I58tV/SNMT2VhDZ5OUEnvrCeKf20s9mE1GVGTPZsM5Yo5ifu1/TVyqrp
BwQtyl2yFJ7Jf3eo9gzjELj2lE9eWe+27h8CvytflFirdp0TkD0LpuRHVZHOO9jWezVOVp8ki06e
VMPbwL5nUU1fyK3gd55m46OZpO4BenCyns/L9ko/cMAnha3UdohmKkPItlpDWrFPZHEX2ARlpGB0
UiaBRwOaDAui7xGiagPKNxlZDpUtnvNW1le7rF+ywOhem0jk+8RDDxxK0b2absVUgdVlX0xfzery
qeoVCJ9lY97JYljO/0hCrj/pDmvW/I+yyGgxe7O3H5F6HQOvD2+dzKpLrCor3H3hzXc5NZ+X8bui
S1qg/zkTGeWD27TJCd45UTfC1bgNiKyBAKBpC3iK8jYf7Cb9jaJuOKBv/OuUrpcPjgzl6fsF0/lI
JcBUpuTNTf9wfikZIwPhakcFrzK74PZnUUpjCVmHSBJy1ghZcSp+/BE9DGgTqnsNp4Oaf+g2Sls7
raNz57r5wxiTRF1w8/rIneCUmln7ojaNs0VVa+IL9eWLBmtgfoFCcveyycRaNxLlDEpV3fk6juCu
U+srmLop0Tdw3grP2iJvaLdjkalUAVSqbS+ts2Qy+NrQxmMX+IrnCXl1baYLCGzqKyHC7ZYmj7cO
bJW0aaGB1LB80CIS4B5VTEP9mBL/lxOV7FZJc/dq27gGarptfZXckbxGm2SMx9Dz1Dfuhgb9vso+
AA7S7rqH9Xw6rxd0GGQ8pMe817K71ygPfOuaIh3EBti9bDmIiOSvuLqT1gAzMfU2cWh4wSKCDpz7
QfIejJ25MIXbMF8tyCbWK+MCwpH4iqRDEc0uv5+M04ZC3ybmHkkbI2vOGIKVDdor7+JaabCJ27hH
A4qwNa1cQptouJ5MQkQxCsvyq45tnM+G8ltvnEup6uOpUUdr6fd0WprUr+jd9D392sZ7siqb5M0S
gbxgFLh1PLQf0PppSwIv3ZfI6vZ9YTmnNByGDaEF0c1SBn3R2pX+MIRee4EJVC4s08l/DClO/6Ib
rS0UyeJHq5VPll6/VW27E06r3aXKIDcl7OFgEnd015uchMvKyTbzV6MMVKIG9VRM6v/QA98ODtd7
Yoknu8+NxIulIgGViqiIC0b84+PX3NotXfOWFM0RkMkr1V3pNB9VXTrTLdQ4Ruwlr2jakSRPX8DA
DnVJs56p16xVHsir7jEx7LTOfe6S6srXAbYrPcjKMqpuFU3qAw0dwIKV1bzlcI/nV9AMc5YJmoBz
r9ikBMWSiMkXP2iy2zjaNWRKhJgmja5wUpfljPkSPQhuRVQqV1g24zmT2DtrTbnWSeOjlytezME2
HprNGGdVSE0Zi500q7veZ954aa0g3Qg5oO12XWWbWdyqJmmKkXUKWwVX4zfhqa+GUDH7SalCfFy8
zRP5Y/5Cjlt8HA1r5yHrOinTwWwAwM+HhouuXuSuO+0tsw5UaxPucu7d/eSXn5J8vg84cLDPR/E0
KNeS5GBgUZlfMvvq/37dfK5tsiNkoOyFpMZ11roSMpD/XmNeiylz1p5OAOjCiwBk5MWEsVTLPcws
/asx8scuV8sPVxZfimtVlxEm0yrxx1VlCoWdBG0Ortru1JMHlTen+XFU2B3r2HRaxGkA0SQAG1nm
hgrwlZOkQ9FXHtJdFzuC/FvVPoeWqCRJZjysoKicQvPNKoVzCNueuYVTXp20L69uM3nH9ep3OZ2S
noVCXCTG4+jq4XF+xfzaJHKSLfa5cEn2Eyk3RUNZCjsdqnDjwr8ilqdAK71pMU8dEA2Nl6Go85XQ
qvCt4y+ts1n5ZRT2K13T/oW2CrMPmDmnVA2Ts9npCkWUF/1QPPkwv9RW4NaJtPkBFdZZ2ZFVnRFl
OSvDGKgmLbqFGcbJHznfOmFB+hxQJjF09LxH6o1hlzSgwOohDu4iYEo2v6SPEMM5EXMZ2HEETfbo
SrNOfRgFoPXpG6Fp9186zz6qtWM+d3md7JOoyzdN7OTv4uRaRvOeWqDISaxEG93Tze1Cgj6n80Oe
G2TguQgjFRz2Vk3/juxk5hUD70pXRQS+m4R0J/AdiFcteIOnA4lj64RA1AcMncZjVDrDLnj31ag7
+SMXTV4rxZ3edHFvpqx4z3qanww17kr0X2+u0Mr9mOJlJacowr5c4JmbH84HO66jI16xhTXYzGYC
LUUKwqFx/b8ezU/NmgC93EsOqbCRxZTZyLpmMMeIictc9GbePVNEeMsiKGE55Ql5U15hsMdQnGXA
FvonH5tiERBH+qBMtU6smDemCsOCth06MponB1UrKGH7Jr06JYm/mCPXDeNU0ChpvQ/qWrvOhz72
LQrcAXS7l+j+Qkuj8JSX9M26Jj+alvcuM0s9zAcmp3R8pgP5FthO55ON4w4bqwme/n7J/Gh+3fwv
8Cj+vxfPz//48vx0PrT0EddCF1xupSyulM/lOWgikv/84ur3Q+xRx+K7LQM4Jdl0cv5K6TG50Kz2
ND+bz8//HlfWuLD1KGRkzreLWyFQbNC0SqPqeT719z9IYzNelE2c7OdzCjE5mYD+xCrIG65WV1nQ
eM5CY61mVr/H/xrgI+qes4jmfzd0X23ilD/M1sS4S/al4XnPogmOtWDngwdlvASlaqzQRYyo94yv
qquBprgj9ook31nSgvBbmh+9JNUwy32duLDUfxr62tgU4GxXzHv9p9TsWNJrqCiUMl4TVU9lqZdP
VB8t7bKBkcf0NJL+I6E7xUZUk/3Vz7snG2hU6DMExcVPbJaJA61qlRPiv68+0Mk4KuJPjyHoAvYw
Ra1E91KnTg9QJap2yJvjR4CBDFOon59xj/+MBJ3KofJ/mKRabRvfbwnmkdlPaIlYPJP0vcGksFZj
pizQAqnbMj189ov+ojKVfnd0zEawNSn2qsq6Krks+THlu1/U2lNS649NNbJfbdDGNsmbFpf2W+Rr
xGjZhJOLgqx4BZj93RrCbKMa5bieNTqyJKSkwhQ9OX5VMphZPLvJaamm8gtPjTjOzxK1ih4s2u72
hH+ZT8FGkpu6KB/Kjo4B3bLi1o92TgJxoW1gYBvLcDJy515GfiNt6MhI1GNThNMwcHpIny1ENFBi
3Pbcr3bMg8/WET8qZtz3lJppN4KM3eI3TolPkM/zC1w1D/HCFMXTyOdkj5s82I5C0V7czDsPgx58
xhVpqrSN3FugK8Ghq0ak8CF4VPxHu/l72EnJ5W1t3Jp2QZVa9nWsdSg46NWY8PjFLewE4V5pnDw7
pbmOcCgd5wNIdBxgTfozHwY0OsNUzFT0+HCEpgoZxBZmWaecoAK6Q3swGp9Z15InL63fkeqIpZaP
wanV76g1++nzmfPxh+BvhNNtP2FZqodSeR7DnqshDqKvFiLZqEsgci7SghDNNQT37Lkv8KB7tMgS
2Iv0o6gbDe8TQRPLFJkYYW3aR5ytPluGbN06svkZ2iEgUuJWN6RU1T8TTTlICM73xhXpubAl1+50
nor0yUONgFVUPGR58NdhABNHFhgIZ8xa2pb83XZhR4CX50MZ0Iep40ghQhQoJ6KbxxhD52NZIILv
CJb107cOtP6tdwwoi5nzm2h77zYfGJD3GzwlJH/+55wN7xkq0h29KhOgwmbMT9753kegXVsWBZ6O
UsFJcmfjMelXdIR5YeNxRQnlTmNiW6n/x9aZdbepbFv4FzEGffMqoQZZrWPHTl4YcRr6rugKfv39
wPuc7HvHfSECKZJtQVG11pzfNOUuMuB5syqdjpbo38WiPYzzFkFCnzMPMIrsMnSs+of4J7eMlnLq
1F7XR9ryCI04QYau1PxIKs+R08mr16VLZgWP1t0E1T/lCtipADc2sVKMN4uewK0t3OFmk9TjTwOJ
JM2yux6TQvmD8LI4JZS0rFIzbisSx5GtdYG6d2qJMHsUhrADOqvmltPQ3VeK218qg8JnZgpvgSjV
QTSnw2nCRolVk3u+4ozpWe17elizpVGqjk0AX6xTFT01mOnN6YP8C8sfze6nl0XFVUzyd56mySvF
MdZAZYc+f24+NDFmW3ATtei1ax1aX5hpu7x7NYfU+i1zazSR2OlxPYU+HrRyi2TS9HPZX/QhV47Q
kMpLX4//3ohm/j4Q8NtomsgPitk4O73HvdxOETF0kNXR0a4Ppzl0zyLa1b3KE3VSfymkQjpTPz+1
hcK3NVjyWc1GgJ6q+wc+Y1mQNRMiuBnEfChJ8KKMl26rjgJfB1F3h/3PPiHBsU+KUdunsmeiYNJs
99cn1mOkaXb8lZen1xd2kYofbd0PjbwpIRG1D0Q48lhHpX7RtVnQhzQk573UL+sxGxTGP4+WY2NO
vElLBuUOozJg8fWFf19TsZZThaae/r7B57ss/7ctW3nSCpoxf//r+uy6ySa05eQRkNP23w//++x6
jMbtuAll0u/XT/z/XqcjYhchxq3Pj11+eBVnFYrFDh9TWU2fvwuarHHTLks8q2m9vdk25qXrltEj
iW9WpIyngnYJ2kkFYr0TIraKWPoeNSO0d6VcItQNswuETjGfNla80Wc7O8moBf9JNuEhQdQ3zwCO
3YqxJlQcCFAZATXT1Ykr6puLX7luHgXkyd5T3gYzQcqQ5tZA8S0N96IfhquDXtVEXH6aQ408t1Et
U9o4RXLgYiBlCTbRrgh/D9BybqoSYtRbNib+767pm7PdWDR3Yn/SI/TMRlPCcPW+Clftnz2nG/Eo
dSAuxp8kw35X8AcsYUPaPROQaE1cT1ph2E9Ob4L1gtODrfrMWJe8933tnvTCTH13ItTM9OYkgO3o
k2WOlEJap7atxI7RjswLvc1viklTrMbgXnWDw+cNDyEIQa4EZt1F9n8tyv4lnElX7TXzaz4vylLR
aW9O+ppa7lXl9/YqAIq1kc0BC/uDThQwXVZKpKY6+d0cVXvUW1tHIp8y64aUNjwAOlYMiiLNtjCm
4dmeBkS9OXWSTHeVFxJcPWDVJtkXTR29RrDDTuhqbNbKPFuLCpRVU74nyx4xZeEj96Ld+lyfuMjz
8P5SRyAsBXfk/Fs3DBgg666+bjNG3tO6+df+ksD+eXBI+ub0d9d2Umferi8PTVn4Rk+C2ADI9bma
rfi5xnlDsaW9F8se+afyzPL287n1VbHwZ9cariF6t89NFOq9H/YxeK7/HlsfgWscz6UY/3Xc68EP
OOtGCbELVWS4/P1fiYwKZmaWHaBpNpfIxOYRDShPkrHUnoAHISF/Ixgv3K1n3tA0Cfrj/JYV8oZG
KfwRt2+zYQ4/bSImtjO5xb6FkBrNELkE1EBoYcLsg+1cPydURYNJpr8Np3/QVLAf4WhZj1RG+D5t
0lmZZG2idpoetPYm6pZ9fABIQkjMOB3Iwi2hw3FNwttL/NEYXETvxFLWdbw3e1E8NVV5m8ETnJ1E
kNiRyhZBHnxNp6qIzFkPqpP6z9M2GerMIOPYwsoQQi/jv/zdrG8DSzzNyuRFhXaakuzxzeWOd8AR
mKA8j+dvCA5YjzrUMmzAiHDXXXQeHE9Tmr5KCLnOMBMUiPDHzql5TSBfvxZTSEFQsbmHgXvtdGJ/
o4burz5ORDnUOciAgcaEVzbzyaHJt636e6+X+m7SqGRXkTa9SYpxm7kbDZpQ5fQ2kLWEr/ar7lTO
dQITitiaV1nQAg4ECEA0WHYT6B9bDTYT6SukW2YEt3qh0n5VJMXHDit2V8pL+yENVb5jUY2IpgHE
Vzia/d7ZBlYdtCdnKGbmq2kJHz5Hd6RiUh8Q53rH0EvlpupcY0l0cdvjuGRpV9mw2OEngxmWRgNi
2RRNtMO0HT2FQvnnkDtq2lkQPWcVtboZZzhhzTx+6VB9BD3uLaRfnlfS+zdSILSsrRFo8Jq/m7zJ
xC5bUCe11WgnEjfUYkmvZ6vC8WB8Xw6vC851Y5H9siM5kUa6EQkIDWN0MLKepCIdWkGSFDlhBKl4
o8O1Hob8zJwhLy5JGeW3xFbsPb439FTLLhLN7KY5TX6z6JbShmjv/+d4WZiQWf798gzFCeVScSrT
JY+yYWKwPvKmuGMFlKN1moqnsP7P8TE15BMQrTpRPihHbma+j99QwT8gUKK2KbKv9pDVfly7JAKl
KeGCTnrU3T59a/PxPW3hHrn13F0YB7tLhHz+8xHxJZK6sqSksNrGZZcsLiIac4Zy6vQEv3JvMvbH
TXEhfs3dkHrcU+PDvt4kLp3YyONYXMXolvnm0ljNn4i4IhppfTin9hUEYsFwcZyYelDarECQzViN
Uo2RfKiHJ1zAvc9QH7TKQkmx7RxL78hFxGpn1PMfYUJ6Qu61L3LUpi2uZ7r7lMVPhV3smdBpQRJH
8jyotTyvj9aNXHY/j1UjhoxwNn1LSIpCVZd6Z9b2/2yMvPPOOSwWWqn5vhkaqP95eZ6A69mhA821
gboAHDOoGvknXfbW4yS0zQERTk9hyq11SpwHpuKLSpz2ru+Bz1ZNFR6Z+TrUyukMqJkgFE4ydWjl
xsD2eC/r/s9KCJEmf2RDzF6QpNNLMxXuU5qKb0wFTc0wWOv/6CYnCwiYfYerlJ8tq4MJo0+cTt4Q
FKjrG1VRA5Enh6wCjEIJ/VRptnuqzfBNXRY9o2tou2SJ01JH0mpYndGA9zr4VVjENaTsmwUcX5o0
KwVBshQTYWkpUUjyr/Mr1aIvsVBlUChU+lKdxDx9U5Hx6KexRhhir3+MQ/plTF2ArDh051YJjBaq
glmrZ84LvMH6tXC5txVXGIiLpIdTcVAFkhzo+vvZBtyLT+c+G/Ot0RTNTxV5VQrsTiL09O1k6xqS
vY+KeSCc8UdX4hUGXlelEOZGiL2YbWJfz5gglG4wZaL1ZfUy1oq8zDaRUTUx5pkg5C5NMTrh1Wk3
XQQBCarFpgdeSzpq+cMTjU8e8uvE9ZRGDjk+sf2iRtIhH5bcKgAofq6PGXobL4hH7tpKmceEk2FC
z6g9jzRRXOl+za2KHMyiuAOkhPWStPbWSNLEb5kdwXAqp12IH3hOgWB4bsotMfSeJlKENqNGqBI1
iltTYb/xkvLSpoa1IS02r8He6HCbipLia1okpW/X8Gqymta7AGWY2NG20fLnCp2yz4bf0TJOUg4Q
j6fI3qWDZxE1/OqqSw0cFfcFMEX/kFEPad/cZQZOIbdyh2ulvbttV77VdB2ZqRUZrX12sUU+d2jj
L/EviNMEdc3apo/NAGPDF+m1Gxgcu6Tx+re07ZiCZfq2KBBFFo4q6RerF8sro6DumO0QY2DPFAxk
qTNVFlF3jGLHRr/L1BV2ICHg3g5/ElgF1dVpLKBwzSnNTGWF9MnBClNgaxMa4rh8NEngKJG6Opr7
nCf9WU2p/g+i8LuGZb2Lm7nv2lcjqoiVzCRs4oxeAB0vtKy0Ip6AMWwnsosLsrxPTWz+cqKsR+WF
VXpogJKhVT7AEtGz/jcl8ICc9ymS6qWswj8qTZoNKcvpobPlrtWo6kD13UL/z3bJNMzI+TJti1ha
qiSRZOaGZpNdj9QsRlTfdYUMXzWnl04aAsc88Wt2u7WZzAL0rks/BdDJJHj8KmJP8WWYHqfYUK6p
QeXN2mT2FpfHBNEBCEPvckNOFChp5qCkyIujh3A9ZW8gH9ysd6TeGI5G19EOc/FoIWuonvk5Eu9L
NXk2kIJh8oeE9ZDjoglL26MezeI22dCHy5TiYOQG2uDlRywxXyiT0fs191WMFGbAHjopdCGVGnti
anbfe+Z3hkyv9mxbT4rHSIVo71yWFqi6EV1KjSIwtOBJ4kXEeamEPhPBF5a/19CaYGuMfX/u1WY6
haT4tFXJChyn8BnrCpmuqReQi/GDqA14TnICEITIkXhS2p4tS4gq7Mt9rjrDwTK1j5LmysUb+YVm
Q433mTnkL8xsExUZl7dvafRgJGwVolC168xgfEtoA4b5xuuppnZKXj3wrJU3uoBbQgZ2JY2IG5nz
5MiIWbnAudmUdUdgiewt3+2Y4YlOJ6puTH/QLuwuViPbvamAl8ji6bWzqeoYRTr78ovBabEINqdz
UlTzWaYxGKW/++ujYc4UP1si39bdUUG/3Blps2VWofkiUYMYLF6gGcmhFUAM0H7AkyDxTEN4ew0Z
Ks6u1zAozdpJ6W0sUp550CjhBAViAXS3m0Jm8GwU2qF6pL1M6JTr3k02jPFF3pgUH/CPFbkThJlK
e557PTGAKQQTr/lwChqr0sj3FbndNGhsxEoYF1pn7w6jR15mvV8dBaVwfzYtkS82TvJNWGdbG3mj
n9ehwhhASGJXTYgwxqU+lmGYrAQ8qrCrdqJMSwCRQtw9PTf8cAHqK0DxtsCg7hUiJ+QUbXudtfkm
EkH8roQCVyqKedZddUBuS5lXxEGbMAaqtpd8Y3g/wC7AxqNxqRvN+6ByfdCnQpje0ylDx30w4+4I
Oqa+5ANpBEqmYtRCltUWXMnNwmMKHU3cwrS9TLzqmC3ajiJPsHO6g18z7s/UwZGmkxY+483S2txj
iIwYfFFG5qZ7VjXk2nZvvbdoB9HW9NXeG5D59HQQPms1GJOHnWhYIzRq15wtTAVnXQ1/YppCJ2FE
rNVi84WEZlLqGw0FKHdT+no2gwljSIZ8W2EeNCMC6ooTPmayeBg/STveFkr5kwgWFYKDDa4tQgdK
nRyhb3/J4MScKu97TatxT4WCP1muo7NluXTqlfpXGBYOaxKvo7vledfZKn/32niZKOw/qNYj4lxo
T71naOQAyvx711nP4ExSkoNcvhpDGM8MamJbhlp+jGEyPwzWbZFn3xOrfpDuDT8x1BU84ch4ai2n
3q4m1mlqsesve7YYm1sn4UuDESHSNoJzPygtuvDYQb3UEFHhOND6uojlUB4fGn269VVuXNaNEINx
UURdb3vNKyBtsLs+YdNqoyewvHAy633oMMtdX/z3/66PjIZCamrM9//3v8aYZxGul+QP95Zxwc+E
Onb9f+t7OYN+bWywTut//tdHcvXrp8S1/baJficlwcpMGHZR388/sFxnGx2Bxnvnwc1qoRZSrRjc
rdRH8xmDY7LTYrO464NOXvusUl+JwBRgLV1kWe0rknj5pEIyyTmKz+dtTBzCkp2Cms6kbsKSXh8+
iSt6ICYfWixuMZdBR8TZqTELj28/L74VJZw+Cw3ik96kFLAGh4YBdLh4/jKpOdWZbrROTa0+4YLz
bvWo6i80aVWEskI5rbs1RlEfB2R8WHcbm2hmxAZwTTCbH9VF8BlhHj3bovhNf358oQqvP1vFoYqf
p8zNX8ZlU9vZH7dVBkzo7LWGSpiipuZ7x4oeTedcCrstKPENfyC9Bb1jwetvohxm9S9g37TU6sVX
kJTajvmh6it9d2+b0TmRI7Y1KqE9iAp9yiGR70BB5Bu7aYt7eoE0Xfqul8iDrmTuI46w1Dalwi23
xCIVg8ma8/IjGrEhZGk9HKqBydkgDqQM76JG/z5qomKdzmUzduY1r7t97oC/Vms6N1FRHyBOEeER
uK39w8UuuLGd6KsTMqe05Q05Y0h7Gq1kUxdEbzrWt8qDgC/co6HH/S2PuvF1CSfpHZqY6PvjQ04E
+txnhHlVo+43NeYBMTL1D5n0vjWeejfhsFw0HRl6dSnN4plO0a3oxUHODevm4Zj2jZ/iUKoykC5a
/Ga34XdNYwakVUpQVd52bMcrETnwpdEwgwPYCLwhoP32uHrvqYARZqkPUN+vjVfdRfQ8Uzxtge1v
5zzlB03AcFTtzY3yh66fei5nsIl/YPoFfH0fPRPkQhgCrg5jSWuzMsQSTgUoHw3MDVD3wr1aK6dc
zEE8P2vl7NONCpwQ+okExSlxn000x4nDJLl8eKAcYT5Aqb7jS5z1s4LpfkCxh/ckK2Yiq8f8bEws
DdRLUsBDq9z6mOr2jwbzdjSQ6j3WQOUcTBfuYINzKvdkL11lO9wbKpJePn+PuvA8/yzGmtWC9c0y
nm1ZHu1ER+Re2VxyGgsrbWtKdEROt1dGmwC1wfupzhfk6kGT669Ijd/6JI0RMin7qkA81+ffIsu8
a4M80d7+ajJgLosTRD7nJFn6ds2+7Mpdg6/OVdo7ZBO7heTnPcP7gah0rhXnQZzj3dGVgFrKksNB
fdKChOcFQz1V1JElXTi7u+HzcGX9KEmc8Eb5BUzVnTmRQU+RqXyzJy3qPjL0m+qBujTeSGfGuZCf
xqR+HZlzYffcAbgyfwPxPnGRnwZCyAnpuKkpXaq42qg4n2hUJ8V7xcQZcdWXARzWBrcI447GrWZU
AzejFNAq1vfGpLVgDpsOrRjAyobbC+3KRfocUy5zGvWrU9Iy7pZi4PL3ogrUbnIuq02lmr8wPMMr
+0HYNrqXEtGbzehDY3mnLNwL2aHIZ5o7diB186T9MaleUGjJzmIGOCahD1N5irbSRq3FzCZlTMzs
9lRjtS1Yt0c5YT0e02FPv4/6tLOcKQCMjsM/w30ShSf3+yjtgCaAYs/Ps1d8tKb8KiMrQAW3zSBk
y8m8YFjc1bTAo57WlzUvXyYJ4f0B+e4+mYgOq0z6PsKvxulYTDiYRxW6t3yoDtX1MaZkQoZ43L9w
E5HMeiBKf6dDO29blVVrooPPzuajO6QfWAB3mQn/o+VZp7YQrFB4xfLEcD77VWzvRJ/fuMx/Fj0D
V047LYlp1aWXXE0eDqeLY3u+7N2biLz3QZJWkbB8Lav7sVc3liECaQznvjEDTVOOlZ6eHRfQEIgK
stYIaEcLNHU/SrswnjT9V618t1AKHmuNsVGQO6jrCulQPztd+2jcjLUT3so536MQfbasliiaCdPl
MDwBf/hGtwKRpREh3I8v0lZfmGfvbTLJwRSmrJBR/CeK/Db3eLt0tEYUjd8RHkVcsOUHcvSgtrlo
G4H20qE3biCIDvfTIjTEBLpxrK+OjlIjikvOgvmld6sPlGEaHhWIonz13bfJmk4CS1jlVU/WT2xE
wObGq8aNCedXkcc4KbgupdKhPDpXpaSloPhmV4FIzsb3qZnRhFYHgxw1fDR3qwYkyEoPyUl60GXy
hJxl7xbzKYr2xThfCWdOsJJlfBHxqeyss9rgRnAibhJgD8jupZHxYnn8G9GtHN2f8RwvRK3r7FF5
lX9KZkrAOredeENW0T+VUfSbCPJ9JhcGqRYBp5dXC8oh8L9S2mgjON86ShtDAx4IKY3J8tVVNIz8
xW6+1qChdjYqCeTBZ2hSmxGMEK7ADgt15D5pw/iDJQtCE63bdXNY+V2c3s1KOY1GH0i3Oi53GzUL
30k19t0Ca4yjfp1MHEcOlTs7hwjLveVg062N9AwbnCLehxbGq/OCXOuhSo2AbuOWDdaH0XHmDcAS
Os7YOs7wfYhvVR4+UpspBCKOndECX/QQ/c86OiazaL8nEEtrFHH4+vOdjkda4W4HP2RD4SAgl6+c
jR9maP2yR4GdsnWeIeFsNYnyjvy8dz2X5Exze9+WHYUr07pLc/yGGIBqIaWzWG+fJ1N7t8ozi2B3
g6U7wn1SHA2IhJuBokhCs5t8y6tpW3eEEbuqHJ8QrmFf77azR6VXrygMglv8SA+wFQ6CmS3zqvq7
4mbvD3BP5dZSNJZdyA+dQTX91uTG5br5jwx/J7WyK/bUr6Is/8xhcneB425YZDATMOxXU2BzLsmN
bFqT6HZ4DmVyTVS6hgPrRFF5OwEN7wi/DvBfCsONOFKWKaFPzudVhzYjQyuj1pj9LuP2VXUAhBox
lRomVDhprmpiJDgp5oNtqz/UOiL+Wt+hNiSDPD5ZTMYjuhVhtrEV3Y+Yf3bfLFIELRSKxkghJUMa
DWFhGpqdpuX7YRy2GBIM8NsEhO2VSd21Mj60SbvvU5qtGKMyh3T5JNsjHTbzfcbbprzRrMw7QxAh
0ua7Xic7WKRL5qNfmJTEp20bo+bXaIZ7466l7Z5ZDh0PcWjbAhV4h5SlPFCtzoAv9SY32LYmwdvY
xaPmY+E9GGa7b/LuSPT7rh0KvimCR/QDWte9VoWH2PkoWTuRgRnYyKLBKAV6qZ47Y97HySuffc5a
fuh02KvKtJtk9GBkPE0Vv3cF3H60D6FmHDqKLg4FrXac9tJFbJs4+zqt9hFr37o7mDq3s9b1jWra
ZZUM4K4fc5y7A2WMItUePZ+uGSZ0JnDjyeTni3tdKMfWQr7TEuhCagK3jxBtOkXhIMoG2vwUdzqS
T7iDV4azGzMWvDI50kvYqZWJYDTZRfV1oAsSjmnQqZBkZi0Il0ID3oEI9wbLvD1RusgoRvQWKhpw
vkDajRHvQFiYViRBaY/7RE+C2rWeRrtGIjYcNKfzzXTaK4m9LWGJxAS/S07wiUKUoGrgNDeP60A2
BEc46g57035Ce2GxVp4oAbetQ1EYpE1t76SQR/AZe6EjqKjcQ6WbRyV0dwTq1da8JMLsTNsGgvDF
cNJrUrS7GVBKpduojJ2j0hPPmur8izHZnjYlEinK0xia552psgDLCR2IEubqyW5oR/Qe6hdXFPvl
+cpR/GclIZqv3GLNCXIFw3M++bWSX7LQCVjAHSrbwVs9v0S9v1i5NeNJ7YzjYsJdVFODv/w8Tpwe
aSoeTeR+cW8esroKTKAmWYcwn7SiyDN9FuinwcmJM0mgrm5LQz92gKmroWLF0D5FZnHOBvOpqpPj
Alcm9+FnxdpK4+SN1enQW9bBzqXPnHGadzAE9k7r7jJF9ZMovrbUamdyxpRUPQIz9BslKEiiVa2f
WTb5Wd3sLcU6ZeTCyMQNuH79UT22ijgtySQZfx1XMq1zN5nxSy6alrwHkerdq9H2M4y6ulW9tVV7
xt0cNd8lNPeS781QtR3JxDsk6DimFAJsLL5TTxwWwwY18tlq+dJ7fN5Qxen+LxtclEelyml0Dehm
lzy3FLhcULPqIn0tjg70uL4vOVIbodTqDlKMcwFWB8KXHuqlQ5LnInWCShsiJk6di7Cm57EdvtE0
wmGzEPPWaIbPzA3N+ow17pQ5Puc4RYiPqd/H8Sh6qvw5av+VTN7RqXmaLXQefZ07wPtJHIhxVOEP
KCmtao3CWncSDxOL2iYJhXYSRjlfZfmkFz/Q7f0TozxMYXay8vlj5V5RrFdubuxVvqYCQVCixW9C
DSAoYoWFTjd+VEAx0kiS+OxdY4dFb7psJp3fCq8J1leo9t/IcmgY7z31rAIYOJtD9NaMtfFqUdZG
qOz6mh6lJNf8J/dlJY+vuyZSxmWi+LNrSaelwyTfc216gQ8raFstWEi7u9AKJT5o/SuUteArkLDX
mTD+KmhwnCNpZ5xDHlw6yv6seIbibCaxeoL273G76KnIFPGByabcAyec/BVLAx4yPjJA7VZIVlnC
qALpwAS8Ssotow9ZFRr0gpUH7sApobS/5LghWOKWA19r+WWVBaZNgX8LAMz/pPq0sZqhVQ2zA0vw
W62wvsGN0B8wI5oMFTTxQ0r2n++V6+DAC6+BkIbdoOxkyNyBDY5jdNgDzXiG6hyQDVGTJOUoBLL8
Z1OO/YSlOJfZWz6yiK+6YjVnZ1+iAobM1B9XOKdpDPlys2tpVns6JYiwd7e5EjNZWTjnY+e0t1Ll
rv/5A00DU/G4O4Xa9DsuauuaYrwc1sAAajZx0JnTZ+j3GgbzNzy6azosOHYr4UE4GoWHgaBFNReB
7on+9vmHkcL9bTmvLixlGNZKykyGjflgVT9c9Dw6QiMJn9aNnJrwqXSSHzKB2t5pC/0oWZ7VryrF
vKtlIz5ZN53JMEHv5bTuNYuAqS7tq4nn9Ljit1dyTI2u8xC20Y8u1xvDf3ySL+JJ+9Z4TsX9Ghyu
NqsKzbDMZO3EJ4n1Q//+SJ/7bq9m0CFltF+fWX8mIGcPOSKQklBRUIdPzDqiunX3cdpN5IgnvwfX
EcdpNJZOqYpa3mgtFJKequxs5IjXFR/WNPmzkPEQrHt2ZP6Mm2bE0ddJDING44uFiTWY5qvgj3NM
ksk7D3bzq9Cn8rDurRtLI0zQXx9iKW98tRLb3p2wBqS18UZ6MGGWUj+4VjQ8TP0xCqlfPYtWKzAi
8rZVyYJCrxuclhGJBpTx1+P87IEaYhWUlK21KZ1u8SCQoP4vMg/nJqtYHSEi7gZsvLYu9lMIDRO/
u4mCaNmMZkSPokstlF7IYHANh50fN7pB2hiuhXXTjFgVdNSlfpES/6RpxoKGbaiFF/MC3wbwAvNK
WExn2uS5yqKXrIxflC7eg9HTjwO18APyW/yX9cL0WQYfkSG+cgbqcKqqcKESlnFc3huFzhCE3kDj
x5NHSgzJqygYg020T5+IvMyaBdYdykM9f5w7XdF0b0L+2qyg6SRES++mH8nyTc9aQpIdUfVXDNuH
utLI354RDdRDpOBuIL3NCElOcXsCDpYysC5T80L3xriYqvy1OPCpm40vcYcR1WaqfuxHOAJCdygs
1+tZ+Qq0T9/TIKKED89uao3xUCt92AUGd4rFR+WeqvhrGJsuwvf0WdOHU6/N0ykxCk77pizQz6fe
KRyyW8KCPbAWw6+xbMYmYpmdNvq8scit8cnQwnK6zGw8tYRVUOH6ljMfYmQxNvUlsqqjZnseC5Nu
P2IimP1P+sJEdsstspxYHjSvZ/EGzhtJnfP0Sciy9ZwwMdGz5hAldTV1DF/aHpwBnQ+JmDiB/bam
v0+DfeyS4s1DoKwuPDxDpw07mGn+1YjdKxUmYc/JBZt0cyk5yS8ttqunrEOa0lZqdaHmYvgmBdVN
4dXnJgaXB2dbPSw6unPdA67udEorSE6dmEvVNERHjUiX8Q6/gYe9Auw5ixoqknajuMsav/nZ+r2B
/sFZGUBuhuDfFeafZgKfQhZWeku7CPSUmMFZ95JfveDPdlBLs3yq29p77d36bGskHjoskSJDHQ66
Y6jHDgGkP3rAojwLDK4YcgOtqe0eVE3rtqXEq5p2g/qBd+POnyul9oYyWMnuCYTDhVnume0jUq3+
hGQLum5mopdbdktu0RedEpnDDEit79MonWD5idN6F08iRowG/0BvTOqSRvqF2w1qu7ZTKnpOLTBT
v9IrJyDB1v0MUjOWSLWCuRmKaBeve95Fpwwqzwjq4kmU9NVZHi2VLc6S3P3hOtXvqfXaw/p99Hle
HQd4WZQ20zgAsdgf05avQEfe0oYok9dvMdYETZilODWlH9rYMY9f3i5KgSEadTxcOBuJKSX97KSr
uD0QPOTnzy9Lc5LyRH46DMtw3MsxO0WZGwbWmntF3OSwm4BCbGy59K7nBrkzJt+n9VHrdbQFaTjq
+jBu1FZR1I3IiuZUdcZpTWZbN/XSpouK5M3slzPbS7yDPnRfKiRmOPdLCqDgUR9JERobq+i7Y4nk
K6QvA+OvnAJHpYu4TlfM3MONSUsjZzK4XTnv2qCZtFSng5M7KdqyKoaRYWcYJoFU1o79O8WliKUN
nJZFB3GZI4x26J7MMQITNj2HtfY2SZHe1JrMRnci9SMyPIsa7kQyYjQcV+CVWznad2K7NlfD0BsC
phyQ+h2VJLJwT32vo65yyDfC0ouC0dVh/8Rh8tyZzCvpUaDfxl03Z0ciZFYI/7pZA9oWycJyjnp6
8jPXNLQExtAfsH5O1yYnNWcdhD8HVDXzACzl6EXW8VQC61P0EVndKEDbLufzaHkFiZwenm99/Ceu
BTjhb6XDMaW0qnHxlg0CxPLsDMpwH4lgOqxDwyeHrbYRlqE2Me5TkfDrVHBDGr0y7+sxgOZ6kBF/
ULvNfcUetMiXYBktw6BSk2aq2Ue1FdlVExZ08ATLErhT+9kzHSAFQOxPcOrt5zBEHMAYd4/psJGI
2uRHLS/0a4R1Cj8t0Mdo6slQjd4bLo4vAyCJwsvEPs+R+lv0e3Z9Cpwjo8rqz8j4DtqUfZNm1Qcr
FjyjL32U23LyPtCERV/UckwIia2QH8J1hTQWbfqiM6ZNpMT6BVCg/TSNaEwWZoMzUqJEPEAyeKp4
l/WYB2TwItPcOFax9bJO32IBjcMAjjYCKjimDCMk00zX9WsTSY4W3aYsyLK+Eqcia8OrbRjOFbve
gjuNXf29cFXiaZcpTASiRw1TspsoUd1UppV7MxWIs81hjHfWXLZYwGlQDMQK/+egoMKjH5IhAwCy
jlzWckQoBG1bGDse2hLA2aU0Ka0YaRYtQaQreRX5nzPvJdBAhjD1HftlHYLWTZ/Y3lY2NMCSSQMY
BzEh6GzdOQlFi4k8FhTjHAopTiGQjuDZfBHWTxw93W6YF3XGEvcF0U+9DFm2XbOdIcZmG2MezZ21
GKOC9WPWZwooCMgZT72OLQu2nIuL1GjCk5bQepM10WKeon5Ra7IZ9CQ1706n/Y4TWgjHz3QGlhh3
NMQ49OVl5bMxtQHH6Ibtwer051GT4cGcENSvQWlwmvqApYb9P1yd13LbSNe1rwhVSI1wyhxFKliy
dYKyNB4AjZzD1f8PmvO/rvpOWCTt8UgE0b1777We5W2GTOrMDwv7SF/oWRUfscBK1Yt+3kaVOIX4
4j6TQuuYfg35c0bDYzdPwLf1JcoceS5TiWX5aoeh3pGNYOP5qzpkS/B55gkhj+eHUNaTtNpkFEC0
nqr0vRtxDldl4d5NgdbMHP2cfbJzgJ3AY/GCDUzaCGaL+IoXlGHLaOGITfSGEDh+UsuDXUbf6uJF
Na3fNrLDHYWof9eSn3VSMPh0KIbbtD0zlX8HZsMJIqzuwtTsu2n+G8+AVJZQjImWvEh7Nmj1A+dm
apwrgCEgAunDOUNOl6t/V5Q9VxrnyRxSPFxxfc714M1aPm3gvuuSr60Th8bdmcuvkNPmxdH9dGdF
KHf5ckDMWfY19VC0ZOe0jYwfUVtg0J9Jn+r2KhwLps/OLIy7K3HSPq7PWCOQJhbkOSmhPQkjgvWq
dYTxxADxzBbtaO4SmkVo9YqqPH0vOhxDQzXPpNz177UTyDdDH/jr+rg2B2wEObkCuEm05zD6jpYf
lWzI7ER29BkHhP5kz6m2MSIjuKKyBAuZwVV6EG8LnFVGeC36RjLuEN57mAzPKFjml0iKTRb68W8W
ja7QX9UhmHRDjy5Ppq9FiUYRtdH06ehGSmMuzs9Np5Osbicb1x7S99AmW7B4p7o1flkYqDCpMCnT
6oPvJIJevgfl3al/6JZfQHuepgOOsA+ryj6s2N90CzFSQ4C5knImQzlkpt4s9aTaaGGGs3tazXO8
rG1qgcONUW9buglrYNnGNSQJ/DAOwO97zUw3GaUwSM9sB3n60BjcBW5CnCwa8hNbnhgwivSfMzqE
g2kY8gbeFaUfObbqVd7V0cnCepvCIHjyZEurTLj30W/dey8DLPxFoH9lkY37Y8guDXXva/vWpyNR
SlmV391SrpMWUo35OnZhAfqvKq59zxKs/sMmc+G6Lsti5kQAHUwuRRXN+lNQEbaeej0aPcgPm9DU
fml6D7Uk/BnpBhfcwJeTgeMhBiIOjk4ZGMfIc3J+2yiA68WDkTOVy6c0JDMnd1HtB8lrlgvxgnrG
eWmKDKzTCDYiX/YvFK2nwCPIEsbOd1HF8Q/PTzxyXAgfXV5JY1iqOko0NkFme5F4B8+5DMvFL/Uq
90oLGqjXrNVLYTjxuirptfl2jvsF0VFY4WD6u9LqGOExKo9k6xAC69fzVwfaK7X+pFH3UnSojsby
217419QdMHQYplz6GXoNR1esYZi5D+UE2Jg+HX18quZowkamYslmxkFETR8r0ORICzu5YVjc7UIR
aS8+d6uqd9qw/vQn33ppAGNsfWZsW/UyNfMG7ilTPoBO/j72s49U9+5VVk1X7gvxNs7+l5yS+tol
ZbSdIE/vndrj4uGkOE+ohQ92S/JF0IfWSfTTG5KSjKk1JyO8rwtGKGYAHqaXJh6brRPm2GXmvtjX
/Y96TMsL+IIzPJl6nyztoEl8sySw96Q4nrJQS59i9BX9qPVPteEfhMiMA7s3Qz9B813E0VsgRfac
pNZPMZQBSl43POqaO314EXMnj6lzYE71WiztyMBuzQs9MnCrWn+wpWWu5mBCDScm/iN5qE3yM4wD
Ov1oPwx9ShJf84cf2HvGQJntqygptrFA8qoW8NA19S8mtC5cagc6NF1hpMA66O7UzKojizNNxilL
LjM2ob0lW9TKTQlg0TCLnUn/7ZCZWkF/umlQi6CaBQgcn1gMK0ARWXyiFBppGdykILtW+thSQfRv
nDq2PtAb40ZdCsXei51b3aADZuzypyj7Q9q0/X1OMoDGHfMUjlXuutbS6mgOkslOaj11UXS2Zmps
9b0wHLDEKgcPyO22ngl3M2hnI3SOXsLoj3SkuS/0IN+bfHj498DTQKiO15kp/m2KqTiXc14f5kAX
ZzOf3u3WSp9zMDE7AzoP+B37PIZ9T+1G1ROabA8BOMkuIMWJscmzVboJeijodrFl/6awqC/5XDcX
9UxzZM+gQTfXbsTXRhLUu/cXWzmiW/zQ+o3/djaokknYLNdROc9P5G7Z2geUva03l+ZVFcKO22PB
o0NrLoc2azmOemMiIQHTD9LdfP7RmJRnj6XDFnyoIfQ5Zifhh0cXYZWHJrO0TP+jGpZOUx06/L30
kyvmjW3r3QYqnHZA6BI4XJJGaPthhAtRD7PclDEgoFFqRU8/tvFOWHg6gp4+gLZaJ/hcd6sFbq7A
38MCCc8MIkBSc/SI4sHl6SEhehoAqW97PQsIvWpA0xQduatt1K0HzjXNbjCXEM+ltWMVbrGbOyFR
Ug7yrHW55LjNZJHOKEphlt0xSfot98ifbvK/FQneaoCMZTqFJDldth+8F54NF1935b7G0BaD+t7q
RIMDGRyjM0KT/x7ipUdFl/wrzxNIldDe7jl+FbwIfQI7kvogzuhh5wyMNqJCZatqYw4x9BtKUPiw
6A/JgIvRNxqYaLJnhyMxI44c0MEg9tV+O2b1P0j1+5s1GmikGzvYdyGEd1F3aKtr2AWyIwQuIy61
2wxaEbGwFt7azK36loIGYZBBQLHnXxCgss+ZpZTN1itQLpCh11DBsGDXTdEfwm68tJq4MEKg7Lb6
l7By32pE4/DxvEuP/zLacDwWyDmdg119J7YLJJPIjtXAqmkghx9Rr2ScZXVHwCHozRGkx3NEMlnq
1f0ztd+H6hk4+G4P9tC/eoiBBq7u3Sq94SUhsmR2ff2dIr7ZtOnAmdUnaFo9YJT1IA8SB+941t5O
pfEm6E6dSGIZCSkvDqRhFdtqxrxhmPGrSc1+rFpcqNiU2sc9wLeHtV23nLX6F63ENs7eZP55tAvM
sfiZxj119JiPgH1nsolYNsHVOsN7XkX3ksHuySwSWJAVlvdA6kwyyhhv4VycUzf93bsL4LLKlklm
Fxxj0QDNMusX2bbxPawxPy1H0JJI3ENLh2GlDTVsWg87cKVpTFEdDuKBFsYn+g3Gs9HqvFfWV9/B
xgxrbq0Kvb7w2qMD5b8ea/GKtxfFZky0TJdPO7Nuvvyc/IAa+0XTE0gsAVcwQC2Ha2N5tIdcWxyg
dTJuyOots5HgE4jlV0TlYxiMSPyw+OCw+Sdlq11N82ydpni0nkJp3e02bk6JIb1tZXMygPGGOJfP
4T5X3YVWsfWjCjRy/tJnFMfdipBP7Z7O9GtqDSGuUWLlycsJLGI3ak8OQdeeI360hjf3WD/yVyMz
k03k9vFP4tUIMwSldfJanL4TCNDILYv1o5kUZWjBhUezyqyJqA8I+j3oqQyPvs88O+q7xcWBK2Me
jG+Gq9mboWnFtQuFtw+rfDgSkbIlOi+FPxPld6A4SEViXNOtgWvaZl8NUO15RvFp5ln88vh/IsTb
6oUPBxW+7zmCNXGj/k5+LKhEs8ivqlI2khRc5JgnGzL44iUqR9OxcqrTTZHX7VazdFKZll6mG2uo
8TiWbdTLprNvSZf842SAOj1Xc67t3LTPSCn/9Y/VRuuJOtq4aftuKvI3hCLsDfYHYGlQCMsTUNAE
TsyXNrG0q1FY/ow8grFQGzmQ5zgxhl/uciZXt0OYVSn8haUxZxU5NovEd3/kmf6JHdb5B/0LlCjh
vblTI3bIJqenx2lS0s+uwWDDlHSH1SMgqgOD+zHnOjH0ICtesnQ8diHVmQiGn+rbaUQJU6acaGS1
ZidtU1PaTuXjpcoFCkvw2GRTw7DHsMOn82bJYGt3mNQTb/jg35TkXNf0+1kvT1Esf5NN0a4JuzB2
0XI215d0bgr/diV8Uezhbc7Nk23HnKlJR/Dz6FpzJr1VVkwHzRn/kaUpzkhDo9fEL4cTWznNGe0l
7qL6G3bYi9YP9ffEk4EE7nUTAzjJS0IEofsy9nTane/MdC3GeWWJ1vrB4Ba9nKPzntaOgJuGjdFx
LkOSpdoVouXkN+O7X3vDbJwNm/6EesZHSGpLnH9VrAJ0QFCE/J0ZD0leYsGCAKRXYtxMIsPyXxPR
EYUK7RfdJ6EVhCCAlK8TlFh5gkNWetlddd/kiCpn1djziO2FZOgSNgRM08Y5aGBez1Or52DuBc3n
ic55odmvHRjdbY0dFZGrVtHwGl7C5QYpRdUy6Ejrg5xKLJaGDhYhca2zHYzZYcIuAEmd2azD8V3d
mmVZ54tWxcdHJ/oLzCh4ZGzBw6WEDE7U1rmxTKxrunH+++1SgxJyh2516cWgIgvCElHY8DWHNb7G
BxZv4nLJaIzl+GdwWHnU6Zlakcypqqj2XWLkOx2LzybyXwFqWd/xG4Il8Y+HWSomxUCY0tl7ibBf
HfgeZ7Ns4UYvJ2IoxMUOFbmPxw0zN3YNpKpqBgeO6WjI8g/Wz/pN1401syTvWb1iu5mBNgDHUy/n
hrYeACt9iwiuB75N8wcYUfOMdUQchENbOhSyJ3vHJpA+9jsLIBVZzP/b29QzZuzYAdSCOBJ5rzpT
6uRERdleuoFk06VZ9XhARLVuu548Bkdzz38fnKREId9UH5TVEb8wr9QfdvpvMf9ShYueh+DRfU3i
FLKDkzqh4o+OzzVKUHVUBYmHR5Y6fWNCYb7kQVbtkj7JX4lRpRnPF8E+Wkbcr9XI6+9DnDSbNAL8
L3TqNSi8q043459lBfKg0TGlJ61p38bGFPgX4m+8fsaBWhtUlGXtg9YjAVrDYMjJZLnWQJsj2B6R
uY0c/ZaAc/zQB685AlDcINee0E170K7asb7LaGxvfXz/+456ex6wShUjGyOd/X5jxczRaoMjBxMR
RM2WsA/O0Ok7u/Ttg482a5OIFkSEiyDAwsezgfMD5bGQEOW6gdRE45lZasPPQrldL89qt8puzmuS
2+6VXGxsfIW5yTEeo3hBeUyTzL5GGnAb6TjzZ+FQH4eiCU6WFhjQk9ELKIUEeTMJW0KaVfRv3LY6
GJy8DyrQF4d0vhuzUG74qiFikWG7n1OPvkgXUjdEAVil5WtdF5G9cSLH2tElFK+NzXemssMv/4e6
VWyiSIwdi3iITr2PnrQ8K549Ua4LARFd7Zitx4S3cMHLETOCL3OQV23w22dDK6p34gAnOJ2rsaET
YAtLvJaCbh6QHiBfjk7Sm1mMJePD3ruYSeYBYyST5+/LuIQeS1yAsYa9RKiOusVbsmqOSnVQ8Vuf
YEg9gTKrL40cywsi/3mQeyIe+amIh6F5MnDRoyg16Kd2zU0d3Fx/7H+7hU4p3/pPo9XhDF8Wm25Z
fDoHNWzflIzPAgfkauXgVRWFywhTyBc8XBBE2wLNOq+cKgDnGZ7VUtWof2J5SGkB4mWDM6n+YGJy
gnlWj/6MFssTvYV20xa55J9dEhNzTJGs2tzpvRdgeBc59jGvfffMLmN2gm2rLqwXmMA0guSMHrwm
vJ2AtH3uzN0lETR9Upfp3EzXitKCgaXRc8xvmk4+FcwucXfiDYYNRNkFaCK6mQHRgjTmoGCj+/zb
Bk/j+VfR/qpsPsF6CfrQp/ITldJ4TqVor0EX0IZLkJLRHCBbq9YpJKb2PYxoJYX9kxyL7E03dYQQ
MaRyTntw/4Vxi2NdvlQoRfxseu7klB4If2L8HZuo2jh2XQu3kScjdKqtHzbmzTb7j2iQOF6yvrx2
WfLquNaMBvBFLoMc+ojVLb8hjvb5lekBoPA+PzRTS5lUwL2+zCR9moi5REvmE/mhfLbCqn67ON7r
yHTozhIgN0rk8ZbZ4DQvix9LO7Fww/GN8WC/nhrjC4UIehG1UI1IhEZE68Q2ce9G16p7pb6C1Tjb
R9kHf0gUjx8nzIAwHSB2qPJDNhel+Aol6mMIO/Z1bnvAbwnjBG3yMJGhf8od5AteS+qwPVchP4r9
+l/BxdwsaxZEx/LX2G7bXV4zPQfBOV4fC35uuMnzKOfyaJJavgrSIj3aC8NA9axLTNbrLE/itXrP
XH7laWbsORjC26kOvkbm4zoiKxrthEFDnyW2bh19L+vuEUanDp7U+hm2qVLb+jriuAG9/4sR0pQA
xwKxwwXtXpnZV1poEPI7ml0BOtF+yQWa5xCaYUYQsr2cmuYmMs/qWZp2RF/Gub6pmK5cetoWZIIe
WsPhShkiNg490ug8LW8qcFr1WPibHlN4SSgVNNCAWbmZPGVF+aq+dyZg9lUYDt0qXaK/OFgeuBMG
Tli8CqKOaI8SCKoSgYSBV+yTeH7X3bp40q0Gd09B+mXrJik4soSBhsHYQoKBXQVKz+Jix1TPSgu/
cGD5e5JDHNylpX3wcp2qsRdPReXOL2gStqU5XSEbx2s4KeVHjb9/F9gZYvkgA5zg5hOBfMg11EPs
GAZ0u9na/H0vwons2tNGTSmSo+6yxOozPHkj0OUZjnG2aWaNDkdQS4LYYon9mz9QL/2AJgk1kVLw
+ZCLWQfwcPTihKMT9tDy4DFKejxTLx0r+wVCwd//fT+InGQtZy3dTy0mdhzLwZ7q7kQtHpxsgFJn
uM+cAkgnuBp9Wq4nkXzqjdc+qTtreSUIzDu7VveYOk2LEsspfVZ8DYCtNkYJXHhCYrFDhQdokG+P
XOwgQrA8406Je3T5DoOyC2Oa6qyW7YaImbUBihAvzLIG9ubwg1uqPIQMUZFe8n/cD9jsd0p42FTc
6XtQL9W2yu36eTRODbHIhBuT2RQkTJ/DJkGA6IY3dyRihOsZT2n3jimgPHu5d1CnD9d7tWVfEr8n
XqEOW2fhpuHdabvoguTZXpWl3UMTCiT+tcB6Ki2EB03dwahJkn96CUIZwI2AAQvjeRmDxCEWFeAd
w7GjrX4uDfyvEWzz1SSq4ZForqJX88I3Tj3t9MwbX9QyAojmRaJ5juF1Xr0qIAortBLIDXER7lxd
J/299mIihEzUrCWnF9JKg/YtTvz4oorWcAKjIH1jrdJPNR8fTMn3YkKRei2tfh9GpQfG+Rqatf+m
cqHsRP+3W27klqSUY1D3iLXtvD1Ix072woy9l9Yd7OQ625Sy41iWV9PWSjAXhvs5luEHXOib+hJr
rX9DMpSsxuEaRMn008tz8yhnTKBD6Oq/+Kne0e/8U8ceDnfSMf9KAh/fEukM+C9sotUiGsldPP2c
4vSPupROVdBXTe3moMeBc9OEnsL8q7wT6G+xpnEwnZnB4EbcgKAonvOiXjhEBl7KoSMKjbqGyI7q
ywzm/Hc/vNEdNL4wyXN4TpyEHpGcn0QWAaHlOPZEtkpwUPeWbmEd8BqSsNRLsVTukMWep8AEIkMi
yso2hug2ZiRwrnpSZM4pW3al1e4+giW+gpDFjpmW/yxPGhATd1aTeOV2SXVoRnIDyBaaceARvVfE
8bHRQ+2P9+3ZEr3LoP1Z3hMob1aOLeJXtMyHhD3i2QakyaJfLrEGpDQENTegupSdRUyDtO1/qfBy
cC1/QjBBq/weRPTG12k8UpKANtgUTvQ9upn4FeQ5exyIAMgZ/f4RH9aI7FY5Bu7llk/aKzvmR16y
i6sEHoyFo8qIWPMHvpngjDFEacPVDBYJUjjAEmRSc0LHFwP1GGnYZBFKeq0QJzm43an0K9xLgGV8
kx+yEvIU5VX1HpgtIgW8pMxCkmvDfXcTZRAwFrf+sC50h7hwsXgtY8DUNFws4RG3ky2PnKS8J8x0
+kZoSf7S42LsFr2B2lxVX6OEYLQ1wA9x+bX6ONvDs0bmT/c4zUB0qlKpfwampd0azSJ0OvG3plcz
k+NklhZT/7vMptykH9Lmv4dMLJk/uiheWB/MRxXuAo24GI4gQy74Jyzle4gz5RRZ9AgpwdpnZIj5
cvPPv8lIyleZzegtjoN/I0zMr8G4zCgctmQl4+FcoQTSMz64q66NWPAass8m1H60vK0PMnin7eDA
qpsXHTX1Mh4Qdh9bFGuSJZy3gK73/XFcsns53T3mzCESqMlewSd19nPIaNaLLGtLJlgODzhAcFTA
WGwN7LJhyQhJM0z/1s1rcu511A3zsBq8fvro27DcQ1rFG9+O5lptQySq/rch/d2kXGRketRctYoW
rdZFw+6RyGx6oX9+LOEwhuKHMBieML65CYx+UoXXaYzJigtJllHtCgBiiMYtrCRL80JNzRCDfvpJ
KfYPlbGTFUdfAwJsRGBZmAAmeyeOIzQL9j/kRrenjITTlQ8Yr2QcQ96IHYtdUFDU0LTu7nCHsJoy
KHt6fJ1BGMT7OUHZlEtPvNcDWjtXj6aDOvRkrPqrosOmnZOiUZBG+44DI1lHcWI9Jxo5OUhwSQgi
F8tYKo6qBebmoPaeyLzlRArFaZNX0lhLr+mOHBucle/pELNzH0tn+F+wOj8S+Xp0/O/oW8J79Fut
rLJOyhMNFQSIKEzuwxwFm3Qhm/XZ7J6Qr7HwaSgFnB4/Wq0UXVUG3HnOcc7pPi171xHNCz5S7xaQ
uGGhmept2nyMQWfSbUtmBB6AERhK0vpBCsI94rQLP8Il2SQbFvyUCzoOiRcdJ3U5MDrb+4KQkocU
nDjnraYX7a6eG/1FLr8uc+2sRp/MHDRxL2a1qTycp9gzzqKtkosOAQtga3AQhvXdzlGFJW/E200H
oL/oEWe0Fy9K7mVs1IRNRJhiScqxysK7yKlLr0Hc6pzBk/IzJjEj9XKySKPhU/2ai5H/RoLOLmmr
af24toxD7HJGZh31tIKX9lU7cfb2StIqgtj76bd29lPq+cG1yYuqArKzH5/QQ/1t+yn4MU/DqGh3
yPw0elGjTdVJRVGv1TDJXCZK6tn/eem3/OQEln4CiAT14wmJf9kkuFzN8NKI/CTXplv1VyGtLSG5
ZE0ew36oriPHRvL8zAp4h6fxNeCaanEkbqZDrPNS8DsJcWS9P2F1yYNymwHd2Igl1dRdHkrZfTRV
hT3cItwav0J+Ykizpo2ITwAfx6NE+z8b8lgCqth2rV7vXCPt9n0ei+PjE3nsEmNDLbF8jtQKz52o
0zNe9KumjclbOMUvwK6nj2EovzOmwX7UvxbLSKIagsWdS9iMjQVPyYPAqrv3YMa/DKmGtOBFMhTa
QYiRNP2lBB5/3R9MsZN9RRxbLrv6US3Oi0NrsByEQ9ZdSYp15CfwezDhDH7arctZ2GiNX9QBWPrV
wRWwM2BP3BIw9ze7Ff46J8KAMUT1bAZSXsjfIxY5LgviaAA2NDYWFVX2GRaJtQDvAUaZRWQxYcaQ
XHr1l5lUBRjUjsmc7TebYk5mirHO5euleSgr6uMwp9m+Fzi4XA8McWoiM14GUKaDwNSxqF5lYWm4
3oDogCYmHKywX6Akt09TR2+goXbLiYiTSYZRWE+A7C7r/6NVX4beVug99RuhfZdJNGRGlL+1Mshe
AlsXl2Fhkw/Mc//rncU1Q6CunEGgVDERuKxda6XRtrPA3bMuWcdx5LLNbi5esXX4myy1ht1a80Yy
nEeRfUuysWvQpW3R6E8WjnKQciEdM62u2o3qS8Iu2AbsSgyrEX2vVGOyn68e6oDkSpcR1VTlo9Mf
Uo7vi/KTQdyaTvk279l/jap8KSrLvFZO+otYm/IXczQUPQ7qv6ZBP5qkFK+u175w/NU//fmK1n2R
bQG+VfuoI7vmhUUuSYfvIsC3G+Zd+ZGNDXe1kfuHJDeC82PlQrD4M07mu6NRetHuACtlaue2gykN
/ABl2pjtRwpN52QNZIegI1Q2nr7HjDNOZrbuE1bwXWMxYbcL3SQyFc8Ag9t/Xa27+qKdnkkcJdRv
in5Ew2Sc0Lcn11xbfB9GDWpzabFXvWNzvhh/2fmI/9wvaMNl6JZXM0Rz9GkCZLaTNNsBS9TaWW5q
zRmn/Ux3BdM0L5MmuwBGxoUOnuYyYphf28wqGSwzjXRAbd71AIIAkd38m0me37tlT/3p1jOxqK4H
46YiKLOb429mlABE/vcWqKbzAF8TlVudkQ8SDPSvKiJTyd06Ps4fESQh2TMFTl3z+pgpyBkNApO2
3Ka1XvY+gjgGwA0EkhzMHsa/Uqu9SxPF//os8G9zQKZaDY64QO3+ViQpmbxheFJ3vxwWakhPpIBR
u28N2uLT4wZB1IPSnmMXGMDTXKTum2qIwKQgmC1+HSLWSoNkFyLtGrrnQoeBP8bDfm7t+K65enB7
TK1HW4qDskjM1HxADG2bIB6duWSuhztHq+WjPeAtPYL/0yjgGPL86FdGlusdkSHc7HkIntUDf9/d
V4RAgRkesKepuVrP936lLH3cO/EqA3xz8rN/1SC56dmea+zhVc/3ZcjbExB4pkvjUG+rZflMYuM1
0ovk4EmZwx0lljZvp6MqN2w8CXB2UWIGkpic3GcdyDlmp1RR4OWG+rElq5a+euCbVpEfTVGoyg1B
yhk3JZO2R2d71IZ7H0LtwpIshsWIoKNSx6E/bpXtbt1z9GP80n0RDv2uk/g820l/ScesIX902ENW
XD2kP07OTtzj0Z9KQjChGLwzpcPrtIwN8apZAMkKJjvLPDGc3XbV6Hi+cIH9zCOnvw4VslutIHXY
bjRKEMDaAAfGaUQ2Hkdbfblm6qFJqDXppUPGWb7vgWbFd+C0EZ0wplYAohg7BZZcpcvJ0+i18qIF
R5Yo94QR1D2pZ+rBN8b/Xhq+BpN8+VP1XlkQ6OuWjb/J6yjF8g7D+vToVbk9aF9bz0nJWm4sZGSY
u3M8zcRzOidZRue5tPF7DMw7ZYtgx5pcY98YnoScjcLqMQMSWYq03jWg7Ej9G+/h45CgpWn1lKft
Ra1tqbtBDEdyikkyat5S/vUB9ME4Qbf8eNpKDhUtrJlNH2kH0QES+vsAnYYDuo41xcr6iu3FxZ/I
SWS0vE94/CwHoRF/IjDpjk2bEu0bCGMDV2cs9rl7FOabb/bTF6ujDCU7AR05jlwGKXG+nuwKt5VX
l2SSDcXr9GUNG6cZf4dsrQelqPg71ppdpCGxj9w/aAE36z73NVqt/qMhUmNGt/bSUHa+1lFGwKz0
D4/60yFnCNN8T574oom1iua1CNnTk8WTlwFgeBwwCDrCdbCIaP3Q1bZVB3djMLvn2hzwx+mcaPwC
RWxAs3A195bcl8Ds1Ui2t7kiXUJq11xIWrP0rLezaYbn2Ma8pZ6Ny8uJduoh8q2Deh/vf0BcJ5s/
GeWWsUcpNdAEgf5SFmZzUSV8kdHDdvJm86htZTFXhOpgjOe/cPHg+f/fEry0t43sqGX9tvSyBCkn
/TQl6s5tBg5yxt7H1aF2h84KhgSNsyycz8fdkfrYSclJUDeXus2kbZHhnMaMSvjIDxTpNLfp5Kzz
ZLAuVMjXLHZqpqQjnThy/MTVkT8NJByYt9EOh/BgPQDRf89gJijINBD9MZ7qP5gbpp0y2WJ1AOyw
FA+9Vci1mr+XsfBvMXkeDLPNZK2X4hXCfIyjFq2pii1poe1cyJl/osfVhQBvwG4jTtUOOsfmbdIj
DzLJAce0xxmETiI5cuCaVM/O8dIv7Fbl0WYOsifeiRmqmrQ0LsGFVjCuxnSYfrImf/geE81Um8mC
S0mx0fvM2cxuxG9tLOqoxz6AfvpVlZpq28EbStFNQeJYJO+qCaOaNwaT6AnXqAfG6rDQndqon8vY
fMdInhybuTKPw4hhLQyb/KZaMgjFKqr36WqBk/u0bFRWWu5Frz1TxJ2sRQ8CYdF2ZCNGV7fp3zIf
MLxvcwrsm+oeCqIquTbNNfAiEnKSCoZS4hZbFEHNWmh9QYQ5YE4CYRHoYTmBqtd54/RTks+5XJkV
y3P9jOGN4MwmItzT6I9N2k+foRl9+9LPLlaePNrGfzvDou1pqjlBRRQrni0O3DPs7zeEYYdq7KMr
DCtk/0xw1/WYlx9APAFX4vrZjy6kXhxRqLp0Gx8IfCavmUlTTyT7feEdQ60q74k9wsfO8eT7dTuj
9sFv9bh25ARVO003+v0s0MBRfTAZ9OpVnsn2Lc/MjSGN8oTPI7sXKcfzRw03ZTMXkdFmbvnV3pns
chM0ye+CwFs4gFp2tx2Lqxa3FIqeRr5wQzXughZ4EfAkKEhoVagbyZZFtRmtnJg0DBBvbdYQkM5g
BoxHiOCsGv6pLHAQqhdY6s7PSnIKQiEw5zt0g2sNesGlMZDxhmbX74SD0kO9LFrDRgwlV21Maa+G
snNauM9LHr06h6PzwSxpGk9qn58TOM4MTdEtcHI3CIpIF51sG2XjhlUX4hjSEcIj+l1bdZAcKkEi
dRPKi73o+TK76Q7GzEhvY4QbJaobKtHhFyisSzONCAOW5nhslkQB5Z+arxWHall1YAy6VyUEjpbl
SOtgIOLv/K3e9y/whmoYt+gGHSwDi+ufs0C6zj1xsjKUSeoDJUmswaNcH2zkOP9V2FP4aoagsaMU
P2cVTdp1iluESC1poVfXHV24TA0nB3j725JktYuan6txelVM7drlrAFmk1Fl4wGdRsrYH83SxoAo
UgGmywDJtfzoajyoVtLEbT703H1zori56FkXMdwoMJr7Y7srHGd8KSa9JFcsLH+Nwvrv2eO90Y52
kWkKQLvzdM4pqlzp4zBDMMJE6ZObPtwAvXTPw4h4JtTDn4/CbizyZsl+GzcRW8WFLIR+G0fMH5pl
LOGR0bKXLHbrEfIn3bZF21b4mbVWHQuvD2eKmihEhRd8kBOV/ujR5Lt25v3EZgOARYBBHurGugpS
/1ZGlYWvixwamlz5G55PdGNMor+H+IbRQppIHMfqzUskHvUSKAwNxnPrM6YDlL0KCsK9/EVg0Ed1
cOL67TWa9FeNJgRgjBZES4lo8X8PZez99zJEn7ND8mBudPrKhKgRidS7MPDUhmJ0wbilYZivfexn
2yqBlIXffHYPbohWUhlmPECcLAIuuN3aecEvW2f6q5pbyBDTPeqRTWdAhl0yE69N0bn6hh73EkZu
Y/Syuuh1NkN/9TDFNyYaynGiuSYtALWZ94rwd6DrGlNQZT62xqF2uyvU8tGV1l5LSV1L834ZBcDw
21d4hNaTIZvnofL9B7ejqOtXDPeErZUVh+yFOcDZI3nJRsRGSBz8eQDLSWtLPTSLeXgyHewCixuX
fm2FG7cNt4/WEDXsCaw5hfAoBY4VC5mteumJZjq8WzFKTSVXR5K2qmxQHY+zhBsN9d7j2MpVGopz
1eWffuVc1Rbc9/4X4nFxbDkWYe1Mdnyu6ArHaEBtQMyRKoxUPaSeuRn7+jB6/cpq2lVr/vLo7H/6
tLK20//j6ryW21a6bvtEqEIOt8xJFEVJluUblCXZyDnj6f/RDe9Pp87FZpG0vW2RQPfqteYcU+ms
Y6dm5LlEoAVJXKl33DT0ekj42sz4HBHsQjyZhje54coL2QmdbEuGTLRKCJFkpqmbv0uXQ2k8Pw2G
fua0kb2U0+xcLCf7tOs2fGAmHm4r14IZabQ9AOh0zegoICSyZ1EqBMrGJ4y2RiFlMUgW93leNh+K
4tKyEq9qt0IRn8bdrgPliZ3f5+Ai3OOsZduitI5S+cC8JPph0KxaBwrc7sZFV8kJ4jyTELN0hlJe
YbfVYfkdFlgIHUCb7A7SfNyaJBbRdk1s17223R/ZI5QPhRU8xCSuoSkss2OhRuU57ucaREb/WxaN
nm0053KwPn1uwvVSgrL+MqTGmbImkNm+0v7fkowofKRBAbaCG0w++37QsYuTjIS1Sckn49ZCD1uT
CejuIiEMbjQG9jhwR5pd/5WV1tzqr8bMKXj8O/j59KTAjTlErkrqUpO/qX0PO5Tz8cWwAMDMmVac
28h5HepeP6UZ0e2+zukG6e87piNOmar2FYZ0xKOGMYVBENnRITr+HhDtptjQObFvk8JRRbTggDCs
gmTmCxHTlkClBStdO7YDYo1pgXrvp6K4uZ65lq8yOk0XX9PLg1x37Jw2uFkBVMKXfOUD389VqR9l
E2o06n+0APmyOy3XhobGTdpFKwIWNu1EB2qcuJW3vdelm8C1MI5GYUUGs1K+E+5gbjx2xmOfEUkc
eJh3ln0GNfyP77M+ET9FtYrM6qtHaravDQxpmR78qYSzVT6E8aie5AASqz3SJAiaca28jmkf7jod
GGxrjdtBa9wnFVEwXZEy/SdcLlRlpXi2916aEa2eqPTfB0c9akUDDq+JLjW0+Ndu/L1M71RECMVs
t38b4OOqR9taKUvlgUge5MraZD820Q9ZyEEaDw8OmUyrarA9HPvJoTYRrFa0rmBYwHLLsrXs3LF6
0qASodqc0b2BtblTSRLMswCUQswulnXpVh3QUAqCiSVOGZKkMo9wA2cT7EGboDUMzARJgrzbKndr
at57lAwlnN5B245jPe4HtGcPgZ95D0RNM6kE9+RUeoXhpg7OKUIQDuXoUQI9G47SrcGiScaJQePB
oATxhuxnPZTGq1OVRyXQ7bfIcS6Bb1hf2JkvedORy6Q7mz6I682YvUGd3pj4yB5U8W8KHRArVuIy
dBIvE7UXmqeNHEp6bYuUD3vlxVXmFu5EOh3pv1uVXbzWBhO+ZuhuOolk+MZsd2nKtAmqo0ijq4Zs
FYoO2gX5ILvjckhFT3gbhuqRWK4SlLgGRkDxyv1yhrB1rrSIdPVDpesG6jdhy+bIs5ImV+ItdJJX
+GSzEGH8v8EEbQv8c0l+602v3oYWWZvLJV8U8x7lKBwfIUKLLCO/2jVz6ckjZlG0f9mD+XELTEtD
/QhBEJQOcXDXVC3bgyMUxdk5MBz4ykJYbCcKO2iEUcYX6hCLbHlSSyY62ung6ltgpJSctY7+tq+Y
38wGBNbQA3JHwlLVcxyGbjACKDb12r5odXvSaD8dpFz5W72cVCp9GdeM2CSNOOCz9t3N8tEow4DI
2onJlA+H7uyVrbZbyiB7ApPCVCo9FJYISBqnHBed1yrPlDLN+v+Z5ZKcTRofTRZ0xcFZHzXzUT5U
1oTiW4PZLl/2eLsy2y4vkySRUOWRpxE7b/5cYnduEY8ecvNWqrq5/25IyGclFrmVNqEpk51eOTNQ
OQFVI3+flGOOnG22S8Wn2Gq8/v59aQLrwneyo7xWwoR/eqMRAVOD0Wl8ZN+mkSQvlWJv2ogas2GT
h3ZHc1ylE/cmnyVtX+MpJMBoEIbwSdVQOjqGcZMPRg+qNc193/oZaWmwUVI7ZXpYviH9BXVjanF4
6aM2vAyJ+TcFiaVtulStzyq+hrVHvfVEhqXxIsceboU+h6XkXLlpsSusXD/HrYhooB9Hq0R/s8Kw
fU2SiCPLGOkvSTO+dEKDSBuq3ybBwDGGEPpw7SrA+IomqM5uFXruOktcCOQuwlutDO7CD35l/Je9
xPk9b0Cv57rf/xwMlKIT5K3lmXyPTm2/GsR7yzM12Qwa+GLYrjGnwssyRUXUStQmHTIO0bHPMUTv
Cb6P/Ie6t8wVuWVkmCtBd2lG96WB9HNs9VCDNP6f01Y+swhqpaxELaiTvhSEXf/cEI56s6JqeWUb
ebXmpDRNyFzY6xB/JOBJZeewbrCNTzoSHHkEqlruG0Yo/kZep+ZUUHaK33MptDFXUmTqytWLK3CY
LQohhON/1NbJfzSoqjkjdRPT0OmPlldwt4SFvPNhcrQzlX3VY3yE5xHTCprLTZnMb7OHnh2BXHlX
Q+QRYUxMqUO3g6krSmmmwsGuHlG3OUbA/EwsEU5j/Grl5cGuDy5uhlS8itqgwYlA1VaTQmA0DASl
BDAOECzJfbwxzPyUg+6HzDsX2QHjHVZatmATQM7RMDPbWbAoWL5goxj6z3awSmbngs4NiZLfOFHO
sCQddHc0TsvHEnRMCqiAp11WwSbU2krfzYFZuavYMq1rXX7iB4qYxDTRrRTPGo9gCTtbWYGm7+QI
ZwISsxI6uIuh+camjRFc/K3qHvmjVRGfKg626B0Jo5FSKW2GdR07/T7NyI9tIpD831S5Whkd/BY4
DcnbZOoRHHuRM1xPcXLOka3SOO74VzXzB3NXOkp1OP5MiEYIx/i4rAALmUHHQU5R27fETsP6ijoA
mEz5XtnCpk1Rtsq1HzVrnzjulm1S8LZQysqHLMYv0sBxP5r1z6bgxGeKZpcb2OQHyyMidQ4nk7Ak
hLuYfgkOX00k4Tqd3Gyj/2/SECZhsZ6T0NmXlY4xtrJMyN3VyOSmew0N7V2JnfFmD/YXa9iKXx6f
ORYynAsJhWmIbgmUYHxWg9k8EU5xL+lbnHunf5LD2ErkSclnSbVnNoAzCrt576qI/ELlLGfV0WSF
65i0oqWbQQ7roYgHCx4KMKYhbyg4hhmeelJBDWNmLNRZutG1D/KVR7Yg2mihYsL0aawHL89hgzmU
r+LEl7cu4RXBtGMuexsmp3yPzMAmO4ngJMtknZSa50DrYSIRM5dkCeklctjiOp530Q33Agym+GWr
Jtk8AejpytTBrdPfPAYCjmmr9ZtuY6NeKIux8kt27hp6+mCtlLUstPXJim9FR79h6K55FzZfpd5c
VQZsPzUXga4br+WkslST8lAx1WOfpR88xtq48SOnhlwXmSstNx4qI6A1Y5pxCYhWbx6NzD2MrsWR
L4i/FuUJGC6YA3FzWuT2XvXZkb55HetjpCjh5Zu1BhZnuHALeXtvHp+pcxui+QhVL6yC4VKj4bPT
g4DiFFLNpDnkjfPW9/uJfpkir9rRLBq3lk7ErULbfOMiofwqWzU5MuEdDlqcvhXBbN8jkoa2epci
e6B+8LndKG0b3Xff6bnC3e0j9x0fL/KvmvJ0ip+bZJj3WgtcV2e4DWTGPRYzigMtVs8M80HNd2N7
l53gGA4Y86d1xHznYXZBCUQOxa9i8yWUKbWhowl4vDP+yEPIN0J60WllzzwXDigGhwD3WTs/93zJ
t1Czt4Q2zM+hz1ulEAEFM+ZzwEA1220dXQLW88P/92wYSREYSkEaa0OVcSOeqg4z+jkOCStObRpt
jdo7F1GiN5Xd/WXau6eVSAocVsOdOTp4KkH5vak60psKD8Tn4Lk7I46UX04eTxBxuJq9iX5yV3Co
mjrALLZmm6cBK9MKpVP12Fmqta6GgvR1OVaeVRMjolDqtBodoNBPrINsGYSj81Ki3lv3et0dZ8se
HhxAckPrfhg5fT3uOzPw/E0CM/sc1nBoSwUHXuWjsFezHyQt/GwG5+r246c8P3QF+dZZPgk5IUUv
IgvB4K4ZrnL7XdMJHvn/lq3O5uIiraJauxrJGG3sl89N3TfrWEG/riBXl4M//BHZcXA+LGy1RJbo
5imo6AI7em4B/7QNcDOgKOTwMmOXZ+ByxkB+dym4FkkKlCwLzXbb75UQ5lTpleomGIbq3aRmYSjx
qrppfZZLJhqlmFg1t9+Gvz0HHbds4icgVLZliBgWnxGzElN5IAzeT9YTzYFdH7fVxkDAf9dMo0W3
Xmiv+dQhFUd6DD+uDHTSw+PRfDRrmtZ5byWrZEgxHdB/xqBBE6tOn7kkrCPe4OY2bUiY8YA3gLNO
cfszL/X2wMIXbmMQwFXgTv1ZT4mBSTvCmsS2isyu/zEYs3FzOwOaRpFg3+HPLFUvKXOkFPKjyZed
W/UnJGdnxYx8jPD2u1w+ZdvCEClJVbWfgXxjwIPW6VecEwxTL3ctkYMr07SPyVQSRKF59AD/5y+y
HE6HHc0kOS/LNO1r9Apr1/nuVSqIo2L6idHDeQojvLkCrtBPLeePcFrm8/bYILLJ2tcuCUR/OxKI
U9gsfa39K0KjHr5xkI1vxUVeF4DUH0vXyTcOtuwXXanvYdD/SWJLQCSpxSiGWjAP2Set4G78NWcD
SOC/2eDvWrtzWMuLax2SEESHZ+U1CTiGTqsgwYtFtfPs50EvnixZh0FYIEYpFKs+7Jco969MZyM8
BQZGmchJ9qmpHNzn2UkUwOxj8zVWA5aWVmNmWyRGAjJKebX67iVKdf/oth0wMCuGmS3rDDPhTM1Z
wz9zIsO/F2sP8kHrGp8ucEp4aBLMXyX/vwczdYZj2AVfUzdZJNhx/DaCKfsEfW7VGXEHERMUDUcG
MNIAAbKb5Yfa0P8gZuqu3+/Ll5h7X3MlASYipFPywUzmH1NhKstbvt0a67IlnyoY8pRE6zzdmUFL
l3xQrGgPDADVPx3P0CmAuFNwyBFb+JvY+1MWufSyZOVHVW9dzMSiUQqZMSh+GiSA7UW/bbCtFpS5
KbhyPBvAQRwpPjFbYz4jEAONTN32uFojyBR596FnCZdNoQUHfZp+LudeuWkXplFsgmB6K3Sn+iDj
URY9WmkSHzFPMNDFob4JgWvYDUAvskP0HZdfu5j0vw9vcez4u6bJH6p5LM927pwxqB/7DgikptAk
ghfAFK1XiF4cWOax3NHjqKu02HhleEfdXz+oovFuotnSEhonvRsYLDM6+QC5/dUm4zt7B3YZD7au
vOlUK5ofNHJdoDCjgZN+WGhZCZo8vnqhffcANyXe34bxm5jqtHcP8gmK9PBguLEiQmbiF6WKbmpY
j9jaGqQDqjJdelI7V7Li6Hu0t6Di6FB1VL34w7Ij47ZiTbdb2+W6pm5sj/YTuJx4rU6KtY+dbLog
xdrYcBOuKEh+cNJELBuIoEwOvwinsHUcILVVa9WmLO4a692shkEs80RKOCrtc+lgVAe9vRYqJvZW
Iz2che0ZgThjsTKjSymwCi7W5xXH+5+oRTHi948T2U/EkYGRBYfnbgnQGZ+L3lsGaxgVjjEBnUe8
59EGqp0tFC0FdBGUsrOpYLiemIhYXnDtaR0ejapmbx0c7YCvPDgscl+aVoduIldPblHRzClQA8p6
SGHpwkxN0nuXz09Gp2P0SzH1xbn+qNMdPzMqxpdikSiWaPZHE+kRDjp2LjmIG3xVP7dmeh5qc7so
moaSDk4fWeM112p749uoY0viOWSBF9XuurLH9oefpic9LJ29N5TTRhbonD/Xg4EFnevry9XGhzw3
5i/avsVHExh/WwZvZznFQNJhnMrRLlYK0WCrJho+vU4wbvTyqaJd/yAFhz7YZuQU7XiLNZLc5QBg
zAETaQgmN6YBWzVsi4PPFSjNLy7GjxNsAugdhj2A546NXSCe5Sr3sJSMp2hs153neIfRSqOn3KaT
JQ5NKLtfJCupZnyRW3l6Bi9nrdQkMgl2stJjVJvlIS0dYn9qolSXBg1lxrrQTAJwCjXbyXV/ilFs
4+ExIQQEKgtSbG/UBu+pGyEcCDJgmYRX3ziIhPiz1f4k/VioHNGZRVDkTdfZwzEOP/pYnVG9D81+
8nsWf0fv/rAmPDplgVgszPNtpkDi/F4EkJ4ie5lnf1Ng5tm6JGMcIgNSPJaE6ddE78208ByhzdC3
CVfrQ+7V5crqaXlzncZHtTfalY+47aBjL2KmJDC4A+LyiuKZ2jzkVAFgSMrnCjtozosQdkIz37WE
j9E8Mu8NRxBOiO2veWJNWKs+0vMawv+eq5UzjRLS+EC5c0lFAGBIbtzFrlImGCNZXeKV4cOqsh3S
7TET3QqjCT+mtndXWMnak1fMD4szPch+AbrAT0um0T9pdp3oj1lNFuHoTCc9IQTOkIIpZRirZyU2
dNR4dXdb0Lqyd6EhKq/xMu+NPuto6mvpM3bupyLXyF6q9efObCmGhHViALIcC54N5xWVO7fgZ5Ev
xYN81oGp2kYKGrsw15InJTfcFT9B/JW1H3pThWc2DwQVAsc+pX5ycequxr4hFF3E4/yw0AtvI0MN
lo/XyIP18ulWnj9eA/9a9Ywn4qIcAIcjVNH6EbViEb/moQouA+KNFvRoSsQ4QhIn0RxSfAZkEQnD
fh0yfo7K0Vm0kMyCi1Oftz/ld6lplQiDRvi4crj/DwG7M54HQTd0Z3vYxAi+udxwQrMvrpf3TPSI
NVKURxuIhgTEp0farP6uL8vwZUiNbDX58R8y8qKXvlPpPqsI97dVEP5ajn9E+Ppb/l8Hs0g0/EfM
iPtgwNEjT1eKfcHaAmJzIJbH6bnT17Fa7cuWtL3G0v0zbZj8Begq0eo+FsQ8ii9hR4aZjnWXYUo1
nYlheERPNTOFAof9z1XdEdE6l55xol2Bx9ikve+2yT8dcaIl+0bMNgOcahuL+K+1bJctPTPoXABA
GCPreAg7JchWbR23BA3yoMSZf0HEd7CF1ky+NcfzF1AEDWlW8ii3M6at8U2+SiHJLmM3VD7DMtcs
g4DBs4jAkEaPqmAamqdTwW2AddDq6KbGja/e5ThJtYM/RqhEh9ov7GuaBTqGL37QzO6fPQexud7/
cBPDu0ptLEuC95j2w1tZ4rbF5OutFj0b3SPr0igX3y/nRVD9ryXvzd25QC1Bj3JOP9tS2zP6Sh+U
0e8ufW/dR9JV/phQcvy2f+EORyZR9e+Qi/L9PEDoCpN8r9QjmwLf7kof9ORpKu2JLC37ILdX+TBE
MYqaEtdnUvyeWq1eyTICwRGqS6mnjrnKpChVTbHDk7frDuu6RXsn5Q58h8xPKf1WYaRBERNNTvkg
v0RNowdYqlpFXhx+6j7SAM5IjkLaoYmTQF35oI8edvS4eB/MBOaqkNY4iCgItZgoCDBfKGqG1SmO
4P4rUbQbc7pD0rALpY6cE3kUd9S42tCji5LptEzaaBETF4PMuoAItAhBwjbFOwxonlOVQG8LLLl8
cIi3gmJOO7Av27+BIP3EYayQ0DZNO0+Qfoq5/QyNjVVYDc4OxPsWQOOtw14Ics0Nt25FRyhrwXnA
TOQfWnvOJbLInmvLnKN8kEQfczO/VvsgadLfRdd8MoQof89+ee28P1JbMrRRejazSIAGPe0SOwHn
GcXDRLwIfMop3xh4VM6BklkPyquUKMgHKWkh8BRxq0P0XQFedxNPgftEsx6rMTnfWMLY21FFPxNV
ObNTTNzuhXcuxjQi5Vq9kK1i/qjS4HOwg0cjctuLShv7GM3jl5Sby/NaSFzaSkfLcJSikcYobEw1
Xb+pYdVL/RKCBX8fA1VaRU4QfwQEzSLpFRAbOGNVijTC6jaJTZKlocyXIU6MW9CrM0ac7BOlonUu
guxBujrm7C4byAljPdV/Y3Gd9o0412kOu2JpZPnSx9R8kmoSi5647A94aGaQDwiX6piDomLtbSD9
bGS1bySlui/2tPOnZ113wKFFzr3L+kNXesFdqzT/NHRhBg2piLaGN9VcXESAZAOnuGAafiP2BzOj
VL/HJDjHQwVaQUzsi8nSiIOkwpdFU063doWKvkU8RVzUoivTS/cu5zKmifEGQhDDWatcaai9L0E3
p3jBhSKnwVmRJ6Z5KemU7N24wqkiBymB2p71tqfHCyaDjKg0OuRDZa9pGWnElY3WaZzJI8PsAGwg
Y9mqJoT3KOhEENAUP80M2XB6N86xCbrqXHmY21fyaSCCZrLepJOTEU+0UrP4g42FXg+xRbVPqhBL
g/LDNDuO7gO9RfkycvmEHaIUbVGLUzGgHb/IHxCh01fqT/G2R+21WO9MQZdbOqJkV/ebwSLmylGn
R983xU8Uxj5hyEDHZG2RasCppwptHxQyl8SSQGlAQOqhsUPDm2xlPdoSleqDLlp5tNcP8nIsRpot
y98yO7W2dcnLFR3qWEn8J21GAm3b9mdGhsRTqMyNsG54G5L2vG3fJDOfu4Heryofp7TAKmPOhwjx
16Hx1AKsH4FXgY7izOtxEcoHF13s8uz7PUf8ajJgyighSW2+fwF81YGcxnM7TgVeAfs+SO1AlFIH
iJdyPQaKiacntVkcsc5fgfYVLn5ylvraNX73Rq7cNbhRq1xTGTZa2Q2yFAjQjFpFsS1q1RH/cSEy
f/JYRYgRVa+zOL8iVlIFfhShvnipcVio3bimm1tNdJQJ3YEeug460hT0ufykHB92QdYkP1DKJUAR
E6ADha4w2AIpPu2Ggz3V1VciNC4aOpoV+s0dpDjrZ67DT5RTSqfL6t2cIlIpJxNFLZXFIWzb+TXF
TfvZty2tFN/D2orRKQ615j73EUNl0OgnHWX8OtQZq3tkIGDIslFEUlw9VONJdgqBU+uXIrN/yHam
3zRfhe84Io2K6VnZ+7fCZSvra04W5lg7x2zKCDGifxe6gXrxZ2u8QYasTk2UpCvFgEJPK+Ypyfh4
wd8ctVZfMVTr3y0VZLY/1T3KWQB3cgWhYDQuPlqhpw6e4qruWpeDNGNQuTS1BaOqNAnv3zOecmDL
GZRk3AV2Mj5YIYqfXk8WQZNIUHlUoZCa7dghW/bG/dw5r5WrdPvF9ofH/aFHwPs4mOU5LWv/WT6A
17kjPQ6v8pUCSwDcJCCk1ouV5wrcyj9Vpx3H3UprHeepxPqupF75nuGx+XcvFmBDG+K6KrapYED7
yKWjkJck9p2aAWTsguLSAOZtUrx9v8YKZGNLqHXWOTupB//GLdQtQsxFPAZW4VcM3utFJwi4MdXp
36qUkfL6rWeQz+gEVIV3sSxiVtQYcn3QRfVzo8HYqydEOXWlV8+xhxW59JQX1TXdewZLUujhqooM
RxMTzdIWRvDZ7Hqq0w0BZIIo22r7OYoPc6N7vwIFLCLH7XxV6vUA8FM4Ousomnd1hSaBuELs1Wrl
YORWtUOW5x0nJj9noJ2He6/zxqtLgxL1d0SdJbxicy6itsjBSs2hnVcR9+LKqJt0n4cIbjNqYwRC
wm5E625AaxFOK9DQ5SNSFmpK4MYSeDw6TIG7BscXStMiX0+fZllP99Qf7wTXPC9Cto404LIa7gAc
iEgbGFGTyHy3aXQ9KS29q6U3n5gtKdO+1Z7VIP+hKy6dFcvJ19mA3s3JAnMbcl58go0cQCJTCGF1
24wMLf6+S+jUv62pzvfyleqpdHCylA6sfN0TnLjpoGWu6dFNF/nLJrZyS8jip4szO9Y+YrYZZ9mh
jMxDPx+JiAQvrXm6u5v9OtnIsrlrlE2YWzvQ3nC19CnYhOBlj4lH1NNkPDo9Yw9OvGl17vC8ydOx
nHZ/P8j3BugIoLnru3y/EJOCppyVk95w7ko7RiyV2yfbxmQSsAo7G1u/B+10eZ3Fw+fYJH/9nLS2
pSLiX/liO51+Cgu7PuVVFV5I9uA805UmDnEj2jRG94PlTn+27ORXjf9slWGbu0hBvmGgrI//Iw5a
IV0sewZgKyyxuuV+FfpMQjdDjE3oGxB2KRJfluK0L7lKZ9/eq3YG8BtX9snwjeaaYg7ZACUKiWdS
OzIWA2szI2s9R11K8G5CFurS+AiUmgO7ntgrtvLPzuvfpypNtpbhewBr22tAlNezM0fuflDJGCAE
+BRomv1GkMcxNjPjYQDH8m1kURW40mN2H0SWx8xIj//KKyNHfCiypvBjrKwuhilLGD09BRSpriHH
kLqigDC6MTLWZloSiOE6b2yZysIU/NbnID5mm+jmDBmDuGucjrQVM4DvajvVFzQ4yh9TmfW1BBYt
v6cFaYiZrNwOFUhsBgrGm+GE+CwCZ9e6hvGYVheoDysY7jHFMclq7ao3yu6yPFVhUq60Y+By4loU
ALqd+XyvYtKr4gaX81a/V5wT7RgQsTQQHUPxdp5LJ0eGpHjQ9A5NEtnLS1tkpsCyxfGNVXfrZPF7
2qKN3BuQeA4SGomglZ66zHGxKuPZVSblMkJruMN/+Kil8UGkmmNnODpjv15EqOQkzMT7IsJjzID6
iUC3chernIcYrVKltGO4liYz3QjwDMmncalsOsK9rlMPehy8ORBTKS72fy0Nq7omSgTmz6M/9gB0
zKC4I20rrvQMj/LVLN6KA662wC/OhdX/CdmDW5OWnzjZlU6Zript1Pnn2EwrS7JQsj60oGzh1yDU
RD74LtZxYqys7fd79KQT0inwhvSuVWw6BGKHhh7BdjmHVQFTxcFCqllpoKeK5Jd09A1Vaq8bB3x3
jlDoIc9mHA1Iil9zxB+xHd5G7XHZRdGJ7BM9Ga/z2DF1r7L0msQA5/mYTtrUurt8nrOThdrvaJD4
LH20yCLIZwQwD+1ErM1TrER7ArKZlJqe++gZCDBDL+DCFH7WPIU/4lm+eTJni2VabWgCCL1rGCjz
xkoIgOPK+DJ9skjkVYT055x2jb0t/JEcWuEZ1gqRwW2nHW7nBNlvrnsnXeOAZtZeQ2Zrom4FHpXW
mIYuSTwrZvMSZ6W2TUuoGfSm9RviX7CEwBpXE7PZ9yjPbpkz7uV9VUSTjhJZqOtUn5MCMg+2S7gw
sTK8GHamPkUBvScu5VlLfhFI6WzCyQZDb3xJQTUirl1XYcIrjcCAjyYIC6M53GIHy4kEcnseRt1Y
uaQNzuflHuXL6Fay0veJoT7bE1nY1ZiRnE0vtrei6CMeW1SgyY5ciscACMh+kefXKaayfLiObu09
MMgvroBqr4A/i5tCw3v7/UwZWgT0JgSrRdbi6cxpva4iBLw01P1oky0qRV2Vjo53WaDSVGTQ26F1
cTsHzqVn2KeJU9PNQpfGRMa6x17R3mgJtzcfmtUxZa1bORR7UtHhAO86oLdxtnnRjkuxR0MTjPDs
RcS8qET0WtYX+Dh2nKHzb51RvChxZXGgz6ZDoc4/ARtUuwqhFgm6ebB1fZYURQNCIU1hfpMhjPMg
p5RZvgtSHPFk9l29OX4Lhkh5wtic7cNSna6GBm0YC8GHg+11hcCZixWnBn5JlrMeC/MU3tQq+WKj
QqhgTdYLyPVhTfM3haGtWC/DyvhtF/mrHMpbqtvuWSv9fVs1rJTwxQ8ZU6Td0uFBhs7sJvUO8DbH
dy0ynxu7LBNyVdGnVBGNQfTvST6Tp6SNyhbK4XgGWg3XZ24es+AXzZh6LycKnv6MXww6ms65Q7Z3
HRJjWrNnqlb3xkNNvUKOK7fnWUcOUP072gRO8Dd3s+yxwOhnDxoBhxi88EybQ7SYRFxuUa8Odlnn
WQ8taISn0oQ2CQP4x7KcRAEJJ8JGIS/qoUI0wNCqOlQuAYUoVg3+eDiciS3J1onIMBg4XpGlPN1L
Q2FWIiaQGpPxU8tnSJgMp3GGEOnes5sEP4zXnqOhQt7QO7TSZxhNXADxfoD2iA6UWOVQBNpzsAoV
8qC7+hZEyrsrFDc5g7GdMwflIYkzTtbD3J/lEaz6KK08XHtiJWbdsZ6VBNmKVpseuScVWc6zzrzS
7uq1nmKYaYq5w+yb4jl226F5YNTcQCnKaR0YR/lCvs1pUNtVPZA/R/Q95Mhe0xTkt9iE5VuRUT2N
MwankfSIY+tDibCtc57DnrRLlLODUAB+P+iAylaM3rK9aQo5D9SKo2zZZWDBdk01GOuAUIkV0jDy
y/zSf6Qs6y5hm+0Yi2tkk+rWxvJJDFVFAywR+RMtOFWEq6AE+pmQUxKxdova2NQQQU3uL9WOhsOy
W5PbgznXf7RCFdIh5+SN/NuJyUFrIO8q2SJSLFRvEmOQ6wT7VO2kwQItXoquGgI+XxKbpS/0nzGi
joO1Zs8m5X4AxNUjYpQzBg6t3lDt/7A0JhgIHDA6ZnbrJS9YZuXFRWtLkIURNhKbNK1ZpdMnc3Tv
dCuUF1FbUpKuSsGwIU60pJ/Kz670Y/kon1UzwiNz2LeJVi/eHmnwaSF3wNaufi7YV4rymKK/nH7q
CZoyWh47EIPaLYBwseJPTp8hRsylT8+XUo3hczl3yo4kzBXW8FkxuH+Z6TwHQU85PV4wP4xPbaD5
WKtnrvlChGYThyQ/Ms8l807COJhJk+kIFwXOZx/sR+EFdfC0HFkVKJcmP1sJ3sRJpXjv00a5LtXG
SHtxxGfRtwR9SjGefNDg0+/gYeGGaVT71CkaKIDJDt+rukQMUHn/ROZZE9aPWapOG9ByzpZW8RHN
cB6y5ZK3pJEnG9oKgSfiLceLOuYNYhinjEZ/KzJuDhS40RHkEPQR2uxlSHIyfawH2XkPLeAHy+UV
KfYkQMX5Zh5VmxRWKAa0qsAseLS2H0h1FgFeFPn1ybb7v0svTFNMb5deoNWoK5CncF79Lv5j5bW+
alvXvOKCNK+GXxLbNhKLKE2Ojpl+JFobo/scfI7+w4cGGfieE5ESrLDiTEhk6R/nFVkMWjTDuCkQ
3GsdfiTpYjOU/p8hmBEa/CvD+8ef8nu2FyBQa9m9JRiVagxp7V4y4Sbb9mjP5QW9WFZs8MERQrM+
38tZOfUWUEt5xyjUTcv/IRFxT33F0MbFo8zZRXdvmgJ+Uap3JP8WxuNrKLr3KjkoCzslq5EGji4h
a3U/vVSGIwiJiUsqnDwnCI3uNBuoouRUf6Jtf41nyrcBAnBRuI9yfmLXSE4jO0YIIWYqkdPfcw5f
Z6119X3lmfqKt6NNTLme7GIyfteZp70YleU/tEaXvRCuCHjcG+49vDTcJszwpYxr5phFatB8a+KW
4rLJxoOvTvE1SMy7XA51F1cFXRJwN6LG6RSVzFLydjc+B/QHUgM77rknaj9nF5a2dk5x6JzpEmBW
kZ8eHqWDLmKUPA4NLBAaFNRSP7tKVa6QDNYi2o5JfzH8HhsC4bldbrJF3AAGxpUJgKZStsloFVgN
6uoUaT11NfEMBCT1oALdxriPQTog/eofnBCnr2/qmKqHDAPLojL1ivGRqAAl0Jyb7iOc6Ah1P0Vx
AS28T6+qA7+n1o2ZGfRYbBTlr4Lwixg462NZMVooSeJbT/6PsDNbbiPZsuyvlN3nDuuYh7aufsA8
kgBHUS9hEqWMeZ7j63u5h27lTVVZ3oeEAaSSJICA+/Fz9l5713ZlcOG8eZgCMzgOFoMwmaJBoHi/
KLgSoVLhFTaX+GVf+eyY7b/WtXNF9tzdA3dWXyvvzaePdFzef6K+/f3S1u2H9CDXXQ1Q55lo5HBT
O469kWuvDPjuy+EsG0E2vtVVP3wUehruvMhuTrMawCEB17dWaPo/QT4ChZLlzkY+9EbS2RmZV7yW
MQBr8V7KYyNckmmfURRd03WJf/YDvXB0LNHgbC3fyJ7VeQaj4+kEeFjuRg4aMAIfUVBjNy5zuE2Q
4de2cGbXszkeJeNMm1VAPkn90o02VI2RIV7k1u9zpRnXiSoIKeiDhQ5kD0l5XMmH8kYxge/FiCH0
dJqODrirfVi50w4MLwiNaspWRanFP2yOg8HUDh8q6UdMMR7ziRjpURSqvbhx7Hg86WX/HokCds5D
/9Lj37D+yzAl/VOmEzGrRNQYlXl6Z3jxTbb7tLkV4HbvQpPQPuTq4BwixoS7vCD3u55wlkTO/OQY
JfsMWBLpMLJL5zHSOOPOHsdg2VtXzZHoTrnvtQk9TnuC+9lW7BJQPlbBB31Wz17ZoRqJ/BVYfygr
37MRXFkFOXunRwjyCQUNTNt8KOhn7Bo61kLJXK6jWrkU9Md/dF3xPIYekLEygv5vEnGT6XCoIjwH
kZ+XD20Y0NIyXPvi6br/BAHzieSo7FObi/dos8zyCY3BkVl8eEjn7yj3jAc9sqdVKXLfZtXq12By
vsbBVG3klN5VsM+3RvDUNlx4qTZ/w1RYbsbQJah1TPXNsiXrWuRv5WQy6Umo6CJ0XWJO6U3G+Ag9
dlWTxLOuhKOOfPDs2MqHwfhuhHSJJ7E+pQCQscB2yj4wY5jXXn2U1t8En++qyrz5QZnLLRnIH1mB
S5S0oK8zyueojZ7Urn8EWKMj86PwsBnbihCq4Jo1TBtJ3G52MlihNxJSyYMM2JRHMA2zEu0cdnF5
cMzi3NuBfjQrfLCC+lWlQJ5IZdFP1jSvbNs0/kji+i41snBC4FrmjnfMHRuUV6qrjxizyZnDRpqw
1h5k1EteAzxvw1zdIS/WVgaBqCtNagdIbi/3hROQiVhWbPfTvK2b3t4NkbGRdXJl0qAGWW6hXqJT
Bg731YO2sbKVrGK601GZBEiwAFbBFQusiay8hNa/xdctuph2rdX3oYGk01gxBB3w2RuyrtqjQaUe
JwnakIxmcGHRaveU7O4ZCqldhsvoVw1JaXTIutOFtnrse2LfxcPJ9xMCwCh2aD3U9bGOi2JjRTYC
efeljlK6iBqaPJHcqnQuuonSDxmYOOF3m0CP0gcG3LV0zKVb2CJKaF3g/RdOUMP0iydyQNHOBwAu
NULY3lOK6YPq0z9CCBa82yGVpGB0Bg3c0XwiM2u0wZTCjY0PiWnh54EYqaz7otPYpzgzl1F7FFd/
ESdMfSZDe0iVmrC6AGN8HAzeDpJyu5uU8segmQ9+T/IRPA2sQD7ky5XmkA2TO5gSsn6k9OqgtNXP
ddO6m2XWuAAXcVilyLnH/ATCZtqZTvmkDGbEXzTH9J7Ddp1M5H3Y/MEbE2PItq/GmU8hqhGPUNnN
st04Wl6+urV/yS3mRXY6Q6UQwFbM5uHKnBPlI8yKXTybzgtwofHoj4jgOpNrQHN1YnZj0YaMn+vO
MY74t/aN0Pe6pg/KsjDCTaVyPqCBQz4Uop5riHf3FATZF4kbGnP+Re3kZKEKWUg1WXQDRhYylqGL
WkMQ6Sk6Fhpy6rTJLve88YYiDfne8Opbppi1ddUjlpPsawL+Qo5oQzOedpJkqDIQA2aGLN/2Slrx
eoS7RCu7tWfz8wUXB6vbaiYLxcuhk8n5dFPV/SlLTXGAGetT0ZfxLq9mevtFhoQXnbSN3OtGOzu9
cMr6JolL6EbNlR3V1KK5MRAnOXwP42w/z7F7rQHFnPuCS2hSh+7JrGAeQQP0D01EXmWfBhAixafM
CgNj3VpRuVIL+x1foP2DUu6oKPM3JvWoLQgoP9aV4W5zAZBWkmRj1fO1tFTCgtxRP4aIlNeVk/3s
zV5/RXyCXaVmItoHxMjZdUrxKATqWc4SjyH/66Jk7DsOUmRHPDbteF2GnmhEu60/epsm88NTHk3d
GjHFTq6eWap/d+bwoRga6wWmWr5vATZv5MO4G8Dagh9atS7zFy92eT0ElkSOPPFvBsDNTQ5zVhTv
9ZEBYlEHJjCYsD3TUCQdiETXe2Bk53xQkJKIR1HZFjxhUipB1xm6KuIFBcbF9YcHu3AQfnnW82QE
6l3a0hKF024Uz9mngvS7B+hB8vtVRtKC252vzM6xlfPRcNOueZX3mtGcb+HM2mU6U7dS8lZZR/Zn
bMzB3rankpQsMbOfchLeZSHLTF1GV7UgfA7A2wh/Q22/1ZOGNGVTp5HSOMM2SFrn4Gnx/IxA9skI
h/Fh0FM8Kpl5chiOX0vV1SiMxCxvxHF/WGKamW9ExYqrFcUbqXkbfYQo73Op7EP6OEMcEiYlLlzk
kyUtNgJgFQsjgpiz5A3BcEHfJWe0BDi9deviqN5jgLHlFsRzxYTNgNltQReRV2lM1sWWs/xrRZ7A
KU3RCJND3Fwd1XjhM8nYpB2+k/CnPZUhWn/ksjZxyWAA4DtGvAdjraqvIA66rdQuwC8JdkabD5uo
KN2rT/0MAamPzw75WnHDIFzuC6Xin6wZ6GswYKJ2CBxb56lxM+Chf+mcsxoOcCeAqZz8qPqeCUri
gNrS6k/M5XoofA+uM3DONXSdq3tWNg5t2t0iWazrho2xj49JAxlb3AnUgrHJNNyo40wqaJMExc55
SEZ4223lPRS4CjdKOFJsl4z4zjjtGDBwIFg1klqkuBUty3ncFCmZPdKFBH2sBXzjXgCSithjvEpS
I1jVzBhk/0/Rsuxk2mq4chR1ftWalFBI5ap2j67dF6eKLsdDMSG9B5KxjvV8eJX3UJwhkRkBEiWa
Fl2GerwvOhklVrNLnoUYbFQ3flSUfB+0Rs/6miePYs6jzoLkMzl2tUsxAa17JUNVWW5qKx8+3SIk
+MMXLPRm5APnjvd4xrzkG4G9pk2X7KNq8p+BA2yXUaWP4rzvr0mldR8spcqeMU4K+9d9YJVF1T3k
5QHyBmPLIDjKErZRaRT57PX7aPLOYH91JoaMqYycxiCFo0JZW+MQGAh7lz7UEbgp9Yu+MMOgYj/3
eiv0z9pNTyjgRR6cCjETnYrXtxzbAfyVHUmmnRM90zhMtmaBqapry2divI0/FHpf/JcToZYyYFYS
86aQMr7SXbP8KEMn3bqwi4+yyc/mA8nEgoDjtJSiplXdbSKGN5mczLAEjBx5g5tvB2+joINBSa7X
NXjYAazMsbHJIFIqXVuVSKgkwmwSEWKGaTdoB/RNM9X+puxz5O2d87RULAVgOYWckAQp8tV1P7qY
H9nXUwSnkq7k3AFmYEONVlHG6crBOfg8UUdS0s3f6AxZeIpI9BBN14vvOdGqUbLpVAnLv6gJTmoz
fbNKG/cc6RayNTC0TvOYNhx4+saEOi8qYTcu8gcYxRuIYPSirUg/K85cIshEjR2TwMhncX5ubbN+
zBmJbQjCnbdVTwetKD8sC+1SpmvmJmrb9GY1Lxg1wXpUzYQbjKGEp9evCmO3fU0STuL2SMD7/OJM
qn8KSUFb6aZbc2UAGZeGjdxNm+VhPD/FZJrcFnRFHnjbzo8RFjXathPwe7EshH1BETu5H9HkNohq
tWGj9FmA3rs+05lQrmnetU+Fg5LO7oML/hN138/TD1oqaoplQEyFFtOEKPiSNs9OY2L4j0Ndn1xj
zawpS1YIPJuu1b9VUfXWCQJW1Q/nxtKc58ovUSvbh2EqGcaLMX2qpXsfR+G6Mfrqkrh1eWZi6u6I
N1C3LTQe5Aljc/G7oV33wo6qwYUG17XRpjx+12ztzWP89NmNHhIO8IF5al0i0cUJxI07kdio5Pqm
CNHQlm5jPtYhv3VOgq9Qiez9stphtm/31QC5gDZEKiiM8RMFQNY16iFDn4CnnOauk0XGq+nT/UAx
fukFfc8paTTKK88x3mcnv/tuWkE+F30MzJZ01LMSgoFwiAW1ap0iR3lItFfaGM5NgiYGFYtKk1EP
jUrd7OkmIqeTY3I1g3rd52syWpJ9IjQp8U8Hp/hu7LEEL7/CjojUGuecFqpIFO5zszskfv1FAsZ6
GsLQWPNxWw5GhUizB0pml0jfBKOuikIVrpJxQB9Y3xXYtFulbCY0QEB3F15VkSJTr9Iz1vruENQA
STyzfkeOjqQO4z3IzY5OQzWwaZlmcmgs7y3osp/SdqbpBskMbmHRgPJo8QeISEP9qfKJVnYUFOpM
qjqgoujgXIs0Db9M8muque+6Yn+X6so6c3cV6r8KMdyxYhJCq9nyHuU6gVq23aBQy5is5LSP0Yyw
luYvhkkSdVwxnBaHxxlxxsJVTO2gpN8GL6pVcF+gH5FW2GEQkXMZgqK6bb/B6iP5j7T7BXeE6oSR
AxbWzBiZQoojqLjRlHBt81l8801nlV6DRnO+OQo7aJfUyADxtK90HKnGKg1YuFQdHmwVGtOXutXe
Z/66XMGIpu1w0czXpRXtWG7wxCWS/WKcMy93BSbH/K4iN+UwIwypeuOsAyIOr3pdMck1uosaafsK
p0+LNFGPGHM13jqkWhynL5o1Gqt//Mf//n//93P8P8HPAnrfFBT5f+QdIL8ob5v//Idh/eM/yuXL
xx//+Q9k2q6rW55jmQ7OHc3UDL7/+e0pygP+tfa/UqWatJDKe+OxaIqeLg5L7B26OR3kXq6m8w+y
ds0jiTEnK/fJcYuUed+hiUd0NfYrx/Tzh8iKvy8ni6jBw+wSd7GpCvLgB6Ad1LqeRyKFfMIjlMEh
w9hCGLexkVrJzME117tvXoC6byJ5HQXwP3EdLGf1zQfKM23+zRNX/4cn7tgeu45uaZ6r6X994sC9
DMPpOfzFdv1TPlUr1p+zwp0vVYq9p7YwHDilP5yt+sV06D8l6c42CHAsbN7vPlHncy++Vpd1ttPD
Mb1nAdkF8RDs8JaRkBaFB6iU3aOnRfbJYdxGAZU4b3003k2fI30Z7HWa3SEcgKDe//3Ts0zvt+dn
aSq8NARMhqPTkbLF9//ljXVDe8wtynsSxhqWKhFKHVWKunXGNlyHtlVdgxrIJYdTMD36h51jis6S
BpJU7W44oZJ4Q4PqoXchQ9GCijfLRekXrb0aGoS4ythax56kKBVTKIWE5//8ZbJQcvWZgX5C283U
noMiAqkwdcZhVguUgoV3y8zsQl9Wvw20wJUhzPHlEYNT0awsohb1ahgwq9KaZtP7CR4JcV2aWIVP
gVGi6RLFvRaEZ1WZ/ZvsgohHZsOgX5+P6BGTm8Wid8Ye8RT3nnGTN1rp/IiFnCN2TFZQbVI/ZC+K
c8et42NyHYve3stm72jE80Y+ffmKyJsQ4nwWhczEOwCEyFrmr539haqbFchGnS9fYU28zAq+ptNQ
u2eW5y8VZ567Xab1vshS6+DRH3me0TEU4Y0XW32SNxBexrUfZ7gMi0p74iyzVrs6eky96Y7uRz+P
bgfTfmrAXlOpWJD5C/8GSu57V3L2xoON57kgEtTM1OmU5NaLb1nFs+em5bNh9jlKgjQ4y69Rakcn
zlYzuRl8t4OiAE2J+TmBeW80CmqEgYSWnNQSe+WiXIgqCDqKpnwEAaMqua+oSdti1BYIBi3UIJix
HbJG1Zzw6upRFvv2XJ64uB5kx7+vou7RoIGkekDNHQC+CalYRzQITF/nSrlJ+9xyNmAezsiITXkD
4Sa6dWiGD95cPA4IH4kRm+9y9ARupH+UvY4os0kMmdDguI5CaRsa4c2Lwl83ia+dqmqOLtYkJE1x
Mh6gT2IKKkb0joa+dNFAAnTwrtziIC+u2Q2/1YpyHeLMe1LRt6OxwHctWqNNZ+HQ8HprVXZGR1J5
IIyMjPngsmY3RXvjnzf3FvT7uoCZtG2L2D7bvPT0N/55T36tpSrb4Tl5X77ZAIYiKG2jkgKE/IAa
h7Cp7qhMI+/PrJlPqfUpi3zVr1NaLvFnGno+G2JM45VPbWl/d5n/IBmOgsfQLhpcd03cn6yA1Wlu
hnhjeUa2mxqCFxQNrmoLyg4QQCTCxZJiL1XJk/FestEN1Vsx92gA+UDeYjd4juPQWYWJb//gJJWa
Gi1A64dTts6RrG/QJEjOIk4/O6vPuhMBkB0/U8jTmEh/K0sqtFiguSSr1lGHn93M9AHZwKEDU/HS
pOrWDUvjHqXFLRZ5VY5fgSh2nXkjGkMPNZDlBz+YTp49mAw2Lb4kvm6aqbWjrI3PrT1Yh3bOkfmj
MxmsRr+145gdHRSGm9KCyZ4IfNJQscGoNXzEAgDWL/xMU4Z4jEXi/dR3wa7XgHikjWW9lF4KxJO6
omtrb+nahrrXbRyYLrLUYvvINpqPtCZO1JjobjdeyQGsvAeeWD/pOR9ljHukqyED7NHrxVSQ86zo
+7quk+2szhgcCs+Z1nWWBq9uoNzL4lO2vf/0ZOqlPsMJQMb4XwIRrGqazqFd4iT9EDCg6jQ7Urge
R7PMfog7hV/S5pa5MzEEyU2V+912LOhgjm2HyNYq7oawFuTmGO21HB3EULj+vabPd29LoAr8P3Wk
6hc/GuYz9W+1CyAl01Eh1mTKoolVs9YviWKTTuaoi8MhskndcmPrSSK9ZqcPVzC8qpWpZvNp8Ab7
KP40H23uWsZZ/HkTWtBvbKKAd/JrfaLt6apejNFoDrYNJICwkOkLnmdBMmrix1qr7GfdHo995ZQP
kz36687uMAt/DAae1z6NErRTVnXy6krbMxH1b5b7PY4+UIlH66Kau7flno3PZ0qyF9Oa/e1UxQRQ
121zbJHfkShKgStvOmfe43xjDNbki3XaxpLwS7clg1IcYTG25tRAgmXYN4vsV3nE98K53s+EIq8Z
ZZfHFrgEWClEUKntJDeH6DKam5n5wHkdnV4U7OiB6Y/E1SpbpUV8p9rlPR568wnBiDpp5JzqirnJ
6nKJC8TB8YtsDtKTdqZ02mDQZ9d2lPyBs82BKJSAYAxOzw3Ju8yuwnlTjYDviz55LmIFPLLlwH2I
NPZxH9sxK2ld4HVHJGdNpJdXRhdccElHsBDsfkt96+2QBJfHuhEi6MgadvlYUQkI+UFmDM9L1h3u
K4O0WG3fzrV5l0RoN6ijY4Rv82QWw4sULep52p+XBqLXKd02Difg72VvbrPO1W4lHF/M4W54gDZ8
lzh1q7Kujh+8/JkSge/hPgVNf5E4p77vsjUi035Xe8M2jIfhaSlOrW7kx+ixc9XFRj1ULWDICBSU
Y4+Pi3IBi4m1A+ABnaj4vsz/bbW0fwkPkD4kv3Jr5Bh48QJmpuqdWtHU1wK33CEgHlblQn/AG6ko
EEQq0z3LQ3bZVX+E30ytUn7pg+D++2y+ZruNSu0Z6lxxshHFry2hUTYC5utulG/iPCf8daqtdZF4
9cHJiVteonwzn0zLEaNJkE2Mn7/LyHJ5I5qUsrtdhgxmpHbK1OCq+CZ5Nl3yNfKi4CNqB4dtkaQa
R1PtQ+wl+d2I6i8KwKEnm+C5M13ljL0sUv9NBW5pv1WoHtsrGh1Ts6FLM6H67eiRVIgRfRNbD0tW
tUWEN15bi3lJo8I2DstHt3RzwM9G+TjgWNjEcf06xEJEFQvHTTF4n2WKv8gQ1ktXkspy3RJwG2Tz
UdCfZL+ktOpxkxgmGODexbBlQkNQEYh8iRz1YOXKvI2zpN43qYXRC7jUZRY3Wommjj5xv9GMsjpn
7bSWh9d5TFMKU9KgS2/8UkA4mareW1uiabIc6KQjYLLTfh2Q5E7DHH1sOjxrScg/E29pFQ3uvznE
OeKs8pdDnGGz0aomIllDY9hn/rXWn0mTmJvM8NcgTc2TFFYTZDad5T32VhgXFjBuaZB2043uud4t
7XGauWNYb+BV+g80Y8DFh2W7knVvoRGxmaUwyqUGSflrUI5XRwS1lZVSb6eRLoVc7KXNbTT1P1AR
N2clzWsclrm5hrWPj1vRPKIvOGjjziKt3VCOi1DDKPaa6JMNinGux3oGXma/Woh6xdgMXo7ipSsz
wHwiR/jyJgm+FVLm63nvpI6ka/Dm8X6J9RyqiLnQWB0C+zuSh0TdV3kaUZJ/hgkKiNpSqh06Ig02
nZAdu7Dx11pCirm0EXYBAmgEA9VZPpT3pub290ez/3Yy48ypao5KoeLavG+W/dd3ywWy76U5vsdh
aD9pWPjPJmeXo285bAyc0Z5pXbfPmbMZsT3U66HXR4ynDGs5wQsKoO/uTVdlXl80zR2TYH1n+orN
U3eO0E2yp7qItJ2No4vp7+wuMAYJTyO7rVhJHhE6Z3eDHG1ValbzrjX2Xm5V0Cezg0d9vU4QvYEJ
zd2TVeb5oWDPYB5kzic3Dmym2kA+esZEDYNSewRB7Cn5eFzyVypvKHCU+POW7vGPpI6Mf/MCitfn
r1e7qdKWVi1DxVdmqeJk/y8nWx3PmAI70YbpS1929lnSJmAb1MGThcbq8+/fLt39n36dp3q66Vmq
oRu/HaTtedDRTgI6WTR4zME/o6kUceMmOYiGOT8OExNvxX5B2kcH0g5EeFC6L6Aa7JrNEj8LXRPe
dVxekiL7CdE5PkiJG1EHL/MAAlY+0jErWy5HsymkNzWLEqvWg2abVk63/vtnpWm/9wfQjtP24Hl5
NAkc7fersDJLsma62CfpZBrO0nGv6Q793DZdZ3H51iuU+61pnBzABBzXBFkmHlSQlQE2JWlK5nxN
cHNFmjR7/r2WmuvYQ2MsUAtW9NWQ/CgXqMUF6MTK7vynsh/TQwb3uF3ZTcxEhDGHXGHy1BzXaFmT
nZv3zWHkDL1yJWty0sgEn21fPehTqNCutqb9n6f6oSTTzA/0tSXyy0vR9DRqkPpZWrn71Jhf7NHJ
HqWbqRnGF3hV2c416l+YHoLBxlVd1b+KPDUAoJHPnJichGBUx+6STdONOMu5pveeEfmgDP2XpVhR
kv6lRoTGghmQai3mCWafIu6RIrt8QLBAe9egLQm7vusBWUkIOSIk67KsX7Xd/gAmC56A5vUSQpOK
h4lmPFK72ccwtZvXWldx4jnjl0YL2qPVpqulmCmYL9m5qugrq3enU5mkN2iM6pE+IAFLIqmyRza8
kZ93zenmY8hZiZpPK6mpYL+FvXVlpvsmD/QyiFxuYwuKgHRx49hTi3jS3dz4ubrX/PB75KTv3Txh
xBKwpth4//vL0v1vNYFLcroBL91wPah9tvgw/stnOyBfAR+FIBLOHJnpsvYHv9f0QxsFn003vYxD
6JE7RQMoe2P8inKR4e99dvSDW9rqLUzIc0qhjRv0ot9MdQ6OpkJJ1ntFs1drGgUd2Kh166Av9xxn
eApCikMOEKvI792bfMQUJTv2Kkl5RviG/NWAh1WYV3kPWQzlStIBpQjd6jIwLW8JxEbEoO8khrLR
MG0n4eSyeGO6sVcxKtqN1Pb1UZ2dPbc7JmVYPOV0roty1G9cX98sNxq2A+XS1YCyfQw4mfc16JQx
xSfVFMNRaqPGFjpD2WtnWcE6k8sK6LXfvFlvnpz2a4+6eTOSDfoQAE1EmZQT4TpiOoFeOB/dBKQp
pt3HrlTf5I+zjLRdTXSdA88rjvhHq5taVOnb37+jhvH7+mlR5Gk2PglTdWHuuL+tnw2FyOi2yKCg
5u7lumFpAo2iFvFGtr4Vs98a8KxX/UTCQm32dylBCqs+WKt5pvLRDqJt3/jtvUiyaJs4X+bO4gzX
mfl+NIt5x+loujbeg+wF9iGcwTISsZCxzZOLyRUXFYYe5T+rKmZ2XKGasbr+V8UmBoQb9OCwoCoQ
lW5NbhQllrkrk6l/xPj4FJmGtlnKOyMef73ThGAPD0Du9t3kQSUwK5I3hNWKXMi+dsoDaNh244/l
Z9sAp1ya33YJmglpf7OCq9kfEmu+GGl20HBgHTUJRojR+Ym+0WPemtndvCOyXNpsQzYUX8qSwewk
ejuLUFALMnutB4b/pAT2H81QZZ8k7SKRQmYOYGuKCuO1jLV0xycuJIASuIYS9809iYCR5KO+bbLA
voyee1FRi1wQj17jOo6enXxMtmmM0SosHiaOgNtwQOfcCnSFDBTI1ezuEP3BtK44wOGkaGIwU+bC
2Wy6wDtYhmWPcBnPI56F6tcH216Mi0MdOIDCRCBo2D+CtgyvhAusyz7TGCkwHiRcJlkXZGHtNK2x
tk7WDteU30s01kSImdvnJyKS6Luhgt+gr9Rv8obki1UGZPjhzy+FeKtWLqLCQ9uGxvLP3Hjsd2YF
NjSmRNukTf9TGvLcyoR/PuYim7qfH0ysJI4bhjuzxMWAMu5cF4b/wpi3gWfndfyIaaNEc/SsUUqu
8bZ2R8YEsqUcokg8hqRgr6TSu20L6x4tDDLZ6NRdT/t1/KPVlwCHCR4AYZirVozwXEOHRlJPxnZM
3frgjSQl681MJc0RYIsSxTsx/+1o4xHToiRoimNM1K4x0LKfYKXUQ6K9JJFzG8vUPgCJJm9qqBlf
FtFPJxvHqzrR/56J/dDy1jj5gmIJXrLfNbisz83o/JEHFlIGrCBbaZGHD9QcejO+oJ6MzrP5VSJ2
pDB8aqdvyDxd1sOw29dF7/MycWNMdXLQeWc0a7irOBaPXevzJ8ets8+jlH41wtp6RQyTIMPowXcl
Hl9pkkSELLgrT1WnD0QsVyVXNOZjsw2ZDhm6/L3yRodOSjUb/EKODD2RmDRYj2RqodyKyuyBQgzZ
YFoCh+uH6sNOQ1LjAiD8Qa8EOIlwJBLgTnvqtWoRJti9imXV0ef8bOjKXm64DrA0KQWgNDSOFOqn
QknxT3Bs9CDS5Az2m+oU6GN5aTw/OIZKQ2KGDcsq0tNX8YyIH+6ffS/4Jr1DddxflbAcTryy39lA
7F0pQBeKN0EHtDxvL2X2eP+7XZXyUbIGkCzmGF+zzJgveYp2gg9teFoYBa2R2ouGFvaxuvql/LTa
higDZr1OUjqnttN448zwnWmLS9gIoHxK15dlEj1a2IUtTEOaWk+npiUWAZ1ytPLrvjsuiYwaTghH
GiuallNkCGOVsB/CmjUT0wGUzX/6eEvre8QHJknKcqcGhH/HY5G9MOsdLsbsE6GWD29AWsetOj8B
yK3Wf3Zhlt2s97B0m/FJU9UvWiPkKzHIacwTT2NWT899Ti6wktXNAStXfv43e5Qsdv/1SMHpl7LD
Zlim6TZArd+GgUwqiwLaTbZdRhAIf78u5pmkNhAE6ZhWjJL0HxNv3yqOPZWj9XCprCBYQWxNNuag
dKfOzqNHnWBdlRqNbllKXWqngCrV8n0cOQQPOH1Ps9IJ+tN4lTdaAd9Q0eBWQ6VYuWCkVxJp2mbR
yS5d+z1GKb0thnjPnAV5qkr4CC+tcV+2o0BRondrno2d7aHHddyq+Bjbp0z1gw+D4yt/ppjNwb7h
Om078Oak1qqIIvrK9S5JlbzaaePv/5Ths9XBn6lS4tzCdesGZwOIr7GxyXPsc+sso8CyOCzOPhkd
Sujg3QA5XW27ZLbXHRPVB3kzGzQR0V3AUqM/zKxwJjpqbF10HN2Meu6bbAVI637qBK9K5z8qadaQ
ft2FL0ncEDxKzJ+Uis30jlB/ZduCTTVFeBgmlv+TAvJVS2P1wS0dFgc1x3g8t/2rbZg4BxM/XuUD
oJ+1N068DV37uWyYHOHqtVRHTnE5X/rRoC/qZl9HjrVrF5f6TvNbjQQ4PGtmBhuU0++w6HHG+AXd
0vBgDeYPmPTKYQaosPMUuMKj6qurrhmV79DnN1mkZA84WscN/ehvhlm7d/Bi86PtOPPKwJBz6Kiu
oW4WpHEpcJn2qq/sxsJ5HQbDfls+x1qqT89MUn6RTMJOOyrMsVdoM/RjO2jjNrAIGmPI+yilS0tF
hySjghYGnEXPF6c3h4eOSS2W0CCNHjUTpaipm+neyfRbRDP1ijTSR0gyoG6UnePKa+ha4bW+0OL6
ocdj9pIGRbENuMBWRdbOD/yRX9JKS8+2NaRn+Qv8qCfzPXMLrLljci6BnbgVHYq2JPEiNQPwYqUg
45o+uS6NcXaj+K3KAuMhNWjhCIGXfMSb8KWMCvNMSYuFXZnJN2QFJYqqKU+cQhmHxRGKSdMTXfzo
qwOuziChGJE+Jo1JH8Md7jXlbcgrcz0F1VuTodsvnRTZ/NyY59zH62F2KvRjerVRzpdt5C/7sYj8
Y6VipqGuVD/o2HwhIw+cTk6wgKW3F63DsGresprhWTEDyvpF9THHH8tJruvmD9Cu/XdnWHU29vGG
MLpta1Z0tnG+4AB1e39X1tj3RqFtKLRaAJJonsuHrknYZz9F+b6OspM0kiRj+O5oDCkMpySPm2MG
bVJMOit3dC7SjKEmLqSlhlyApUwjA73P03XISP4ss0SU7p/35NecGBL8r6ZbxvzSjkoyrmy/2QGt
7J6W71ggow+yIsjmUD8sZ1nALPGTm/Q5CFbCI7GEimRDKU1qZORhO4Mak59WfBTnxO3WshbVa//e
Imepfcs9KUD8LFn75oJfiegDxJO4V1eMGZREJcVR1S3I+HOzl9Ybn/EjOBWDwTe3a3JA2HudPLku
L0RrWU/laNFmYuNfaYYwG8DRXhlfAx9SbRfWJ8MqHcDS3VBxUuIqSyKFUt8q1L2Uk8dUaJzTQnXv
6ujrFrE//apq5Wm6efCzcaloaE/D4seG+elySVpZn21lN13aUCgu81+2C7JNWTTBjp2HLn+CUzpe
q6y7Nr5unjzd1R6cZApYEad1VmF6yAZNPZLtx4G+TFzSoyYuyCoKwNRHgXuSa70xAEEVtbVNN3wT
mOC9pX+kGGg/C+Ts3++Epuid/bYRGqbjGlQbloMs/rdOcjKS2Bn1ZAf9f8bObDluJMu2v3Kt3lEX
cDgms1v9EIh5YJAMiiL1AqOUEuZ5cABffxdC2VWVyrasfgmJMxkBuPs5Z++1s8AGNTp49ZMVmmrl
1WBLSJc9jMlEZFUNwvU+jY5xX01CJSe6Ju1ZXhR51gqAwtd2Dt4cK6m3HDC6w/KWa6jCB1I+rmZ8
xZzeu4yzHd7tFVYINtmeFDHRUxRWfRVwfuhRCAv6zHow3qLFpjJPGSJxNmQyFt+0we2OCtYECTJ2
cA69sDk6bvn018/Hn2YUHAtcR1qO7ric8Yxfi1dYcq0o6nCAC4LdQScv9uf+HMJ6QGlbv2tGpG+k
jt1C2hmjQ/Tmm6RjrkRrXW0NDO9XtFbZ1Vz+xwrIbgQdBWA/b97fZ1Rhv7kPEOE4yfV9Y3RxtTKv
bU45niYWYzphEcYQK2IKMsa4nqJ42IRGjUZsMcoGjE1+VyareOj9bhbZevC8ZNvARtz+vInzNq98
ZTK5y1vKiFgLi41SlgUAGCB0Y5R+NBE2fw/RIqgk/1nJ/PXTeb98/nh52YbwGOLo0uSc9evllWVL
yljgKu7ZpUfYuMANOlptq7738Gq59lcH4+PJ7Sc4KD1GwEYBrfFK5pqgzOlgMZbULan23hTH6Gum
71blbpjbEPleWpgeXWfYeGkSkVscusAwKkj2E2eRzE66F1spUAjg9virQckPJyfOf7rqmTdIyqgC
ds2/wunBc+l7acTWEVhEv6JudHe2PksbQVIFJnjKdwW79TkTlvMfJjqGtdxovzxTHJzgh1uGtLjw
fmmE2ZZR2gyP7sNWMqgSjR+b9x9hBv8cg7O83h+wN1lX0xNvMPUwRerv0WAgKDNSx8acFd/IpcLU
2i63rJt3T4lHJJLQQYMUUfGeuHLaIgyMkGw7xE9V/VNkdIRL1/HXtCBnpc/k/qcGJJD2lsw15I9F
RwaVVL5nDTCFls5p0wPvt7Xyqc3ayg9Mp30SmefuotSTuFNn4wIZKnoQGtmWduus8xq+wd3pDCqV
mT05h9j10NUWzRFDwvRI2oK1HnK0HveHNrLkEWfzl8Cqp0PeVqOvYZlaFWNn7kxI7nenhjcjNqeT
Xazp/n5TeqMehGqqx6ZK6lVo//bzWBWPhJeaQ//cOHJfAqPfhtTYx5JDWJ20CfmYh4XscgZAbazn
CsLigxW7qX+Hct+PDmGqn/qJ1A4APLgfu5iLYHFcqSh4CEhl8e9hlveHlHzunz+2dDrnfKfK/rw2
41Z97roUuKJu99vEddJPLn5xN6BICLSYRMJC5CdbL9KT6yUEPJNcS4FvoR6427eaDGfT/SkMYerE
HaRjA6oMed+4FkZNIJnLzfpWD3q6txu73leRm+4LE8F05KoJuiuc+0AEDNl69vu8Cghm9ti318g3
YxR5uyg2q3/b4Ys28NPKEA/8rZafQVnc3iUweg43o0+eWWtAOcNMo18sup0WkktXqJQ0XMd9i1BM
uU1oowjGxHnfiO9vMoL47a/Xl7uo8de7xrKY0ziGJ7l3fhmtTfU0DdPA0N/RcXb3Tt+dbacg6QZq
PSGKeOEblr0hIq71/mbkVPRzTXLg8OMsBV6F662dFE0xHVPpjKsM7m0PJqIxQYQ4gBbdNOzBtYOf
sKqSFCC98m0PWGY5Ffp+XDwdKrUjelARu1mFujmPD4BefWvxkHYYiWH6zZ+8tLEvd1FS21DpM0kh
P3WEjHdvPJhdPe61YFPofOP75T0Qv7PWXBKAQ4dsHq+aL3c5gXLsU21NPbxY0aBtyl+DOCW1gKlp
OOjmJzGP9jJ8dc/pqLmfjWM8UE4JJhJdAN+6bBZaFUL79xqXzKrTqogw4vmxw3DyH5Y089ejBeN+
w6B8Z3ZnuaZ3P3r8e2t/MGfb6Rvp0ywv15HVW3us6Llvk1mcCfSMA/iYAbDxjpTFdhcMDobNRWHv
SbUNOq97utcaSTfoX9M+CI8QhMuLXmfF2QhKot1zIR/SNn8wOUPHWWKe7YkAdnPw7Aet2MaLps71
urM79u6hHsnv+OuL788TNZrcjkfgIVpqtLf6L0u2R7q6ZcUdoqDlwGY5Sq2aXi8fhgpDygTG+LVT
Vob8goHUTOTUptYZt4ZjO50JcHa4Z2N4tB12C+af9R4eA8nCbW1cyJqBxG/u//r3FX+SfvP7uo5t
SOQpbIy//r5Nkod0JIg1zItKnONutK+Gd1Gj0B7ub4wqt6/N1CHzKRhadvW00VvXOnGFUft7OAv7
3NxhyUoPcBGC4/3B1c0M0DsX/zKksRBnroJhsjdaXNg4HWPiifTA+A9PvfjT2Ig/xRO4AQ3ueUd6
v/RvvMCsHFrgrZ+l5pMT9dhpF7WYOYgPKw1BuFfHIFjKsyqoGK/p6lNoLLFB5MB/42rInD7/OtMc
XPc90sgk9YxD0nHdtO7ExWMbSKcJPPrr59/+0/PPMNk2WaU8B62Y9esNAZOptlJHuYBvD+wBw9Ez
fiuaKMOhOgyLE5+MHDrU7fPYcKgcc1lsxljb/+z8SKtZB/BmH017XHx80+MgrOoo3dbbmDpEsSno
b7lREKcJpezaqengpQoDti7BfS1gxTztrqrPgkN09x8MME/skgBp1c+k+C5cjZ+1bTXp2MiWzv/y
ILqUOM2JvHJUrO80IkD01EV55ir7PKBg9k3qOVSoo4MLhYe2Kd0drDoy2QyCWUVH0FANsIzWc7IJ
HCV9DLLzQzaP8wOK/N1d+zTH9XPjdq5PADQSY/ab/kKmu/kARy7YgpRq/sPi5P563PIsgxmVLoXj
uQIPyy8XUIrhF4JR1f0emMBRnil4raXnIEpwfixO+1pCB4gsEoCI8KwfZTsFAO9IMp+z4piPzGoW
31M679gDPHm4z105Xal92Rhyk7kZA5mA9Pi4dmkTzmZ/sTQH0jqCzIht6RUhWu6HqQxfx+V/iWDH
jIoWBN1CR5LkfY0LoUTFwSN4SnTTle7tBBr5Lqvi3T2BY8iI0UAJXW+5BeJtm1SbcEJ/l3bwD+z8
aUD09NwCiQuY2D2onOmHJpAbB89xyn7fuhEOQ6/edWSjbyMOHp3y8pepKiy/6DBNLtMJSxgwo+xB
W9dLox9hAzZP7ABuWV/u6VdBoH0l4HRkzsYeeD8caSrvCV/M0QByXkmTItjfhWkNnZqV4drlFbKq
YwRf4jp0H8gJddd/fa/9WXNDzWHZSw6cWKq5XxcIbUJcY0ZV4/9UtxNrUl+Adwb7YG6JW/+4Q5Du
D3HSE1YHh7ikpBwgqTnHOW7iY0RHfJVl2nilkF2S5CxzYxpDtlczplStJdoceTy3igXZOQMl/KC5
7cwx0YEDNF5w0bdXBkE5/n7vwAY3bsbA1j95DRLPxFAOPsTS3cSuhhMAgziyu/nV4Sp5CMrpoTJ4
aQqExLwO03sXzfPaxJdFbRwmmyiMjLMVfm6Zhzwy307+QxEsf53gLjIRtEq8EI6pO/qv3fF4jmaU
kHmHP3bWLmGUjU91GH66471cy9S2MxdLhD62MtLPuvRA0ZvDk11kzz81IZxl5QCAsOtncgRFTFlb
Z34tmvd7BIO9eNy8oXJPntms++Uiy2L5QmWLPY3myv2qAoYUH03mAqbOZOnnyqQ4FK3uFiIBafrC
7Xq790QQEg9ll3zu+hANUjV/9prgUmfRDUV0dBuDxadcsSBTHubGVpMcwO6X2//9g62qvdusvpXV
hKQ+6n55879emG+U+f9bvuafn/PHr/ivS/wNjVb5o/v1s/7wRXzj33/w+qP7+MMbm6KLu+mp/w5S
+XvbZ91/O7+Wz/zffvD/fL9/F27j7//42zdQ6d3y3cK4LP72+4cWp5iQ7Ln/dJYt3//3Dz585Hzd
p2/NRxF//Okrvn+03T/+JvW/Cx2jFSJFw6TRtRxF1PflI0L83TAdFKAuBQ634NIRKErk6P/4myX+
bjqWiW5PWLTtHZvDfFv2y4ek/LvpWqQb8B2Z2hj8bv/9lz/+LAd+vhr/swfuj3oyR2dpQJvgCc+z
6fGYhvNHzUk9NIGXtwRTAJDdBZr4VpfECpo40k3x7d+elN9/9L/b7QyTptEfKnt0rhxTHMdiw1kU
LnRC/vjjpEE0QGbFi3gnxicbaxvRCZdTS+w9uZhY94WX4J5EkdCv22x2dq6lYYaVwakAvkAcCGkD
dyVnY/5mZYqRPoSAvRu10WOwPGRmYK9tsz8Qwz3g2e2ai5lpVxEr/VpUbs4wbhD7vjBy0JPHYOiS
ra68ZqWWRKXpnw+e262EzfZlVrp4rTAah66eHAqFLSMpDfcYkNBAkZ/AwLCCjy7R3pvITnA1dz8c
sFP+rJoUOgR5dVMYG76p9E+cfMu9CqLZN3q9uvSpQ062lUbHBAbwlgbayaoH44UeH/Qgr8L4OCnI
tw50ASBp3X5kXMmtjUXqbptymGNV2MyQjLSHu+8mzbBuOuV8JlUFYmyaqH1NeswTjc5HI8XPzcam
r9vQyZF5KcQ36FFoZUwmsTzeeJzdbDoay0M0jOrYrdNMq55M7XB3+kq9yA5C0QIkUUTtrKbqjykH
+yWIadYFwErtZguAloXRe3vIAp8A+8YH8n4o4mR5YI6Z7QwlXlBX6Le8WbgKNzrN2qeWI8Ktp6/T
lScjx4hdtvT5VX+2g2A6JFbr7Cc6VWqy8acsaI+ZrqkTzlTauv5iNEF9IFCKYOizMeLEaHXd9C3T
i3yHYnUj8ng/lNH8WNGQ99me1N4djfYlIfaFjfymBQE4VFAUCSqBFdSe/pUUwPfEM4dT2rv9ydA1
Uuo87N0DaqmW/IxnlQz2XpPHqC2qY18Hky+50Q7sHm+llcozyr1iB+zXeagr61jruOin0WaWSnzL
S1VH9qMBR14UJwX4+Mqhw7l2yeRcqxRFN4OlaKuaTD+FtqmfPEDc+7SRhxag9uP9gbLo2GOSPv/r
XfGASMcaCrlSaUbVLooJ7UtIRqBTxW/8BIJrTWLesvQb856ziZX7ATfC3u26Q26R7aElbKhG5N7a
uPwmFxqgl3HuvqsTLSYge3jS3Hpp0q1/Djotq98Os/sF2dzlvhcGtfadfL5snzCpWBPmSz5KjYdl
wJG35haL/aaU1nnI0ksyB97ebUf71PUv4ZwCs+jM+Cx7U98aY/IpcoObloXqNUa+FKAZWktmQGs9
LiP029NEFqxXMQorLeOghFGu0NNNT3E7TU95RByCo4xVPXbi0tQ0ksmiWvWd0o8Fjo+NFmr9Cjvj
eBwImrAVmRTQ5Ge/dhrw3djiJjM5WGN2KyCy+FZmv08xJMYglDuYEBCy5lj5kaX545QOe12mP9jZ
9zJbgKZ92j0i5km3Ua4/5y2J7SEpnhA7Vm1nuStECEZcorZOAkJlOGg1Ufu11hB1ET1z0w3UT3CS
td0ASbxMp0+lHQP01ULu+qFOV2NtEchWty+5Y9ZbzvGEY+faeMNBuAe4l7xxcMR7rq3nOuwAE5rt
vz3c35c0Vr1mNw93Kd3VQ6F3FLV6XpJWMD5pZjetUpQ8kDeC5Fz28Xf+3qeMNtqJxCpYjrXa2oxu
1nVaEjW/dNjvilMQqidKhPgwpsCrtSh66eDNsvIwyUrb4eeQr1mqJ7vY0cCMVhGLo1+UZYdOw2jP
SgRMT+bSORHu0yr+LXLN/vmAF5UWDefFOQBGcy+rcxa9safgGsgIHz3rLSzd5JTyJRt9cJ0PJpvj
ps7wTYPYRp7vVvWhUvWzi5jkwWH87JddEG6jJpue8WCAE6jJ/A0G7xQ6qsa7m1xbCoiHWXPCTQaV
i4IPDkM7fsgZkypJCnCJFqWWs8zupiWtK8u7194t8T8DYlpZJpPPzomtdW07nR+3yLOjRESfygHE
WdR67yk16EbMcuumDiDJtvjsWgYNe2nmR9Q8YDwqPPKdo87lMDKm1tOnwLCjg4cv6xLG1ssUkWmt
4YB+pDsa4dQS7a5c1vTI5n3zpNJdYmLlIT11mK1vmW4Nr1av8tMw6jHzl1m95t1YIirWJVmaUcnc
IDMOka59ZEJkL3HYdHvJTbODnNR/wmjwAvc+/uYyGAVwX5Y36D0KQYN37INgPNei8zaBTFC9TK5a
yVjKb4vV2grG8Uc81jSYzRVGQaKi1fiFfc16yWZ73slsJq/DKOKbHlbQFIkp9ILMfXUTGfolg6Hb
NM0EBg3gKkCMsZsyIjpWbYuHoUWkIXPxnjtxSjTsCCaJe+4BhHrymXzBVWZBUaFy7GHxRcVB67Jk
S3xY+aEIsOpz48uw4KyNAOSX4EPknfef8rEgM0yRQ3N/E9AW8QuJnfjoYjcAZtKn+wPg8XSjdFT4
jpv5diowAKd9X1/y5WFG8eDbymjWMdnQu6rLnyZxEdboi8oMGeA25bpsvOpis7zlBmYkQ+A3aDEX
+LYxfWNy6FwMe2+JSV48L7cu9//FqMcvIj7oLDCpSfUpFrkX0pxglUIOPijbZhxAMvsxr7n2Zs/u
ofO32iPl/1p3Cutm5jnwSzC+sdSj26x645IkxWNLM2usvfjZznQmvF7z2cmj9DeYUcfASO3XPAJ7
22pviuY6kfRZeZEJjbMkTnUaeHG7YZ/0J6s1D6NcdD8p5U6G/x4xuz0cK6cVeHqnFXX9wHg/ztae
YSLCsKpmnY1tdS2t/Dh7UHLDFoHKxLMtxnEboSCNtbRbQugPaMrqCKdWe7BrO9rLkYKL74SEZGiN
mz5M7bZqDf1E/6U7C4UUsdEwHgIuEetam0Dvg7P+Xh5MKC56E+bXO4b6dxZ1+jqYgvvUIA0W0bR3
GXrhXrqxaS8puR0B22NjVHeqcP15Sa4viN94z3L1pXSKt7gwgYaziW65IMuTFsTJo7c8YO9tNlIy
lBFTam976Dv3yecTbYD+GJFktcxBn3KZwhgdg/M412KlS8P5IuLxsWWaPhXKeu0L6sKSDPaHxEP8
aBG4sB7a5phVXn+T/ShXeNzF10wvGK5Wxo9eqjNd1mwXdb21K2tS4/Iwr180A6R96UXFlXGIB8bE
cY+eS2p139nxGtlt9lQLzDY8RebXtlIPSZK4HNvw+8/M3x7msPgwm2He6QN8oLsqPFgiJEiaKDcO
BEPg6NjXFLrxzouno20RSEZSuXo23PRgG/qwLi3HvJKepnFyy7sjIkX9bOpuuUXiMj3YUf7Wt/Zl
4kT7XED2esYuXGzINe3WDdBkjE3ei92atCTIdVniJMpb23y9D5izWpQIxrnKfo6VlwHzWBO46YLS
5nDYj2ctkuN5bqYv3MXVbmZcfpCzc87CuSXogoa0WrQpeOwujpzcw79UahPkWk4F9rwhggr7Rsc8
zlPLCBI3fphuOmTkXBJW+ionLlLGdsewBAvgzTbeEEyRK2+yGpDvpEgHELchh0bRCSonIbxI7QxE
4/jBm+Sa1hY5RdBICIiRMAstMu57ereAYQ+kq5bGcqB3GwQxoUnyqdF9HVxzuo5h8RjPlncTHQxm
juVNK50dbdNTj3PwB5+y9aIm/mog6kMOLJznbIjIHxvi6RRZg7mKjBx1qM1Ez6xaGrGxMR2DMC8P
We9NRCF4o48lPPSjrM4/V6IlETgPmm2S5TFJOd0PORgFruZpFRhsT4yIimtl18W1WB6AJF7FuFg0
/vmuyCONLxIE71qNPBZBLI9zQ9bqInc1RWNzPOWhEnpIjl+greNGqlOus+SUxD6/FTauySz5LYz6
/DnKjce00OI32s1geSJenT7cMTCFspeEIyVaum66EkJBQYz9VGJmLQfOB2C3reccRtQk0L4XUhq3
qobuV021+v4Wt/PXBg0j/H8Ah7lJMiUWguatKkuSzfo5POcZUxq7AtrYSoZgkd6mzyEvGfkWNRK0
IJt9Odbta6NJHzx49l5Os4JK1yE9b/ZFFU9wtEHPstd4wKG9ZK9wZXOoDOedWm6ACEvic1O9cKB1
V1rjsSC2jk6kXFX6pqzUrm+rmUS7FzvuEXHpyr5UyJBRAzYA7FO0/ht76E3OvxwF9DF9wdhBSvSE
Zj4WlXEoJJHUwxR4pyrtvzJuehmW0jlgIVsZ7RElg/4d2tjOkJn6ijtbp/FbkdPI1bEtLBQwzGu1
56jIjHVVC6bbmVUx55D9NUzx2O57V48Zk4r46ogSBjCDNZLIi3l/j6JHRxNQus9q0xDuuCMxa8Ox
7ek+1s8RNMmkcggyTua9Gcs3eqICmzp3sjUY8YkAKm2XedHRA0F76oVxapzplrVq2OkzyFiotRi3
xLJf6PJRV235TFtA7gi8p9voSh+UUQSVqsYpNEzwDjoYPn2fPpWNxRYBbHcV55bz2CN+IB7OPSW2
iDibBu/QavOP2QaDasnf2Kz4ni6i1hB0i+iLrQhng3MVOrS0jKtd5EYpftna3IDChsFvctSpADWG
Y5M9NGA0jk5o15+ka++pbpMn1QMFqipogD25fSuvi6ZPtUot32BIcDCcPNvIDvynTT9yX45ibc8f
ysY1WujWa+vIW9HY45oaneCsrD8ls0GPdEBsFJSlsQrKjFyZUHsbAO1igdR9TDSCws9EtoVhdlX+
GM3ms1vbASYfKskSjUoCw586K/xN6/snShiZhg2LQfmgWee8JStQXjpiBFdxG5W+8hzyk5njrZUi
RkQk/dZqmB5VRA7LEc1QJeRnBB9HkxbQTkYUNo0tYEqwUpOv4X2qgtE5ZfIqEJqs7OxVdNBXNSbv
fh3MTKD5j905n+zYxBNatc0OciZwMnU25mAiWytnvpiqxXt4DVirVqXxMhs2y4Y6Q0GSK5AgnNOi
6b0H+a9e8PuAv0ID5HpXL52+C3ymIKRDJH6Ghnijcw9TH6p1U4eO38iPWBKyWOsy8scOQUqS4bQy
o4CsuvRhhHJzCMsUNyZh1xPhzVWuNyvSVuEMDOuoySvSN2Y/wRm3TpSNGLZL2OjJNYUotZ+ar62F
hs+bQY0YsK0nO08oYvS3as5u8ZwLPLqRX2NLWLlOBUawfeiyzDuJXlztsRyB9y+ZWZNYE7bV0gAw
J/KovXCVqYCEBU53fs5Os6roeaz05bXwQNq1ACe6VCBf0Cq7PN4fpMe8sFSNd7CajUPW4koQLcsn
iHzTOtV5bL1Pk56xBA/OBxKjZ0xt71rPi1kN0TaXKKuhd/qZ3hxz4nk3nRU8xqN4FYjcjVRLD4AU
N2mg98eA+nYlBbiTCmMyitRyPQHe8Uvwwd1vTRd/6JMc4H40n5JYXdF+vnhpf1OGpa+kV99GDRn2
sKbs+bCtiY6iQ37rBEWxma3DOGqxL5OkZZJlHpJQT/ZmZ6D5GPcT9dGqsaBdOqn75tBOQR/8o4O6
xtkawtJ4y4h4okV2qEb1rOr6Cyls14LRQgTt1eNwd246eVYhuvAOxWdXrcnAPpfQjgCtajfcVbux
dT6sSv0mZvEq8XMPTfR97MLvBVfMqocMxCCpWeJj9gzziQ0g6N21oAwuAXqrgFE48le5aZryxS5Z
sSLXSn0R6AmU4Xbc6hVZNYM9Hz3lNDgYeAFttFG+kLhWNKiwWdaDCR6TU2iKKxMyop9YFXRY64iu
dZIObCBsqitv6fSVCORm1YC7XbEXcQOj70EozFOL7+JGqMDGTioyFsaAII62mdfZEuYl66+ESwZ+
2zg/Si26eHWGAtF7oUdB0IbWJ6tIT3pfEYWyYi+S67mghjI/PAMknJFF3+apH459Ef5Qoy3JGAa5
y1F/BiC2buvaQOhOh6bJ3rNIsrJE0WdXz56cZDBWvZ7KVQDvDlrm0xB5H2mAIaltncY3NbmbpvSH
PqcY42cyhpLYfZtn+zbH/SWC8rQuJvlFYTEZYEj0lcZ6kBgf5AZgwi/ki8aQ9Ew+MuxYlKha7ZB3
1Fo1xrESgx7hqZlJ/IQpm8eU1j2XZmxu0NLcHEHIoopnorqZcG6WiQlswi7eiEy+D1K8EeJBbkkS
80I5IHMKcI+1rVmrpmr3WcWElxWhnD3Mao0dr1LAxHUfk0tW7UuSy3ynMenQN4C+jfZSF1O8QhOT
4Yn/ZCkc4KVtfWeG+b0xH7OUG3AcvT1CXGsSv1WOk9NK0NyVM1n7fsrPZg4qUPR1/wQYNIRxYqPh
dLDlgeRcpSNu62SY0QpKmnFxjG3JNXY63cBVkWndLjdbRXaLc8CbWLMgEJ1l5+FTNg6sNRHU7yRb
yN9ZeV2UbtMYBAeh1wICfN1uBCYDP5z0Jcf6pR9gBM2MJ1ZlAUU2xRAtHSogcSy94VK2znyLEfwD
GfaQddXVF0/Oaxv4ErjBPmJL54liXke0lvBsOrvKPdjkppASutMQrK6qxXMlbQ6u5dh86U2I5ZRN
tmXyTNe67Qey27l5LQj5RcKoKbIQFY22dYkfYpUHeriO9YyyqSOzZ8CXTnROvE7z1yGsvW2AsUGL
LGs19JPczpEC4W9kOua4hdAzfIMcKM7uVFuPTfzZZI5z4Cbax54yV63pzScYXZjvSjyrFsgrl0Pb
sZTqPTB1SnT+aj+0qnFb5glhd5QFZk+i6hi1WDIxsKxBwaPqpGO207x5a4QWkmWnICYiTB/0yd1W
rtP6qG+uQ7PNk+yI5I5Tw7DtSfRALN786MTwknaYZbFC+Jzyv0eZ+u7CNfPZXGzsA/Gtj/Jj1bS4
UJ2mg2xPE4DD8NZgurvH17Yl1EKumzFPd7hLFlXdR4N69FwrUr/1714nf9iufKrG6QfZERhUkIKQ
RNWdsYcysNUK+kUznt1khELijo299iZxspu85EDWP7WkFtUW4VXkhQYPOY0v39WRsnaW/Bgzst4d
DqtKkNYBKXTeRUg7i4KG8mhrxpZpT7aKmCUDXq12rZ24a9Ntc+J0lPBh6u16A+O9RZeYSnj0ibl3
NuEcrG3SIHAGeDuw9qSZpCZ53AIHUZ+DkClFUm2rjOjvRH4Eid6sozL6AIBlrLK43cu2B4PjgVmr
aA5HCcgI0jXw0iVCoUZTT4PTSl81AuX7bO3tjlZ2T7lX+QkhdZ+iMSHzEHQZRZTzwqVoG7z0ZKkT
azRrLDmpRThkk++5qIO9EXVXsNYdNzWa8UdTVZQgMtG3P98Z5qFAAEoGMB2S2eP4AWZoqwh3xlme
E3zbmy1B7pp3raUGhz+NTpTyzHMCESKxa8+ooSBnNPnRWMIIA2WyCQj1eQiV8Vibw7vupju9tuTn
Kk8S3Gy0LUOjbz5rFDLXeQ72kU3m8DQqMnPmbrp4k364K0A5w4YnEcENSNrmmrmiAijUfmVSA9mm
IG+d+CZCeaKvSRbA1sCUmOjxK2rT0xSqozvqzbvKzW9lljsHb3nRaX+tlojgbZHeIm+KDlM70vCA
a/ZkL/EMuvGKDt85S05FG0v9MPTPqYg3DY3ZtR1SYQ9LFtZof+TptJvR+By6LsjAbeEcarRV19fi
IaaXtOrj4Tm2KtK5DEi1IxpZ5i10OOlC6Tt9+VntRM6nFp0hB3dHprzdEb27SwbFmsKNFlgm3E2W
svnaTn4IObWccjzxUW0lnM0Jzip7CFsIgwiAGJcYI1FgiRNXMw8vkRDx95qoWA5U074zsnRv0uNd
BVasn8j6YrMxyelSs2pfWgBcvioe78bhOPHyk1WMe2sitQw0JTH1lF6+3UOg50h86QLYHvCvivOc
0FTRJHAIKcdXXG6QYIOqPMm8dalv3WHJ27OWyoiCNQ0KYCgLfS+6zEY9Mmbz8MGVy55oFhvbcRDe
g4uDEOlcW7rcV5lTXJL1s4nbJjiM4IKreaAHrlhHA1v5Q2Qy1oGm3DL++HAM2tQJ2Eyyyiiil1Ch
IPc+xCC1nXIQNUcdXLPGdH6T7dxtB4IzNlZh6VdDODth5e3N8ab2Zk6MCieY6Yf7m6VhEjWUqHeH
UxMAP2s52nN+G90naritM2kfZOnoT60u31KaQWNAy9YpsksElqKyxYNL7NgYGDtzMC9u1tsYNpXu
00ZCuVFsLb2fjqHGOue2mbluXXZRTejZwUI9UpXGZk5FcSvFNF+Uw3iM1jEDiuYhD9J1V9bqYDde
49cR4W9taYrztzly+oc6JuvIpfMKEqbbyHCMXotB7sTgEuoZ5xegW/nR5nVcoe4yLhaN2ijDL838
FyqlWUG0Ksg+txnQlE2Cq8WKcqq+jqSPYtqlXu3cAK5Ua2EayRHwDIsfdm+15BWmFBF5gak6jmOA
gwP19VATJZUUGBHgFZz0GttrklR06Riu7yxPvfWW3T/Pjc6ZQTEwJDVwp41EFFYinq9DqqoHl1M4
Q70nbLHZiUgIqkeoujugPgmQprFgvqAxQuBM/DiOY/RohO2bN5Qky1Ww6xiHbQxzHN6daHqMKYxZ
hhvnaGjC17gRtrrzGBExwPd97foKeaEmrmDTvwwOi45F5jhBT6l2yHV9Mym2j6R76DQG0jr3AaEO
ZWhvetVML1HboMpHhY5AMYFy46RMv/XXtrRNismIPBYogfsuoq05Hq2xJTwdojEqW4/X/uIA5vGB
d2lbOEPwZUCXaj18Tuy7i1LIunkh8Nfcrv8/See13DaSheEnQhVyA7dEYBIpykqWblCSbSGjkdHA
0+/H2RvXrGdtj0mg+5w/7sRG04deVhA13id53BpxNacBDgVzuBvoOlhXS/35bjb6Lc5VQmzc2p4n
w1yOvMmcqitgrJ2bp1kmj33uzFFvoGdQaXkcnXEIyWpv40S+llYPDZnD1Sj43l9IeI9N1+8yt5aX
XNc74Hks3WqcH4leNKNsc+hIccviOiRWFduNRubV1BzJIr1u/hqXhvieU82CY6Msd8XCuUFbI1r6
QRBZI+WY8VNbLu4u5SNK9qgz6O/u1IqJLVx7GOIKnGEhTOXM0xquWBZiquJIDJcZMK3w2YOH4VOu
3Gwgb4J2eZRgZMDtME5FFHXPO01v7cC9U3B5UT4Rx5VeyYIFD8Iw73gkByQslfP3mogTWuhPrSEg
Qde8qy18+TgRTWa5q6BbAjEn7atxhoZvN+4Sv/Ee29bz9sJiXa7LL7/lEe1QfUTTgAcADAgtP8tQ
f/+OTW+lH73wz3WD7tbANcdM3IxRtlugO69pL33aL2yeLXe2TvlI3PwqPMIqc/edm6/YzQOXktev
+0SxGc6l9tcpsv4enuOEbl6exeq+irYNLTGbj3hP9q7np/tstcegMxXZBugUxB1JnP1MPY5A3TBR
Qb6R/zeSepYM9rTTZfm+VY8S4DtcsP0HZaGdBh29Xk1bF5FG5k/qm3FNMU0+20Fh6Gs8m33oK9u6
3cty6hLrOr/nzmlrpCSoJfSaRVe6M3OYRpZXx4jVO9jDp2QpY6OpxY45sg1lmd6WmmeHLJDqZa2M
gdhNeB2RgJ1AJe02Mq6vrkN2Y0GSdJjpwMgaUpG/EqBpqziqVoi7B0QNhDzgEbwUk1U9tEtSRzOi
WvISofO31tzXwJG0wHl/kjYlZENnZ+DSCkvTlWFrrDaMGySd2zlfhjdGxkJUTl4qxlhnpW8sp5uy
NmiHLYjX8P2OL539sDLzv95io9xJsiPiiFdQpe1YQhmvyrFvtiAZwiYfi/3UNeL/fpA11Q+YY+bz
mi+4A6tioMV+NmMYvovVELIhuuyfy6sD8JPhG/YprCEVn0lUfVTTeja9dg3k3Weo+cZ6K+QSO6wD
yaKmC8ZK6jW5hIuJR8+jVoNpdcNlmEzfYi7HmKS6PJgGmkbGArFRmsk56IaMOhSd7o0WFwGuZVSD
DLuHkS/R5+DducirblqtfXapNZ6sFvmD26jT8CcjVO2cMtxFWY16xUpy7yD95qFZEUong1UyDMyY
Ku4/NGnSxHKdPjvhQ1ex4O4gxqdTcYcdwDKOHb9wswndcdg5sNeN4sYV8t+4Wx5zv5oosktmM7Qn
OJ+etB8wTKw4MCnaYyJYs71JOAG8KJIV5DaTw03c2jdpNT+zaF/sunZ+Fw1nutM/uaPLTiwTcjZK
g3BFs5roLU+NHXBV+cBixQzmbpTL8BlYcpnhUtRHO7aRRSVGbGnTrUg9DZ1QGuUuNvhtAxtZhgkD
Z1k/OI5y4z8Y+tMfArXO3WCvZ6oJ4wnA9sUfy47v3+7OPU/ls/GZOxrl0lJ/RZK+vlnokbmVll/m
Nn7qvage/A673iTcmFBsPyy2u/bYSmlt39rPgqTHzXWtG1lR1g3Spg8cYy5DQiPIuWHkirDVUOk2
gIURKrvXptmN6o380K4GkNY/ewCksKlH/NVFxQF7Xweo7EY+gcSeOM+32r5/i9qcnYjB158q3ULn
mm6vKd/ATjWu8eBKzNqlsJsdA1gaFJ1mhEwJ3oOES8AKpAsGnblG2GY8OzM0Kl25tLQrwtQgRtX5
v3+a4E/j2te+6SBzT9N0yOU2IOmYMRbOHKwJrcPBMKp4m5iUawYjc9W+HauP12zM7ihbONaiitl9
8jdvTdqIbDGS9kc8eXWDFdofyVSv++ykeds/S7hmvNBiWdZm+qDjbSMHK3+d+i6LMQfUu4HyFReU
NCEW449Nls5EcisGHRchIWUMvFP7Ynz31USZY7GyoqTsk4UBwjqhHWB1KxAQlDmFVwt1O1wANAlr
11FfsfCc50Vav1eHenIDIoCkBWsPsey+NGm6IuTxzy4rR9wQIRYUgsa5Rml2bPcNcou+CATGZ2gi
yDtRPhhypmd8HHfIqtNgMfQ9/avbrqtU/5ImitiFzj/ogqdEH3VMr5v3IMxJnW3SB+qhwJ/WeetI
vy4Z9uMUVxPKen3QZOxN8uhmFGzU9DWNZLkcjTn7WKVbH/qy1S9+arzhqKjjVhTPmkbORSbuzyRK
qYCas/Jqm++1YZrPhCiWddIFbZ59SavkH7p6OKhF/Kvq1mJscwGqvBijBx0/cnlb3bE6zTl/9FJL
CnfqikozMRyLRyyuy5Mz6z3fI4WbWd4c8+osCCiKR7sVO7qpyW7uGd163rrd4so/uMZ6nmlmMT5M
aqr1kf5MZelH/LWX+Q9uZBMy6oRkqYmIzscX6PHXndZ1Cn2AMCRixDaauO2pgPPbPTpcDoCiPblw
fg5ZoHQxNR7pdsTvkYfv16wMLhKuk1NOal8Rqz12zRVglvLB/rHIp3Wn2rU4mKoI87V5aiaszrot
CBotMkHMsQJqsAiSmIrZ3m2yma55V97StaKpRs/5Xn2+OrOt9k673RWOCT5qqpbhpr+4rk4Ylawg
8wkOcid+/ToXdHdmP07L3eQw8GeD3l8tW/wT9Cg96oSbpIQpdlyyFDE0wQi/viN8LD8U8rAW+3TO
LZZ80CLlDssDXpMIE8Z4MIhAyHPvwe67S2PTHrqkJ8/iRcbfmpZ9fx7sgaQ19InYuLQHTmi2kaYc
P1bb0F/4iPbNxpGWZuk9YqR+sBtkX65Rf0l39M7A30sE0Xs2dc7oXl9SSLXlR1HpdBzzrb8WGtnL
M50gekZdWjnTc68n1CZKhwm/glePmpQ+bdqjtUO1qAjFmx+P1BPPFUXuaKYDraS/oHDov7pHPVOO
8IusJCfuNvdGrljx0MH7mZIDB2cKtp9l5luhg9g3vCzqkpQrqU7m2IW3r+bZIvn5dYJMpX5U2xcK
fsal7SKkJfeXl0j2Pm95o82DMbWzhl8tLQqRY0FEeb538cbqI9/wm5ueF7VrU75PI5/sMBFqU6U3
3XwvM8s75lrPxI94rqYPuR5RGxZk8ISrpYfsP+KottLaV7IZ+druOPSIlc+QfVTNWhuhQJzfCXX5
yiVBJcSy9ZHHF6TxPu36gj8Q7Rw9qB3cktrXHSH7hcNFpqR3SAv9lghdnayiLkJ7pmVqXIbnqSje
XL3mbbPGed/adHA6KcnnJKEzZM5vaTL/JoiRdGCoVQDWEqFzSbFQM/nxvF4NVKhMhR0qFW17hLcD
ohM/C82YBEssXdi4Sg+Szq2v3uy+UYD5ri1k3d5JtJbrIUxaP3II4kGVO+xqMlzPiLne6WNPu9Q/
FGXHVqsQbhFvV9V2ei1rccfkUuCcjtQdG07MweVb2z0KR58otkqzYpb1PFowMWFaZrhOqcNkxpIQ
n+m6g8YvAFLRWf33Ay8q2ZDS+2cRWxRXzkJRtjjSODr05ZXeqZ0UhXNlJDLQ+dhvYqB8gYKmq0kY
0j5Ju0cEY9YJNcl4LE3INuj/kyzG18Qtims79icaXa94kg+ePpsRle0X7JqPNjshViMOteHDb9yI
cK1sv5nofPx1jNyyHfd+4cuAGZaTg0soN8FG5SnXnJ+8q73jQBT01ZTD38nrb05HiprZwOJSbchx
VyANG0wKuRm0akRxiu38yVkVnZPdSlWJzYhQdeTnD0XsJnDMpYFPxE+rLFhMsGQ8OUywaX0p6vl9
TqCRVJ4BpmX5GX2hF+SMHYN8cn3tWAoqn1RtktxBtKFYl0s34oiERuMs8XJasSG38nuJzObDiXYM
bRonQzyn6bNDBHHcF5uGoGrZ98TpALKZ5I7ShOg0v43KtB89S1KbKq+0ioVpMf1VlkEV7YjkHBPx
2ksGGz353gy+FVSpnyuX7I6R4Z8z9KTn1dYj20Zs+2UdFT61kWwce9HkNx1L0UWvGvhncZeBFBpH
2MTouw4aKRtNwIo/HMSwhfqo+QetbKFIGp5VwZ0e5ZbuIJ9edkZtWufsGYfTu8qLOGk0LTxWSZ0d
eBvyKFeMHUXtrbdhFadpwEuViXogAZKb1F1zjT23G4JypJxuEtjFjJpKZSc1GVyg2Vv9CVw43w+j
2+7YIdDLbLYVddnd3s75XedLiA2iIH/R3K8t+xhMnGLA06jaFVVG9ZY0geoFM7mTnmbLqqJ5BC5I
OVd6tyoeGpI+8ZF6Cefh0u56wrwjPvzOJ513SXSIN7uTJxi4X5unP5mTzaWwKai4MeM4R1AQERG8
y8EpX9GsPDoFOn8amvRdbtUfJgNlMBuULPZOXJpGgA6AwmSzJccQNNPJXFwXVEmBEgxncgj1iAvk
rFJ69cxCZyhItF82SvET6/kQLffemMnKHzOSUkJPaUPUZzjMzRYZjH6nF1NJmZoxdqEtIAPG+3/d
WB89n39V2dneU3USjvemdULxSBKdMFPQS7YrkjlB5SP/1jDxwSAGhjFvCfWOBSQvtSVI7qGBHnou
Qpgng4+fVroFH2jQC9+51vYKzT9wbnvFsZYgSI0yHgcTGst37y3z+h2v9Wf6siSGDVCXTGifA8Is
eDMivpos+y2S8kZw/POsoSI1k0+dUEjQUTqfCZ6xXlpa3ZmMlni77/h1nmsxEqE/mp5RN7DcW0H7
dmdaD3x07S1nKkefVhiXMmd/Rm2i+6o/pZW0nsWGb9/iOeSkncKtSkfk2gMA+rr9di2CEicQqmLg
GGyYnwZwlwBJa8iIK0Ju6b3wtvemp7IVvouYqfZmqvOMYB6cclRRYZofble1O1vr60hrljakmQes
d6m+xnsjCHUbfzSmZD3Jpv2cG+6uNE0gEcZiwdsUYmG55RnaN78cfquVIScd0/7V9fnoMdjShZgQ
aG8LbICqZcczGvlcEE+F7pAqtY6Ao5EUg5vI+2gznHo/DHZk8GoHtLu3kQJmVIZHbIdZPNFPTgZB
03yWkHlkLnlA3UTyHVKzee3FMlyIbuD1SbcTonkEkeNx00jqMfXil+t9t4NphHYOI1p99iuxoKa7
MDjys4hQSH81F66dUahjsYg3HgmCyWWW7LsO7cGEnOpADCI6QTnkHKzmDxUxpFUlgCom820sO2o6
mg4ZopGSMIgIPCZV9ndT9dDN1d7Fi1sUQOsFicl7sbSQ9eWVPfpmBNJxn/EcWPEwZTlmWoRbmtNQ
6Gj/3ogriwoE5jtlvyhSl+gZcx5MThIMGjD8W3M0uwKBt9KnQ4ezY6dBUAfcDvnBTbdbIQa0gjqD
T49afagYqBGLU45WvxmpeGUcTQ8+Kh8ieO2ftAEjr8z57oYJN2tN98VGf7RemF8bRHi8+RusTlvu
56y6rGbjXKyNLgrsb02Y5P0rCDWNTKR7BcorLbL+imfll06YJ/oQMxplO1ltxTXL+rOlW0+OMzSP
k7bctk1+yrYEY66AY2p1WsY0A5GTZGYnAu0jAOoeW/bgPGc4l06YfUyqGzEpoMZMQz8bHfB9KDxJ
e1JkjEzUa5E+ZA2xyi7mHXAieQL/ezIYkw1/QG48QZVXHOjc0Wg5twL1MLPXaQCcfECsdKQ5yTuY
2aKdsQVSqetYQ4iAyTkDkbjnylx+27bmhL5TRsW20Tsnne9t7OpQNN7rhnblpfW4nNKNpK1hOru+
oGVhs98p3t4B/DvXTWzMmIb/ODn/SBwEFHGi3EnBKAXlA2q2Hr0d4frPRS5scL1+oXLPeDGAUeOZ
kFw6B3uCgK0nMjNIJfdTGfik+hGf1Az3V+zJHpXx0DZG4Mw0Kw39imDHzeWNRM1GFwD7GRG9/xml
Cwwdhjwx9jHgYNutLduPabXGT0NP9LUf71liYE3dvYCi++0YCAXySogz9qs/S6mb2N3zYYeSmiRa
TfvuDX6TXoIRlCQQR6Nb57w08FqQsJrZ2nvdoVFTrm+Gt3AaA5EEntEfcJZNTy32IdahLHZISCMA
hMtDmx3ubzeRfEKYhHqP+BM2+UDPiKPMm/zFmrNpR4Tf69qnIGle+rcej0Pxx9RhQLyi+WqmakfC
GtvdytRjJ97vMnM+DMPBKuWRjZVNb0orQfdWVhTyrwLfz0gfqaUftAI2Y5FQEeOwHzNevxrZx8PY
p1HhdRTLdByXUyfoFl5gRtzs5ptgHplRfJs2/8eknhmCM+1Ki+i3WlXF7SIifUz/uLkj9gaCV+z1
fhZKl/Ti7SqU8PZsUZc6ZT5EZy3bFLzCT5xTdZdIkDjv6jnfR0fPduHf4JYocpmGOTCt8Vys5C86
fXeqGn88eML88kn2ExbuHWajWrNelpXmgxkQbFfXG4OSerH0DRdLk/g83t6ZvOpfqAjfO73KdvR5
GDi91Rh+raoHr9b9F8T+6Lz7gaagcYhuY9eqM0TvDhkAApzW6vZyQoLdPThdnRBjMy5x1d9mmM+7
GPCGevJRV7gNzWn80VUVCZ5iGg2DgQrgGNnB8pPMb6Ty6hGNTrKbPrUMqS7V3KdF4RMi/G+FIBI/
RpEc5la+k6tIjCRyE3zsDDeFTp3HiiUFvtz9V0r2+I3Ly4CbL9YThFcb4Tc6LSVlyFoKzQuLuG86
ETHoPLQ88zHWtzex0m1aLaemA8bjw0XdYh36mWQmc0FrM0ifmj8Cq7DV7yrVRhvChajI+VRT/s7/
dS823zgTbq1TvLpF/3fIKCFUJjq+JY8Ugs022d87reDbzEM/kG1uQye0T6WY/5pkckY1XJSZfiKN
fSQwCAVX1wB11GOHAhf5Td07bxmngOUX8DnG8C7unfAVpIvr5agCCDAJFmyKeG2KoLkn5aRIQnix
vBrd3b0CXYlnZ5AyYOgm74ru3v2ysSxOBpk136PVj7xt2jfbLUD5WCO1QQ2P8ACQ686gWN4cCP9X
CXMbEnp+E572fP9GsOGL82bNz+PPVPdjzKIOfLGiyXVbEqpwt1YF46MzELlYOuVZQawFes7Q1Sx8
T0nzJPQNXHHBRERcKyI7hYa/9HgPnF9Qkir6cLcZaXsnz2Na+bt2/gPADuawOvJQr/s060nfIBJ8
8VoT2jA/JyuoilOaUY/3h6sMU4c/z2h85zA1SDW2NvYX2Kgfyx0IdKPaE8j6AUAbJYqAOoE7vPj0
yk+dc5mXlNo5Bn76jYVa3ilF9GJy2SJhZ0OczOgZDDiDTsGGW/bVg8lJnXE/DtqxGbiQLVLfom6Y
QeDK7IfFD0QEDc3Os0YB31Z86U39PI2G/Qqf0u6So6Vpzgu+yVsJMxFXftdz2+TXzBrbj7U47xj8
+UKVuaGYK0M55uLR65CWZZDGltMnO7Kw/lqiZzZTJTq7bbH5qRwWGjF3aOCDDxojf5ZSPOICV1wI
PKOsmN+tBSI1+Zq168xnDKNx3eMenjiq7dazaTDcMNsVtsGDmlEN4iIBtiYyFm05T/tizi5oAJsD
Iua4dtX4kAuMT+lzk2zewYWYjTOtBZnhAV5nFAcdIrFJn2VQr8SVevVy8Asw2LJZjpvLyNVZLB5V
LTnDrOXN0kwryHtjPVCzwvHBG5lPqfUo6/yjmbx1Z+pZdeQ5MVgOCYKWtQTFrS/WmHiQWhMp0/rI
XrcaYWf73qNuqefR4T8X1e0nPtijkAwAtIpGkGLJxdTblLImjmGzBuwrKKwN1ZRATIDw71AOdRg7
8z3s6Sso6wdhoP5JstPrNWK4FNGEORCuNJpD9zDyvHUAzpgSMzsUlvk2JAmwv2aj42ymn9lx89M9
XgkCwHYOzEJefpY6SWhDs/wl4MdEvuAfs3pE3KOPERUgPKr9y8qhPNsO1Sw9yvqy9M3QqUnfcYV3
BO+1A7Ku0lOyPikouYeGTi1vm+vdtrT5DUsl+5U8Flh0bouvFchmCIfWXXJjCG73p5Ioqjn7BIyj
LNEGfSits1VRgtUNJR+RhhqqS/UjNjL+3tQ7ekATz73ODdDg70ON/QuQB2VbOW5x6mqvzKE7ktjt
naZmlJi69uE6aKQ94kVJjrxkSVc8mNJ9MV1UDC4QLW8HRak69SMOYU7If4IN9cml2ra/lOs4wrg7
jxr3UlXvZq++tLWyPrPUE8AWAiq4MYzQnTSqgibEApgCsc4Ol8UA1nIFlRts/3dfDRmzq4iXEh95
AgoR9XDGO1WUr6tHHLaViqsPRXad9fS0WsjftdZ+loP+lvmjuSc9pjvpE0evuPu02IwwqKoPr/rs
+CR+d4nD8iN6HNx9htK2tV91ojZTt47ziq2f4TLfGbjEHu0+ypfODIRK/D3hVlno5Xm3q8aJ4CiN
boZGGBSsNCK0DKaXUWb72jEemg2Fg1Z1Gki7vkSa6rTQm4AK7TyV+7xgqGJaOpl0iEaKipaRN/MX
cga8O1R9q2nyosIBZXCdiaw+pElWirlvBhHo3IW6Q7Ue0pmdwPAxGJrDt9XaV+plwQdaNg7aA1Ou
KTdoFreKC694Q8Fx//DW8eDoZrrvtJFwvqxcHlCh/iLLzzqPBfUCGxpNK/OfxruVj+GGHBqMOsfa
Nr7tlhpc4Pwi0O8pXRT/XSSUn4bYfOdzBRHbhaa02JNL61zy0nxZJsC3vFxuQ210V0KZSRIX+5xZ
408CV0BEp2gjPkIb8wOCYpOOm0NVIc4zs5Rki+4v1xB21EpAy2Z5F+TkhASL41MlXCNf99ombBvI
A0XttOXxgZrYI3p/ZVQ2LBEJg5/3E43HGrW9qrbl3Du/KUABaCp57RPdL0hwML19koDX3fk0DAvv
1DD+sz03ZdxoUZnhMp9EYUUDGlgQS0aN7Zq2jsk+DLNjNsPB2Faf+Fkjjcet+7HS/tNayDCfje0r
px4gTO5Pjy+A0s05/QBk0U6u5mqhtNGsejjbQ9sDXu49zi5NtNekB/9zZBNNrbAv02ft28MJvBkP
dEpyvgEHucdSlgWDzT6c94k8KsxTkQsl3qSCJZxfsAfgeKoawoEcZZ+E9N9plNzneY2MMuvOay1m
SC6iuMX66EOsgP5r5cUfUx8kjUW49j7mnHYP29s3ernGdyCn1yw201+oxJIwhfy8qw4bIsXd8prj
gihK/mhPAW2XJY4E7N5hW2SHrPLhUlPXj2slglHqlCl0+nxS1ItfO5/id+INotHcnHAqhoHCMHQB
ljPSQN854Cjy6hsYaonRQCvm6FHrrCcma56JqWa4UNq5t1jOSeuJSlT3oQWYgJwEHpzuyN28wPvo
qWvfttQ8JN1nqSr7SWjrrwoJdIgGfca1ExIP/1wl2ac+AvoObnu004UJrTVOnm7/6Yztr28bwUbp
yc75RhnggSJa294byyBFNHlMmvV5tb37+X5c1xr2o7POVY02TYGgLQX5ugUgwGGzEOhIf7KizWkZ
a0AOcUKFpirh2zZxmwiNBq+W3qmpfv5TftrKbC4g6n95AkRABNLIb0ezndejSfSn6Uu48kw4DrgH
6uWgz3JYAltioOOps9lxsemzLRfJZSNYoKGnbcfcoS4WLXfIX19tObqRmbMhubr6q/kLFJRm0LBS
6a+q512aDd4gWVK7k8IKl/TpwiRo6BqY5/pjbW4icivtN0Hw9olJFwN1x02k08IctObiQLp3Gk4s
7W/iNRqeH2tCcy3QlPlbjlB7nncGQia7NAA83QaidTqUs37oqxmxpj39JffGJcJOvG1IXAhRU0Gn
Wb8Q5oKpwtiFFUrkjpSVV9NwDkM6djsJKRQNM6h9j9U/xJuidkvFbG9nqEEBm1j9XvD36Zx0hRsZ
9Pq+uyJ79P+T/mbQ6cRP7zAbFbFVlm9DWbwgzEOeIwv67ODTqTrDcqIqPQ2qzCC+JfXOifT+ME0j
qN1aFrx64EXqcSv0XnUrNBIMvfy7AeILG1SZYZc25gUFPwxtcUzM7k+BbuYR8GMC8GRpF0gGJqNU
/y/g5CFm1son9CsE7qm8o0oD4hZRcE6cStK/99QZOfniULNhJOhM0MiZXUrKtT3IWEe2Iab0C/5P
Dza7wY6yKcCfCeAuS1G5KU//gsWiNOiuJ6onfT20qX3pJQaPdiRmGgVg5lXzXigmZ6/Gldy8gj/Y
D2lL5PSiVVT/1e0jVnS6QbrhFcM6mXxal0bO1r1wvJAKzAJKTPWHZ0KpUtROZzZpxJRPXZH2bFJt
6J6YuHy8q/ZGDbbpKyI3eJQCS90TU3KqYCijhlQbl+WSWw3i/L46tp6keJlCzjCBaAcCXvalnSWI
d6yzga1wh6WpixfaASatiSBEk8NAUMhEORFDX7UDVl1D5DSIta3krYFFPiyiCfIZaXeuU72AhLCM
p7J9WCR7AEb8Ahv0Ht87sAdMPQASqQBlJSNX0zALJQxcPlZLlC+ntMdxkOb1P0Uj+LGhhGi18+ay
OdVnbiOm9++lLiYE0qq36qEykj/TuCF8vLXJKi66EIgxTe9gJ6kIRwfLV75pt9nIKKuXRLv72gq8
+6OIDbzUToUEBN+4YjsJyITbk3TdHw2kYKRonPXpyehIwSHQ0w6cNO8DUSRNKDNM0vk8IHRGMbjR
cbe5YMAyBdnuuuOQbIDuRj4GWT7ZEWO8wwOliAaanOLMkgAk3rKhU6SwGWeUrrVuZgBo0NpwTPmu
bVD/dyWh9L205sduMfc82tNx1fh+K0ah29RTUka7xnklLmRnNW+lZ7hnBgqyDRv3UI+rSbDSsEb5
hAizyFL10BCMAmMnueLnJ1IjtFMzWNqJXBsIZpnI0JoQ//Vb0fHsge0kPSWs6HePm+ScIMHYj9VM
Js5/5QYgobcVF8tBrRk1JyYlTUPrAVlkvjoMKwjafT2LZqijYJz0GlmehaBaTj+M4NsZO6p+xmXy
XRpFGfcbUqJdhYkv8ACiQr3vtTN8Ewy2T9QEiTif7tiKM8LOP3myOixm97Jnmp33liuNkM21Qcuz
EaxV4DGk3st5HHJx+sLMXh5nTNVjxdZtGW23nw18FjpocNTWk4tG2FaPmDDxz2ZJ+qcTC4wKfJtX
vShagH7ldn8ozDx9X5uU7m2JZ+q//5n0hrf3/VbCOPBvHVZNJqqyOo40FSCz1uQla2dKHwp7PueW
eyI0UJ6mzLtoWobiQbIX1JJQXZlY4Yyp+LI12peWWT/kX+Tx6BwtI9niNpG/FcKxXbUOX7lm5yHA
IJfv7K7r42qk1xEA5WT2rC3mNo2x0e67cdRfBUxnUG+UTQ0cpAjl8PUH9KTKc5U6JFgaKLJWspuD
lgEK45uh7yqR+1FNW2I05ZLgzckN5znVn5oZc70+ZaGlDO2suuqllFAgo40DahKc1WpiXSu1CyYv
wYZ03uZqfPMEZD5UmwsFIheER7Wf1JfOn837ukT+/Nqbp4Edmz5bn+UzD7z27jdzmvRq6j1Cgc+x
I+xcl1qCstB9Lbv33PtYszSuvZcUXGIDG6E3DTwTAx6Lou0+pX39MAvvQjbkPUc+binnkfWBdjHk
OvWZeWSfIsntvJclSZA85PjtfCogcFINzIOCbzMviZO5wZzta7UENf1NC+KIZfDpYileW0QAm/JC
N0MTYp5Gzl7d8F8MKL5hIjVAdUfV49iysPKoHvc3HIF6NwaK1IYx8Lz0LRnPzoxkKj1qm0CpnZ+M
6mqMSzhCuIoOW2QNY0HS+nmYcRQgFQCAeiDUE29hShuh/DALl+acdx8EjKqxCKH5qUPErVQIumQV
6J3a65J/eyPVZaZ26BpWQOhPjUgrY/3QPGCm1INWGg7KWbHzyRj8+LDoG0Bh/5E5vIlr1kakLdau
CUEMLzGxQiGe08lRmci7aGieaH3/zOqBLeNL69xffPehM4pott91tZ30bgyqZcI/td4g7AmxG18N
DdWznfJ3ftTe0sJ8nki0dJo9uVgRHfOEmLak7h2wHjT5u7n+ppoyEukCPsoaobEvdHD97FRW96A6
aELZ0vLyU2PVROVMDEKw9guqKsqnS3oXOolY81t4z1VHWAPGnCQcZvK7fO1VGKi3ygtBB1WBFb/4
9OA27LLdpSPahs0LWO9TNFVoj/2OphTZxhtwSOWxXkwnvuNgnFtWbnUu+j4kkiaAgXgnOHA3I9/W
9H4/WigJmhtsDo7tK/LauMQbzwSk9A98boF9l4Mx6fn+c4t9oq3PBlAa+RLwSUDvZDnDjjaUZ3bW
A6avyUH0bUtQEAhZasvlY23XF7V9TkuMCjHQHETuygh0PsbNjbW6PRbCOSmwMEH8soMxFQDsgsBy
vxHIsCFB38gDLYY/CVALQf7omp8rm68HWWCN2s9OqHTqP1FwUOY+xZlKXltz3s9EeY3LTktYOOkn
ILRsM75sqOcWPLTc/uXSPZsGQejOBUafCFhEEvX/ODqPJWexNIg+ERF4sxVGIC+Vrw1R7sd7z9P3
oRczMYvpGZUE934m86Qjj5hL25j3ns+yTE8DGyAzKqjftpGdnZkREcmyq5ThKYaFlipQP5ghZzqB
kPGhTo64zHydtJl1fkd17kdU/8AzqHWUoEKyMerfUfOUSV+9tu774iEy5M2sZ7n/67TkV+GZLdMf
DSOTWB+AvWm0aHr/VYtHYcrRE7X+wFelP9H8OqAw7Pw8oyipAMxA7NpJGEfYMLJbIOoZ5VN4KRuw
CMT3tbtMN1jep/sJYxtUWAGPqWzdh274yEs6I4YErLP9BRC0krz2+Q+K7x0OX5GFcFJfxeJcgzbm
ndvFMlv95JJtQATCzSvtsyufCzQrgtZD6rrm7Sv4MB/Vx0XUDiIS1bC8mVW9l/KFVcu5EQ68IHaW
nbBA2KM828WzWrNbX1p3TCo7JPel0wMzv5aRX26DUeLrMyJdWINHxOGxoUS9KWoE5+zZJCN5PWRz
djBQwhcW913HGIzPFmOWbrBYJiMS0y9kqEnSnyckCMXkEfUO9Uu0JeGE+m9flt2OdB8vZNbXvMkQ
tvN9gcyhxFcp8Xv4JrLPlGNRwGg8wAzHkpy2hGktP9s6sB8/mn547XEgWdPiSMxFjcHB9+gLaIQR
bzoYOj2Wmw5kXl9L3/AiN2q/U5iZz0Ozn2Tw3QOdFFHpavuXsI2wGMpG1mUwUeZUQAgJgRS1o4C9
uoapN2c9FrQzmR47hc65Y2fB5IGRMWZQ3d1oywrC5+wCvORgDNc25KXL47PRBBCre9y08nKFy4NX
YdhJVJBj6hJIHWvtoc8ZJspkp/ayXVmJNxRshCPa8c4bgGjiquSA97pRZWwB9iJzyz8qIFtnGyCS
LcH1zoqH37vzctEgK3qFvLUpbKBukSHPJIi9x66Z+kcZV/cE7B83tT0lKAkU5FfZdZg5ScLuQJlr
WzhiIqVlVElTwmJ1yePgPi/pHTfzXqS5QYKAUL+FeHatEbYiJnE09EqRxaQOI3SofyyzAtGZ2p5t
PaSkXRXfCwKCpjF0VWSmKdJsmfoKwwT7ht5ukz9pft7QEym6bJZrbEC8Ephe11L9GQTFHWaWTDWS
0lz6IUDFLcu3Rkq9siaFvsM10mP4bdiB4ltPw5l24g7UZ6cTiyhxbpXxHYYBTYmzRqFHsp6NCMQR
y00Dw/xiYWZPiBrask6V4KYIYLF+N28CxvBzpXSBidq5z6TARD4ySW8iLplVPo7Rk2CkttDWOPH1
s2U+FUmPW7vbPzZzuL7c2pK7QRFeIEmwleISMXdIwiau2nXTZcGu1txUjc/tttXaZFbD5M9ofZDs
TUD3qgQVSFH4QEh2jOj3YLm5tdRix8IkyocDPTI48nOB7YCWmJ/4qty26IVtdZ+CafDYZNCCa/eR
Y3zmpV66A0vboejwROWOIFeoVEbqVho0Gb1ZShxCE7+JwjtiLQMr9FDuiXbJS/ZjgGPZ/zMBe476
y9D8hN2PMr0lLfO7F2MWnxCreXHE7oW2vY9DZ6gww8fLt7oQthr7rfVPGxGT85pWI1F/1fTc6t+T
iMSxYvYhPnL+RpU3Ne6Ypx/ltXqStFs5HaaOibNWHDvlimZuo1G5RXgjPeZulsmuCo8JwTvkQDtl
TIh7aOwp7Q9l4tea+J7ov4mu2r0dmnezIxsdXLphoV6bYX1Otik3h1TirWHFki0NH5dif2h8pWdA
ndmA7A519QIZH1WlH5k5onpGZjA2zR+1PEvlEBjQV/Q896ShhKkUUwekO1AGrXrpaiyoSQoRtncj
Xjco+TeZ4z4ujAvEsI9Yhs6Rkd9bfA85c+iNarogujkXDJyxogtm7GXZcu9U+SAwwNHmQzsHIZPh
WkFbFV46NUOo/U9YFZvdEvkp73L3p4L2iZhvjrGAeOM9l0tvVqb7rcBPBRTWkDMG4ZvfF4dwddFS
5OWYRBeu8e5hWLojjUagaMC5zcs4IQHgVDeneL9oe5GE6jJ5b1rqJuQHDNj6a6cy1yCmXZvfooxz
Cj3Ytp2EHnKm2XQlk0O46Aq3STEjtl7VtxL3WBVUqeryPP1YLTiGSAnofzxx+UcrfiyH6i43CT2I
1RNUs5lKLN4Q9ZjxcmrhP1N8IfaH/0Xl0K7vk06I4e8UIlIUgO3AvQP3RvZgbKz3sjTvk1XuZlNw
o1D4VaMGdDu7VeEFjfrzxCiExcqvICDs0gpmP4iAJwZqgBNedIyNFnZglW0EFiz6HO7I5VwIBqln
WyAVKYVNLJxJe8rN+Rgb6udKN0bFBJ+Ic10XT1Ul4zScCO9B+5VQ4lN3YfrL4vZqptFxXrJ31FRU
pxA7VWp+1XhWHwuSxWWh3gHth3xESF95KxzZbE4VeihFb+9rHDH8zJF1M0kIJccy6L+b7ilcM8ZC
1RMoXGShCuoCxHqyYAtTfDLV9UBO3h5HpqadWi0OqnkJsP30ChaIVeDdP9Go7JdK8gWIhemVrAsv
9xvoqkutEUOtuVFBQRia0XeSileDSQErqgD46L5V33vrYhETBclsZ9DtE8VrW7XAHcgKZzQ1L++r
/cB/U8t8q0fEZzV+z4Ky6SwnjrbtdAfgTvhZN6FUysx4YDF3lOrQyZV4ry3+qnVuLTMV3goLoWPf
Xr3qZmWnZBatkheiw+BhUQo/HxVInN8CLuhalZ/zsnwCdeqKNH+FisOSx12EaqSPoMvkw6wGYmWh
9+SzpBkZrYtvkgJjCINrgbhSjOd0HJ/JUCm2flOE/trZlagzLodyoiJaY5q8gUBJl5bjK4N8isDJ
mcrraCgekZ27HmF1n7+n20ftb+DMWCvH0PsaYG8kPmrDiyJir2gNulz9ug6PTREijV+6oRy1bbcY
fS4K3ecwO7Vx11a82gteNXTO72WRcpYvZNk1TqIjAqFd6s41Vtsw1Q9KQkG6Bmt/ycE8ZvptXCDV
stq3hLcaVgb2Go/jZ62OllDtZbN961hEqTj5OmBNWA3KuggYubuhqPky9OCUc3gRzqswPk1zSSZF
SJ8BCn0tPRVcbtx0fmVM3kBKm8kUOwk/W2wkRjHsZBn1PJEpHfCN3xYKMIQcZwLr3TXJYe5AR03E
LrWehP3HTD4AVpIYeKi6NRgm1orqresebXvf8C8QhgX1ZiiXlQYJ1UIOhX2mTI51N50hx0U4gVj0
N6Jw1SsY66ZbhnTAAJmyDdgqs4hChS2m66ulor8ZkGTlYI1FVLqiWoEkQkCXGqbPCe3OVBOUcSWV
dB329rKR4tjlJfxtshQUi7SLeQdqzgaGQZ4sR86UvlYSAS4KYvz4hcD5nSBBGLnTqdvtPtXfRmlv
RuXZIL9Ex7VvnjJKFau+Y2Gdhi/u0XTzFuB4xNsZoUMlUaHh++xR60TDX1trFEqsBWNSo+ZfUZgx
doEApVeXGEQPxM5mXtn+FOidxyHeSVntdvUd+W1AbBELQFRtE0iEHdDiXQ41AWHWlB7oGF2LgexQ
XZO+BtaGAn5xNEJ9CXm3o7a9SaLPuhIq/QFby7HhJuuSwqPEAUpns4V5p+BHrywpaM08CKUBmY/J
5nsVpwsSA6AR5oHKK9FC6BRYsuvC6dQPneGwKFwkHAtzRPKtZd3Y7LISliqkWUdFEI+jIVPkUaeu
j0g6KBCnRDY5CYMVxoReH99YvKm7tnM7sMZyTEwJfxnqNRbNpUdi9gQNOAJcufQP2gS50QF7BQuh
Kom42G2dPcvRDUhE1rJtuVRgIkL9E+8GMkFIF3n9NswoQB5DFR11NlCseuyyIZMY6yGu+jzzmgQv
xFuo9DTrhq1qnVdshYwKyDfyWuSvRV98gYj9nNWjTkdHzJQv4/wxGuItIsjejD7ryvhaafXGsvQt
9rBGBUWMOUt1qHBO1czSYO/0OqlisNOyXWzFGGt4UZaSu/tiiP9qIiKFAlBogAamJDOjsyiTOHNN
/RF1T1mBE5vsnNjw2EGmxZ8uAEP5yeLPygqmlvQhYpFDBv7tyoBqYsozXEeJQ9+tza+IEFTgQrsC
qGfe4bVwqsjJhMGW2m3dZtoMp0AuBVl76nvfSE4S5eQIVpDEbhSvwODYZ0JZiXU/ZknAasrTxtZZ
OwnE/LhvBhOMq/WVJ8vzKvfegOeuzkLyhMrxpArUYLrWniognvakjkCUBvFJaX+1cUw9yACHUIYb
pUxz41qiNHrjFidoTVp3AbWwY2vfe9k2ZtEOCVAJAhOsl0xTB/CzrIuh6TGcCbMo0OrJH0n8Q1+s
qDQyMVjFDr/EoKSiU2+WrP/zcOFZMd2/jFaHTjFWsv0cqU9Z3SRBgyU6QYDhLmlR7pLMVP0ulp/m
tpuu6C5LFz1XxAwStlWqRpyoaDgR8kzoOHZWWYluVxS/cBVGzvLiK2kqJkMKIxaFDVrK9jZErnCN
mvRiKumFjFZ1v8U0OcW4RdIqaHQmp4YB6g8IVoOVdZNaKKZjWctbzh94Zmz32m16gqJ1ikxIDhmL
GJb4Wy+Io7qxmh9yZfdKgutajZb4DAHrtZwwL/ZmMxyFlKExbNdA1TvPWGn7jDwxX1KmlPtBTUEB
VZ2j6/QMVq+42Mqvc6LPPjgZPOsj2dMJT47WWZgbrDf2DY+xBOojSuIL4/xXAieQQpEGAVlrqBCJ
9sWzpNOO83NXq4mZYUb7Vhr9d91MTN/CGk6+8UKXMLhAqr2aEaibEJxn1yT57A1kNARz7uU+Ga6b
m6HORVwYkNXhIugPDvJHNo/AnivgwYPImUiU5T8JUfoFaLyih7DxOftDYBG9sS4XFvkS4aY7/O1/
6L+HA/pFcn5CZdjPMwYtKZeUOyPu7zBu771u1D85CGcIW4E2SEUw5tQ2YxqzT9Jid+EOr34rgLr+
ZNHYFkt6M4F5TZIik0P00WoAi/ZLw6dqJ6bc1bau0cPI10HG7zpnSeI/yRBYTK3YaeV4rV2IFNYk
/ElkRDolfymoXOQAcnGwGL9WEBLVa6pBTV6Fku6VbL9dO5BpNMilrSdR6nzFCsXLpNKeGyOAVxJO
Vp3kxAzN7QrW4qfKOsuXRuEPqTf9KduanRGG7/WUcifBnQG4rr+L2sIFiZGLo+GuaxGHjpIwjkFM
NsniZNcr240u6/7i2NoKn5FrZV7cWpQFhxUP+58l8TJT4DdURh4hAZTk+mSiZduei2a0VH9VAdQV
EvlXJAq/TAIsLi3KD2asH5NIAFXNWELSklc04cZBxdM7JCyX1yb5MeR3aabkt0suIaE9S4s+75U1
l3cLMqoRPSdYaqCYbRaoFSPocKuIZ8BciqY/q9ZUXBbJOOd1d5CtjNMPP25VS8wNoZDvxgRVDihE
hLp9RlpoLa348bk351iXGDlk404vMf6hRJj6+AscOAfWPFVEtb2PEMRDZfrOFfIEE26+ZksVW4Qj
2tOdkrXBylDR6gyPzLez0DR7BZiIouWHZVjRCG+5uUhglasSNwxN70XWOVjvDlXy0qfmQZIHN0P0
Go2515JIltbfra5AmpQQNaWuhGwLdoAhC/zf/mkAZ1u5PpgltlJat/RSwpex4wpEIRe0j+3IpV73
VAa+afTE6AaX9OLV3GtNvqC/59quXjCOeAjIQeESMMNaXBDLh5Y8qsT6pj8uwJToYoUf63tWf0h/
YIr6WW7TCx4sK53w1ewzdNprjX3hyzCvUot01TqQ8MBSgizTcnjT42wPSQpfT+MY41u0Lr7cgUwO
f5imPWdh5TeJcWwlgkPcpW1sjERe0oV8tWy2YIJmGf4rXTkmsbi3SG8bCQnQrZve93tZfmnWf5n8
NaP3JFntWNNEhsyPQwbWUrPYGJ4v0kdRUz1cBMt0FelVxTQzg3vfvqaSOUttvnYiRdlwbvcaJkhl
Lw5fGXMXaIyMwdm3ZsQyZCNZ8OltZcigxHQWIAdT0vc4/FbM/6LyDzQEcnRupxkpF/1FQuOXtOiO
s+4gqc9ZDAgHOdXE143tDoef9RgZ22QZ20FE4kM576BtHpR0J5ufBhm4aaATqmzZSXhX2tfZJHfV
G+INu/1bmmtQQxIjy4ZmJT3lTKsEGrekcCOqBpLDUWLOt1w6rcMVJAvJdqVdk9m+KEDqhzuJbrdJ
eTEtJzGf/5/6Gj6sDGYxrJhbis1NT2EOum2FjxGfipYpKDoQky7zOStWJ4lC29CfzOoiFw2iiPWg
9lBvsvJcgrtfJPgvPFGz8jT4JSPGLG6AQyG8UxBOl3LQIO6gNcvDCRsaOzheAzE902jT8gCG571k
iIKGjLyhOGHIYdh1LASrhfoGGZiqGDztyM+FAJjHdalWH3sMm6fCyVRaE0r84idV34gWoRcEc9bD
P/H0yUIi4fIyDVpnj9lnik4pV95wy+8VWowOkfKuFURWPwqUdSCjzBfHfl+xvVgXfJ0aY1bKANI3
ma/NQ7WjyHYj9TQsTDRM6bFmpmdNw19NE18iZspxBhwGmL0j8yQonITi0n8hkJyPXfEBY2GdUCSZ
ByQXmOo2hR4yeJvZFCYRu6oQ1EH/tAaG356a4+isv4DVbKOj4SEN1wq159QDJyHeZULhldaOyeKu
yM+onkwNf0HMOxI5auWv4S1OSHtIeZDbXdhN7Ir2ZK5A8WXIc6lMYhbJiMCFRaTAjm8rifbU0MZ8
lgSmLuvThf3Ao2rejPohI7MEQmkLykcL3qtVsD8hMDNDRNSBkHYnwPdsfl9TNnWAqlxW1RCDf1MO
0LmDIJ3wRiF2Fb8EKrx86LkoPwX0Tn3OxYl8cx5x5rPMsFCyV9JFl76a/LPgFRHDPTIjW5Yrok8k
4jyx0zKbn/js5yH/aCTNs6hf5gqkCEOhVEbV1QCdyam4zB+RkEidmYSYxS7r212Yt9CIeZ00jDDQ
Itp0C7GQnjJT5Mep6ELaYxN313VRaQesc58al55+aRWjk1o8wf3zuGeYO4MwSvDL1SL61pdRHn+l
prkBC4677JAY83ObS/sUthPdxa7tw/cxJbY4my96Hf+OcvxmpFvaDPMdvsTJoqSKFfREizH8m8ER
JwWJRWBJwqMxA+INjYZbjFBufe4csoPuIQZbcb2NneIOpfoJ2fzeb1RMKrr4YkSmZ0gui/OHOeCg
Cy277GREKrjt0p3OfH5s5tNipdQ6U/n/qmhsCUpFRjCbNbUpPoK8fxkQNwJ6ecsQ5kjy1yhV3yNc
ZDICL2VBh8idWhDfzGKN/RKZjsqnLL3pdXTTv6T+3mI+C7vfXDiGSvytduKhkxMsx+bHJMyevG5H
ZfaRzoT98M1wgH90A8MmalqDp3mz+bIOGYHKh0WL+C27lbi42d8y9G9paMbYxCZUHaIkcYYIwY7F
ML2uLR5hPYgsdT8A+7TEOmhaNjLqtij5EKUchfHyNuXZ89BVD2EyfJG3rlS+OmgUmjzQsZjHdf6S
CDtE+/dbVVOQwN0uwRPo5krFshN31e906nQ4vXbuyqM9hAXC23onGSa75SRYY1DW9aPFnie3KPiH
+FpYMf9EH9QxqKjmKGzeOby3cjo/o8k7WPVgN6fnSaV3pMkRR+GmSyt+OcWuRZevQDCIDbsWLAzZ
aWG4OFa19hwu7IiWbwpDif7Y6UEOmQzV4cuxAldXSnM2rGZ7aYWRqKSEgrXf8QzBnYs3MmONcoh/
qZznOnp4idtexN0SqX+oCEqs9CjwpPUaW7YSulFzVtKD2H2QRX8Xk721PJCAU88m0nFtdXi6kp8C
469OMVqCmGN2rX5uvG/eEr+QO+SgJD4OurEXin99KfnbSzEmb3H9pOHYKYFaRYXCcX9FqArfQltc
wEYaFMVzUVzbxmMBgozNkHwjg/zsYB7XG7xOcCIH7k6S9HoRq40DmxcrkcFFongcjSBRWWfhZiW3
QAFAc09fObxxrJMGHmKF0ZhdooDkFrMNcU/lWqIWJqvgicWwfuIRaLWd8Cr/Wo0H3MAlCEIcbJLB
1+zJQgS6S04ITthIywFyiPZfqsgvuawB2mLoL8MdsTDCm2BJBom9cn1L9dLXue2MFlBeW7Ck7Ix7
X6j2T84mMDbFQJb4ZTDduvjWxSYw49omPSDIK8xUw8QQlLt+yIMiQ04J6VWTIkdiVGKx+OFGYVAw
1T7xfnmfOAl+dJ/vQzrTKqAJnV8y1PMOatK8tcNwV9yUf+XXgh7/WqHGBDAiHJJgCbrn+QXD6Zo5
JqVw7TQfTAUs5Myj/RG9V8+8bpvi+GYFzQ307g5Ly4JJ8YGcGE+2mj9H6BYmbnJ+x2sOZ2AskBCN
yxXEB7MTPEtsE6klFxZns/SdhBWjc2P8J4yO8jmxvG2c1bYOCAWGZ/UkcQvJWJ4JOrOtPxoOC0I7
ElMmHyxHgJD8FjckdZjnaPxK4Q32OatdaXHV5qw/VRhhzD0/W58d5pqbdde6NRZRnOWoA9bzjBx4
Adq+K/8t71AJ0Cnju6AMXbHDl66lfBSbc8Vn7ot2ONrhxi1NE/Ebzy5F0I5ageeejzauBPPwAfko
eM6H1WtYEeYHMur6nM+E6hDjnRfWjlA94alBHoCHc4pOuehakk9L6k7jQY2Ognks4iO3X70EFMVR
z9zYF+ojKiF0MAN8o0MFrY4fEDI81+Z75fVnTBJyuOuMX0y+xh95cChmKyhjk8/mhDEK+z1IeM16
kVinR+fG+G5NJqfzUR/gETkNPJwAtaukXRblha1ylD+L3ZNSe1rz0nJ30YxGT/VnpfqaeRq0a1YF
UXbtGj7CjGYdZs5wDTtuj/OLFvEmvImpV2h+jyoAMAZVW8gfqj8N/KdKfgjzuYBWryMDln7C3BP+
1b0ni8D43C7axQ9OIgTSjNkw8FEMJjaKdVRsbFuyHwmlIhAg031BWdCpLzQDPZNpcrGlTXHSaRxY
ew2q8p7tgVmcVfT4eJChNa02/huVMRhSTWkfZgQi0qF6We7h3m7kk8aWM3mRQjfNfDSdar9vck/u
Aqg2U/PMQcHjHWKI4DkjKYjFBROz6BtMdhij4OGxJ03FK5Vnc7D7NDCk/fI0FfayHqc3mZF8jDLl
ogkuAd086wixHesz46zFa4AHTXnmESnrI79u1/MPn8Nx31ZwLFl2cdL6en1eeV2i8KyhoN4XbcBD
jAqNcfg9f4tRJ6RB225/kkIC4ttK1J1pa/tG41SNvzTxrM9Hozp2nS8KB5NIVDLlLVsy7dSh9lk2
beM2lyhJY1me+IPEmDbuspKbVQDZV/dN9LMatlRxWdT31XDMGneWoy+YXvYy8UBZUFb/cuWgyAcw
OyEU0/Xa9K4KsuQfXwW/Ifdk45qZPWuOol/gtvDz9MF8Qftbo0iK96pFZQYONt4zQyzl6yTf5ost
gjVoHdov1rhCuZdWt25/mWQbEOT6oI0AQ7opKAxOoZRVgDti9EYpR/Q2tRGtuo9kWeH3YnPQvRH4
kVKGgkBBrFexjbTr8amjnLF+KQfVjrUbK20HWK7V7ESqoQxn1K65YjyMrjl87PGMfYuFN09A+DN+
ruR/ZFCwbBKzhnJXo9KTIaWxuECgiyvO3hhHKixP5iqHEaE6YWqSB+qtpR1CzKCVRHhhw75mT/iq
5O7IPxcitqSg37U68xQH9Y3+JvxLuFHWAFQEBbzbjwBZ9jk3YvXEW8OfTi7NuGeuX8INzfkFX2vF
Sz83jN+7AknOOiDXE6lSehu9XcF/gH6Z7oiD5WcGPMi3S85NixeWjRVKhed+0oOeER6HHSlfWoO6
6Wme6QtF2m6mQgD05fsmKBmFh0EgBPohfCywBfbG6MvtuUF0hPlIRMH8Usp7Vm7JcDA5g3lBcjgF
xG6SXOm00nlhlJaIl55DRl2eVJaZpLIzklcx3fhptW87jg8H8EF2m5wPha5wl0XHiC/rvZg9DmI5
DIrIyZEYzjcwZ2xTGhEcwH1lK8PWqj0wT7Qam/kA8aWWvNd1+NpQDmLe7hNBs7yHCzLc2TFWtylw
iDGY2E2nzbO1uhLAXeKcKhE6Kye2h3cuj+8xLQRAHCQ2joxiatwnH7NlL9Z5SqjwfKScISmdqoNS
pRdtpcb96USGD5KnBj9CgEXmycMuema+1vxIRNe98I5RwPHNglBsTE5SR2lPSnzteHAYbBcP66tc
7KFGIoNb7kqmVLadB7beMuIn3c5HrSakfows3rr0IJcxBNY2SLEm+iLKUSfoTD7Uos+fVsVuproV
LAJ2+X+T5PD5FhhwrGo+I2SST0J7UW8a9jFwKCwqiZnUuNud9itLWE0EtFCIWXHxqO9Ez1AvcWeC
C+rV97L6ERtnbB9EzYz8V1p3+iWFPqI+cXmdeC342bqAh4cokvwrvqzIz9hEkPXXbactXBNxOmb8
1OsNWsSiMoQihXA3nIgh1/kzB5vFCuu4qg2y8MAiQ6eH4NEPzatqHYDKM7ft3cLwOag1gguENwb2
c4Hy1kvZ4Ne7Hr/sjl3dfOE0mBm6DNi6H8AFWYJi7TrJSAb6gwZZSgjfFsNHiKcuXqf8raQVJFi6
r+M/fHnQA36q1jH7/WJ9mUbQgWZXITy0ftcQjDQ9KeUx7k+MsVKRySUIJaRlfoagoDWemLwpLxwX
05WbucD3kfjVVXmttJ/C+F5af8IR3NWMuPkfHUB/If8A4gIR1QwqFF0G2nuvhY3T+np4aMz9yIKb
Wh2lxnrGjsnSc+JaKHJbRT6OfWMnM85weYe4YrGXddAYsDOhC1939AIV7woKGG2rEuX1iB+LIw19
agN8hSMS6yv1sWxn75TUw7W+GPcNAxno78qhJ1Ypnex8RRgJo+EhGDzwLiQwOijqEgOA1y0yqT/Q
/zm5eKVAHUbmP1jCd8yKy/qPoiQxfrBWcOvw5guFQ9ZZZgVZfV070Lc0DJ6hkzkFVsWd2CGGX1hv
7YFMjitRF2zPub4yBu1kjHvc21T0iBt76ylLX2BAxbb8DglOn5gKHsF7tNx30hm7QsTAZHTa3NHK
Q4t4oZxOKlkaCDmIU5v6cx1fpfkhpOh+a851YkRwjRrUSPIpRZPyvCKDX2H2RobHY0ZdVdFCAmGu
5iPWHmJseS847njp6guPnzHRWfqgwwDUoBODe7WP2nMsklG58SR46IwXnqxDNZesAqBJbeUrj1Vc
7iloqQCSm870/121duMhO5EcycHBvzNuoZThJZcVVmkv03QgS4OFTKBjFsS5bbjKtj5kvmwreHgi
KEzk7XL6nGCKAvWRMrdiIZD8WIMDXoBUpOh3vnA7NLe1eFommLPiTaiJS0BWA4eW5pYVsyjsEjKZ
2nAOYksMojo5DOvgR9Bp55pQZZpTtIFIbNGNNK7OWlXvxceW5rFof1zaUzohVSAUZngnJZyqzCAu
/Dkx0WBNV2FChpcHKmMXpiSK5NvbRBtMJ61kcoa2soHSGGwJjETJwGMchpxwJneXZ64Sm92qCsiq
n7uaeAwNR7BVOqJBaLeARpsOYRhvMD6d5rY012Ue6DPOZfVNIA3HOzq7+N5yslflp9Kubrl85di3
0XqWnx0n70L+VErKgyCZqF8QyEifWteDs649s+J7HiVXRF4wBRpDsRpUQjak/PQ5dQbsNexHmcGx
wsvSXFZOf3V8740eMpEadMRHaQ27rEk6z/mCnQXhhnaPiAVMVyZNCq7HVruZOdQgHgRjZuacG7tp
IMBwPeVMfFjxtiOTbAEgeuQNKgo4R22uycAu65cvuc84y9eXRP4pW1InIsKtmy8VgktXZ3YxTsy+
oPFRx/Hbdcw+o1snvikyVqzvlzK/qRqwAhaMP516ZmIfjp9jre16i9HebQY2lTfvovJJNhZ698ca
vyL68AhEfOSojiFO6v48vuVqw7gz0oCBbDHhKu1OTIU69ISPLWQpaNWqBUNDgpRmEqGgTo9BmvU9
C7dWwvFjqhb1Pl76MR68SKUxkFNOZ8ks/chi4yLMXcHuayrJN5upA03OxH5AyjLjZhctR8hmjhls
fYiuSKpn1+I2DZu7lgEtu8d/XcluqB9l3yg4lfQVzBW1Byq3TGA7BedDaSAFNKwoGzuSWsq40GQs
hvqdQO5VSLmuQoFmfGE5SoC2nWn7WM+zgwARldV/fZp1Hr3olJjDawLVJbK0EBWIdg8X/Apa+ETC
RYQQWGA7r8NZa1B365aJvko23rr/GTyPBUmS8BeqyrnSMz80+Q0iccLkSAuRdG8VUopqKFjJmhIs
Lemmlj1GQ8UNZ8ZbvT66RVK/aJxKxCfhYw6GSv3A9TbSDY2eplhBvrSXelB/WiG6kwTrWnq4l3oG
BslK97MZrNZFiV1AKFg9XqseN3pY9UfRjJ4LKUtt9UGhrTZQcFeBHN7OYDC2iNZtsIp/emd8j2Sa
pqXijUt+xIwdSE3/14caZnLaiJrVV1ka9rTE2BNkWk350OXpRy1GCquXLVSwOoWjgsqmNgnynU+y
BEmg/Z05M7W6WlEKZVAnZeu3KYTvtGZwX5HihX4Df4/VV+C6ItQupk7YX9UfQrJr2S9sMW2P2VhO
Go5dJz+Xc/YQwyllAZ4ewWzg+ewoGnoSBuSagR/IdNUbDcEbBOBhkqbqzFsZ2BAEjTZ+q4VmTudc
GVogUvjDm3jTeO/brD1mkNNKale89qwh8es6SBxF9OcLcWYqKVfjOAMJ4nuU5GdRje95ZbxlMxTB
AR8ByIfjUBQPRRyOmzqYIrkxJRLU0wiLe3u0RNYRjeTPUfyLJh1WOYBARoQQ1loib3DWnNgAXsgm
wWzN4QJWlHRkUxmDeDprDNkaYqi0kG+/MnSe/uIolPpFtoY/veX9N4T3OXw0y1bn9jc5BSseMeqH
c75q6YGU+kNuIt2eB/6+3NUYg5ap/m9utWMP51cwpnsHxXlnzpwq5XiUSNzIkBNn/HgDq9uS0e66
XmuWQ6mk7LvW+AYoiIWFwBpIXSicqgw7DWP9LMy/ByP8j6PzWI7c2ILoFyEC3mzZ3vtmczYIWnhb
KLiv14EWoyfpjUSqCVP3ZubJ94Sn7luIgYtvcQnF9Q44/6CNCveNnW8gAqAfFltDBEtLizalR0tL
CJKWxWBwtSQ2VvnHyvPgm/1BDu6NHKnRNBfA6XRdKCDefGZLnRmfy2i9MBjoOHqsXdRNFfitwZrZ
SOeMH6N3gmZ7czXW17W5qhtesdN2LKLfoGTP2Fxlua0KVE0nO9ShtUraXT206yQTJ8MgSWl5j0jz
D1X8MiYU5CT7G7iNCX9lTbSOjHttEMNu2FBkjGsti7J4n2CbdKHFDRzGbArJp5LbGP+ZpPGRrqiC
48ylzTJ2jikOoVcffyXdvzFu4Y3vc+Mb7iacqPFNIPlCeVp3DUVJI3stFEJyWjhSc+T0rLcWJQeQ
SGAa5STeEpfSy55yIpd8iT+LCaRVky2BV4pZfZZ4xwSfixYp87IPySyh7qTIjIDQqMnEpxWzHx+F
PZNqPPOVfKYOW402t+jHCT5qQeyJSZmH2VLBagZ1EFVGADLBXq0VM8ljNkiKRd+9avef4f4DfUbV
+MINb2XyQekBq56OOQtHZpvthYgwGppzIYN9HfGAadJNCl47aE76VGtpAifyxSrOrGUOgqyQ7CpV
msxqG2IsZACaHbTWQwqmpY3iVkrRljoUaxNoDzdAU8JBGb5hcr1ZDyGbY2EEy8j6l+e4kYXH6vcP
DCadO+EKruGCqhM8nMZC90tuNYzsoLF6AEFi2Jf9S3W9g5YiLqczksP7ePS3iTFu9b6lFkXS9pYz
1aHJ6Vuz8z814NJIEPuiGdFOc+rCBnwbKog5pUenBGQe+tQpa3vklFVMjWxAlrCTCPFdxxoJrKE0
rJfJWYwgAY0sZl/fVJ7AaMPzLhhIUIAdyJ0FQySLFhAos8ATM53zbkE+cBanbFctdV7xT1P5VWbD
sfVNMDnOWUdobxqi2R1rkE4wa0hs6L7c8NQ8Y0JaB0m4KvMcRYJJFtTU2WS5Gbn829ktD3l/jqqj
BWDuzYvUVSCJf/jqsaZMm2f0WR/pobSUXYX8YWXub4UlSBndKwcQn+C+qjtAvsCuHUhEU9RXrDEc
p6X/p9jdO2VEO23Ub3Y4bomg7h2cltSdQHWnpUUBAO9o5xwGqV5AFnb7daB+ifDgV8Gy85VjvvJa
3sLFGmLpRe+zo5cZq2SsT6PNShvNxtO86xDV8E/hfbf2PiTs3/dAeiB5PnKCKwHWnAibskHTDWC1
jQNNO2fo7T3C/sXeGBPQL/lRdjUe5Js3QpVoui+ifmwxND5bog0kCpMm3Bidy175R7LVtbsl+vBR
D5uNkptzyy/+1AbbcBTchyZdcio9MeM1TCKNgk+fPZ3tqA/D1sC7mGu+Jgsp9U8V7nGIhllTGUDU
1LUFoMQCtRYL/b3uypeU4mh11Y4+TEqCX32Ch1nX99AuKVTveEXKu2051FmBzApxVmP/qsf2hVDE
0XxlO1cRGuuoV2ifSA4jCjRkHzB0zi1DnKxa/1qzl7UyXEsO6WOvfJXtR9MOhzGpbnk7vlQ9Okja
mMjfw9pMvmV/bmg4DfqnwhgXV2yRyPKDY84O+sgVFN9iPtw+4JSeRXMnLK/wzJBxghb9SOzhXgHR
pU++SRYpEDKhXbhfl7ihDpK0Q8ptaIXGt9v7rBxLeDHRl9qItyoSyyCILo3u0UtL06Nld6cU8zoy
MsNQR+yNPuGHThUDTsFjr6S3ZvSeuRrcLNbgGos6aD+bTHP+VEmG1Ek4VeVAhFkhQecuiSirEIO8
WyaNuw5aCZYwFI3mKAqE/pguRHT5IrWB5EeHFltx5stvJ+KSh+M6R+JxmCf4qtNSCNCA1V/7ycg8
3qAtX7vaeXp19F671bIMjJ9a4MyJi+IVYhmgnHzZ1/UBwiX9xLZ3tLz6PFj6LEKDV0u8Vc64qyYR
weEd7tcfmCBU1VlblvYRNu6JIYwnuruvi2LvmJPPog4I4TUn11w2RJKz1PbeLEm+BjPJJkS+oMwr
IV3QFOIJXfbJy2uVEtgw+wcMqPeSWrpCpg9l33f10a2Shyi1dVZ0XKW4yWrtu0xnYdivk8LEDNKI
W+lffV/+cEDC0dguzOnHTYs64ekeb1txw9n0NZgHTInnrqi2lpa8dD4kMK0YCVfVNLFBp1r7o79L
Bi62Qf0BH7tWggh//7GjdaQC7JS0aGhxtNOnlggLp2zZaowF4a1KtWMhtVnSyVVX98dQNL+DzE9m
qixzu/rfSol1jP1o0LB7TnuDNqW57TP+184nBJezMe0WPMqorf5Dc8Qp1/KDOWDehOM3DDjXiw+q
5k46SIflmJCdcrM954pAN97tsaT2ymVnqbQrt5hOHf6uCOQePhIciHTWeHvaFZcFm81O4QEEkSFI
tXWN86VGTy2jZIoRcedN8abkXxbDBdL/CuJ+UHjgYf3IdimUXccpQpTv4OaBRj6TlE0NqbgAK4bA
MMAtq6VflC9Q1g0BYtXwFpxYyxkYcgbAt64Uy5p4jco6NcPFICIUKvdZsZlSiNMNRkvUBoYJzBI7
nQcTvqWB0ij+KIblqPDp9uxgOYQNfgseDOZBgxPCAm1ZQtAk7sheQgHikgw9/WLYyNRw3YFYCinv
6wmYk61ZlzAjdQ0/QoFF9z1KsCzwzbnBB1RB+mWHVRaXNBkFa9n+lPUw79iWl4DIGvxZrUftfIUa
iNpkeO5sHFII+jRDmufk5MecGrt6B9Zj04mAmcyH7VYRMUFudnL8beZixBxT4aDTMDw49MElhbNR
ioskipW0j744KVB56higrfLPYatX44+1hIUziizpVBLSE9kemlXM62Ug+duYmMGRlbGY+QYYYhgC
xCbbXsWeSin81FsK4cqNyJoxIKr50xTOTEEcq/RmTlcFamCPk9Nd2EFwiuN2rVSs0Lpmy7F34R8l
Xs+Ex8p0B/iwkAWcVJUgJa+R+WhnP0bwYE+FNW/B6bwf0L/Z68blxWlvZdlv6QdZNvWaZxxzFR9C
y5ZxsihSLFAT8Y/ptS0F62G9WdgVpjK4ERG6hgPLU/sdSOeOlFzxSDStC3YJw7PRS6xViYZDgKzm
mMv/dPJpVJtIt/eB2W7xdesfJNuWZvEzfZluWpcSK6kx8GenHiaQDgbRZ4FLAfdbyB4qx5YD77D+
5pX41ok9/sa3jFhz/TVgeFIDlsfWt8w56LUpCsjFz7hA3hPvhltjLA+gDyA89psJ7aon29b+Fsq5
kSt+pxE/IP977buZr/X2l7hIpX2Rj02iD0kMLolP9OXqAtDXFTgTz8RlUdJTxxsuE9GBsrJDSKiC
OGe98QKkyEoeE7d/AHDCxlIeWB6zXQwcbUdfMq4dLApXVRFrsOacYT9F8SMwJ2Vbh72YJd9deRrd
8f9jd5p+co+bMnsNWGg181pFLcB1D8uXQyph4ciZPZ5sbkkPn6eN/YANJIfpDgNFHg1zFct+PbwL
9CfOCohFj2Kiead/oNMRhR4lkCiMtbTKshtnVsWyDEEBkimHG41dqFWtAaawftUwZRtH+HcJnDR9
ckRJby6xkpHuxFS5blOcsuXTI2AXWS8F1z6xZ+R3iDW8Smo8Scm4D0mYjCT5JQQ3QeRahBpoDC4a
MgFwXfit1jwI3eX0QKFmdWHg86jUbuViLmG/KiENGOop9D22o6h+PNDCmkx556wZw+kiqplH9z4m
xbbzty1odskGuyDiN0JTkMB9LByhSjhw3MJpru+ZfEzV3oiKBQLrbgEIz+37mcqmSeLBGwtUnwCq
ZUX6CpvnoK9TmDA27hyTr5dToFWgd3RVsnVhobkS4AVx2IDNKKisWRESxiGU7CvPCltoj0h9sWG+
RgMDJClano+swQC1JctRRRTFlKthoPB4V4esCbHbYudchiEwhYi1YJjsqfYq4BkMYLJaUil2jC83
ASxXIg8EDzMh/+tDQRcRmzZvHQm2BslaCCqjOipOIhwEnfYxuOmBN8aCoXGVEyzxzXyp71igIZMx
jCxLxJgxGOeA3qkRLuHjmkeF3lqYFQa5m2GA1geopguTTZoYq5L/hMRCG8O8xEvrQgvogZauChXC
D6GTpd188pRGZbyD1rS0vOnvTQRPOFqlseqITXmduZsSu7RfbxuNMGJAlUWR0RvSQUFR6c7CHoul
GCYmNbVobfAkCbUsRpDT2jrH4yq1dk7P+dzE24A/Yk15Clnr6o3fZA3qogkrGKPKnHFyBT70Chlk
GTb4i3jTh120gZU9Sb2x8xTyN03QDNqLM1mBeYaa9j/Bjpk7v0jvgkhXnU345xn7P0z9w9zMyL9H
fxJMZlfJpaL+VgnTl3MfWBsBBlzm3zWMHG6yhjYDK/9oqwsow/+TR7hjbECXqskczlmUGnLs+cRk
4DuTf1FytNhXzLIOn3Qj/inMWOF4D5SLOmL25Q2MYWk3EBgKkkvuPpPmbCk/gQ/EFAuM5dBP9pQZ
vw/4iIJW3qDtjaRN9UsmnlF06cKXXv9SGZ7WH07zKo3nyMLWQHatFaqUondQkK76UTCTt3iqeiSV
DPt3J8+WPGjRquc85UVfAx5t4I2mQ4ZjpfanwD+DHSdA/hbhh7ZxG+pvgN67G8YqIz2r8jbqrzT+
tU2o4RnsPBilF8nk19/DkHbZZdMdBu2hUSbbwSZxsJ6WkB80FNvW/WVoM7N1kBVE4ZqZF3MFYYyN
2t8m2PKUW5s04lHHxlv4FWvZj8VpPyMB3CAaufA+nPYetVBkhmppDDoGAAB4abby6eUY0BsGjAXZ
yCuPaFgICsZJCI8Y5cE79/S6WApAHw+iNJdSUNiYiBOOYN3sofr1jAjhUvWQbBOURDYdTNKSH4PH
ilFPLub4NTmEAYaDceC+0q23Onq2w6sVAO1gsmRMcw4Rzrxl053eM5dB9jSyC9MeBOZcZecVS7ta
VN1fZP9jodwKhNrpfOewvXEx9mKaAZmNFRN3OabDUZb4TuUsKzh9tBbWV2s+ha3j5DiCLur0BYBI
d1wmKvt2DicZJUS8MnwqVbsDUE2+mX0e3Pvyi1euYr/T4Mal/i8NgEBctehnNG4qjniz/bUMyPDm
jR+nMd4zcWmLv3KAKH5y3U3qzgXrF//Rt8EysQgT8+oVa/5D0uEi630w1aeGHpgZQP3sKpRXgYQm
1HscPotFEN/c5jPDHAOgqCO82XQJSChOF1vHMflBHUp7XWpPC+G+KS45Z5KUI6gn3wvOA6ExK5QB
78qXi4htY8WmwOjNti7cjp04U/WJjwIkTnxLgJGM6rMoOGrjYCL9E3S4ub1z0f3rNHTsbOfVJ6u4
jDja3AD+B7twkXHk1FFxSSiADQmKycrIXXJObKTqCqON/WFhDi+8ll5abJLWF5X0M2ARDfdumrKP
DO+u+OQbIhhu+69cWXnZZ4ULrTbee+8nAkVRIImE0TcbqXkTn83mWE/TY7GX8iydS2BuPOMYxmf+
mITLoNgm5glvfq9gwFEAhWMrNJnSCVxz8eCJd6ZYlFki7HFqjLF6xv2GIBA7vnEh1GFjSv/kSkbR
plvHeE2djtRkoRynkN8oNr2TPaa/VGSyG8MKjRv3JJMos/q6C2ueusMBCAOQdLonwmtXcpOORF4h
LWnxsNcjd6vHeDNMe9sn+6Cndm74Z+vaqgIJQTHWUnaMWppBzahGc6K2B/EM/E+lnEADAwamBaC6
pYFQTMyV60uUYqadwsWeGZ+h5h8BhX8HeED9kE2301yjSLug9Xyaab3qp0gWeVjZ2EvesGUqNxG7
TZWFkyuBvXnFLjqK2oS8FJ2cjhaOUOAY7T/0Wrti1ScF0b+rgU5nybCE/7tuk0dk6MiUEIWKmAVn
vjK6+EpV53bolK0xlYsG/S7hWJW77SKZAO11sR/SaVjjcTP1xfTuR8FLzY4I3clh78iKXiXiGl38
EmZwp9300tJf3REzEzY+Md1f0fG5zlhfpfq3gpGto40XLsK0X9NGa+34HWkre5sDzPLjbDUm1sbn
iGPDnASQgR/d2QK+V0J3E9fNxmBr6ejhOvBpcQE7GHLk06kaKVhqg8gxGhKWion01I3r2PVvlk0S
z8geut4rb7rVOkSfN0GDQJp33WOsUCYDVH9axC6twZfUc/1hTzzYsGRx53MFYDxC70TDncxcPBz7
RTcbOolVpMZmS2UT5zLtp6SJ09KnGaV6iQ5Kln4pjKbdTb2umc9WJQ2qm6GYe1s2Ky2qUOEUyCjG
kW9yE+OUKZAMZ60Kg30sDmZWfgq1XY9g06fEZTYJRhNfq7MYhwfvS0LUG6iSegsEVcWGfU446zp0
PPASGE+1wcHCh9fICA5Ufw4yfU+88dJpHWyqvzZpj4mBzNiH6l8LpY4jbwk2U1Wyf2PORWq6nwpH
N+XHBucx0h9VAfrodZqIpygRAceu/3KrXfLMXOVuYc7zca/VdXkiy/SZERspMtq76b9CCkQWIClh
Ce279yB12S3fdBUhLLCL8PtjrWlHk+8drs+xc7qzsNVziE7YxtBFypsux69KhmcCH5/ly4kGzqLI
/fnkkgDpafvNHer+vuc5ZmTQRZms0Xt2pjtcBZR9x3p0brT2m98EWljpKu9Cdc9mlV4t5kCcAgvb
TneWR8TSXlkje/qivYy2cYIrubeNeD8g/gk4sELSFapuK7b8eTTu/XpcFW12hcpjU4abUXCuKgHL
Gq2/RXH48l1kUykJ2evsjHNw7RmjnJPrC9Ioi7KvFwa1F56zMmBMp5ho0tg9NHh5IyVY9bTpUjkM
ZNynegIidVcgi5Iy4MEOYuOsNlSB0ksvefHQqQUsvHkr1T8tWXrsN0loj8Z37gN+ytlMSQSDQmvW
ccBB2LlLcCN18hW1w2bEpRObYDkje2EUzXKaDUOgL+74sNmyWqi5fCFr0PZqWJ6NXHt3k3E2xg+7
VbYx6roL2WoIMOMbb/NEvRjOZwwkDAw4vQERKSf0UDCdICjWduadMDE5t9IzSTazAKfwm+DR3Iqg
iphsFwAM2dmhMyY97k3CfHAFF3j3z7eHLbBdfJDaImzkehS4CE2N7eGnOZ56/KOUEmHPDmGcCq+7
WH50gRN6BKuypuJSxYzUjj4eVgzQTUQdZEgkI5NLV+EYxUGib19x6mENofMvTgnQAPU0OGnFoNkx
POcZSyZ4KDakxXrNW1tf55BBQ2760tXPMb8M2z77lntOG9z7oLf0RMHAjoD8sp3gEnDEhT25BVr3
L6bnrimjTYbCIKW51pVyP0AT0Cf0q5JvUoPxzBnGjR85+6L6abDyitIirpFuheeRRSBKrtoHtzf2
1is820F51PkFku1CWwL0duPihiQlSv2zwtVcgPvrU+s5Dtp7pCr/gj49B2JcgJBzXsWQHC2RrFKJ
A5JWLstmQUewPNOCbW7V7wySZgizaBNh92LobyGCOXe9WDAN8Xf5E0AqAMromiElhGEpP4/OZnQ/
fR5IebAymysNwIV+IHvyVdAwWO1Ft9bqbRQBTONy3Jvdfcx5aK9BmEbJdCryeaSAJvCvQfUex98h
IDWLX002beMj7GM4XIZ9uC0YETzzrGebGqsr42u2KMQVVNRIrZ/5LYk/lnfN+BvK6C2qz3H8Wfc3
Vq/9S8tPY/aBBNJzuDevjbNm98bMV7Yvx1tl2kZqG8XdKs2mANVTeTPHP6jDv478JvKqk38I1g1u
8zT0d1mDOeSAR06kUX7ANPE4+yFwhe31J6HyoJu+3YHKHfM3rb6bEvPZhw7oqdB/XPOqcdniQJ+i
ZUts6xV2jewyxsCs7rX84JRtRnfaukmXcbgiXeiov1gQkEtbkS7GaWWBczAhi9ilHCvLJ//xbbSH
RMfbDE/S1lR2Tn61HfKXh4bGvPycVERrCd3UTEuF5xNz+iMrsRjrDQz5I4VyMwNKeCK4c/mFG5tj
LxS85mVBi1Tyk67sYWyI8UuKXd1+ON024OAneESw+FOQsLtd6m/74Qg6o8LIhRKZHBqisGRS9b9e
8lGNNz19BzU9YiWM9k5zKJqj5gVEY6M3w/2NXHebkmbi/OuD4PFNC2V1YrnO6DBEnqe9B1t6BRO1
D6+QXqYfL5d3oW/CAD8p6MgEL1aZQb/fc75TCa6a35aL3v2u1Ru+s87byXpXAp52QJM8g/yncT9H
yMRt966yy2tyKsdeprKvJdrAGUt0/MtsAUuz6Q9Ot868pUIPPZ3ZchMa18A9cqBPiXBbDrCHb6f4
pzH2gbMwxVcCYVg7+9XRHBfENsuQZhOe4PeiZOXd/FrunyHvZXal0yksHizsNf8n1W8Np2jkRe4B
l82r419TBVFJ/8ysQ8DYXPvg/Iavwjz0zYndcGrBbJnBIK0tQpkPbpoxJr1x1+RB6FDuCfVO7Ltr
N2Bx3/rjv9DaZ+4O41XesFWlN+dks7Z135leAu0zJtJcc8f1LNjzFIPOyQN9xZ6LNc/JlJ8D2nzW
JwuXUEEDkgjZ5E3rk5mZ/U7z9vSc4JsHssmSYjh7xWHgWQ/VPWrB439l4iuCFDO93I4Kjz//6eEi
pjkIt0y0aLND2i9D+6fv3z39N9b/bOcmubx6Vu66S38N8eySzs2IEfmr7QB3lXO7xuRVvuv+XoE2
Y88jfNgk3pXJEU2UMTy7JuiWdeOf2mYj62M67hxxabSjax/t+pGlZ0e8xxiyPMt4c4ieaN5dJGeA
74p18pMVf5LyYNRIZuR/fgB2wH25UEci6MMaq3QYToB/DqH9W6VbOtpVLKTqOVHOg34H8syIgFrd
k4x78KNXCZzAP9D4kejls9LvZnCoiVlr6ZLQ1iDwBR3sDuPRMwz+POPGAsUmOCjpMcq/dLZNJoFK
k52bikbJVglu7q8Q5z4gflA8MxalvARc7zZ4xzL+J8aDAbdGe0+rf9MNRsZUnbJvGvBU7Y+NYkfA
YrDvCcvuIH+T6S0wtqZ+qKrl2B5R2npC5votIjTg+lev2GbJ2Rsw9sxr+U4VCHhwjHE7DaHT1HcO
h3Zto/knhA+ffa0kZdAf2wlcQIiykZi/+7EEhwKtJ/ULe54ogU2Ns/Wk0f4VuLiUMTKch5FY3eC/
QgaCQI/wXFJtNPUuM6ZSOi2ca6bYjzwPv5Sk+h7SZCE57GiD+HU4ac699pWQ/nsrdXYYLuKioPd3
pEAOkV499zbH416KZ5t1+O4DFeJIAGbcddw5JSL0aGeUXnk2Xdpl7CwySjqrJjtoegmKSgPUrgWY
YAFq8xOplAQBoYznkO9N3LoTek3pfpOqxEQEr9sxQmtRmAJDuk+MApXlD8oHaliYTqgDeuNJINl4
83tjrTmsfKRZsMY1yWDEZswoF1vKnJsvW9lNseGg7+9SNsj41VeKrM62IedxZ8z/Fzyp28AFWFdI
n+FyzDDgOk0YsuGwudBG+HikWSGLj3JZt+o2pUaF1a59Vt0SOaoEOjMOzFZlv2osdzjCcTVViP1W
zMK4GXDnpwr+dbzjfBjW3JehvqSied4XUbNsJA9EPWKAKkfvN9MafZlANSt0RNxY2biDFoFjEXMZ
ZVAgVJvIpBkO3MPXvjV2mRpS0JgK9tWKsjc5RCGWZpwGmdLpy+TFgJLhMIfRr1ad/NBbublLT4mg
ydJlqdtW1UT2CT4kEe9mGD4LhTxLPbFxrTzvOW0UOzfBK1kEPEKmnzeU/o1LOTfGJd4XXUXTuPfj
sCxXcwByFmi5CgAun3u06WKgS4rgu+3Qr2cOI1vfQF52+oH3A/QKGk2Ut0EjBINqv4sqc1g3tflX
u25O5dOPmaUTpaNUZrJVw81I9fky7Upc3zUrdhrbANdGtb5k05mrT1MD2zniQ5CWvgu14lp1dXnV
uMCRlcHFku7qrPLbgm1DlY/YoZKIbVvwijcZOtsigW2ggO7FyToLG1IRlZ3ec1xBon6NBIJCw9JW
dCPy1NSMeYi/dDaIolpRa7QYcodSry5eIka6GE6mrd/0Xqcjmj28k6tLYWt/pc6GQToVeUTWAnxl
V5ALHggq661ysxTvBIYlJ7BI71ru5Uc3qyoaMtuVX743I6ZKxwU5GmVmvpH0cQ2tqxwimAK+qnfb
OOLoE5IAhuy/FwZZsdSJMZKHvGpTudPq4ZBM3ge19fGblvXKVJjgvZKW94yVN9kXtBmI9FRBVaG+
8EUMD6cnlN1H3LEm252iwjNh1EDu+BdzPgjt/ZC58UnK8cMVab4c3WilKqYxbwAUkos30o2Xe/Yq
lBRTZW5Auwtezreh4LfYoudMNBqgloHBmQNndj3LzuuI6shF6avkop3g1WfkoIAZObhqYvXSihEr
/Xjt2dqt0hIx2ZLKh5n4Jw5e/q4vOiAsDemRLFKQMRqNDR+Ys845DQ4AgrEAraV7jsO5ytk6dGJx
BgnOcNgw5otix1WtzpQogc6fTNlq27zQL0M2IEkPbWajZcTECML2quXxPDWRmCw71pdRTQg9wUqu
m4RWSt8kMKtS61IwPjX+W9l3zbzT4GHgx53XHuuuzhzlzOhtzMZ68VkbXfqWF5RKmEpNegaXP+T8
YEZjC2ajli6OnFWYS0UudlMWvCqac5Yq67hiTLJaD4oLqlES46i3ZQ1WrfKXOus6rNL8GMw0R05A
UZaljUYWtv1MUMZBDWK0qFuLFIV36iUWeeEOYPKxVgHSbjftkOOjjcdXFNLRpYBJX7JZucWZ/eBK
W3Fk+2PzDHB1NFmPtt0T+L5BBKE4Abx6WbFAPnYlJwHtx4cwYxXkMujg2eCtuiQ+P+M4HgQ3ULhJ
daVjSxT8VToBLjGgSvZYEEBPyZnJ5KvK5pJmRIjjrIMe5128DKab4hPBYm/Bwx2DYkqn9EJWzjNu
wr1vKDv2borDU9orylfbmXeQQldJiE4k/rzTNR1wfkWvKB+uLcHnCdX7TmH7rkwZbwsD4UthN4Fb
KDiJjLeIpp8jvd0OSJ+ALR4xz+yZTQgosI1F0aAIuEOw17uQZdKAt4USeT6ymngjUlraJHco/rSR
2OO3a6iftFR8Ztp3xxopHmyq6yE70DJcL/S6/5vu064dKv6igsLsHoQdGZvIgCggKXEp6aKbuY51
dgLe6k7aUh6dwoe3gdvWkCBJfCBH8Dh5M0zMwSI21FU95s8JOg9hGa+3qvaLRKGaI2j1uRdN8hR+
szFkM26NKKVYNG4WtGmvtzjuWvpPBPcZgw+U9ImdF2fmKx3r9NxgxezNYzemWy8ZvsNC6tS1sN9r
/UlNTT16F7LAWkJN5dFLWCgZHJqItpzeOclxKfKs8nlJPwyqzkpz6qTijl/WXkW+jlmxrH6zlj1t
EJb2shM7FFxc3MJFkcf6aFf+ZdCdbI2R3eENSbdlthiE0/AwRPZu0wp+X362KxUVkuZSL4IpFdvi
FOHqhc11aEwL8Lza3P0GNlII7Qu7rdx7SDCNQRRk4nCCfvY71EfxaomeILSz6zxgYDo1TFyOMzLn
cn8ZvGQ6joVevfZbJnea6Ix5noE3HbG7DvEfAxnvzp0/on76Bp+mohu3yFHDvdYtGnLtukMqyWno
FCtNsmmIkpAkBXm56mz2fI560xhvVu8/lVGbtQYPUxlSBChtTNZFQebPGnhPDWSoHe5j3zA/XHW8
FIqpMxs3+0EvXhX9H3Hf4hkJSeMqF9eTwRLYPB8Zqu6ADu5K5zvQvGUBfnZTxmqKH/Te+unWaogy
dWHmcvPwTsC1y0/Hr+GG4XdRMptjKeGtICafCvEG2d8lOEA1Hf4p7q5cuWU58AJT1D+VmCA7bX3O
BrubaxwbY8XGZgTVrKDrK8msVerWHcsb6LM9gf3UeUWODuqIOAx22bs3xqR1WTP47FnnwovvUebS
sxWVL4FvfC7+R4vUpIm1uVpk3wMxrqCLQaeHqDCdq/1KxburXrLSC86cusPhwLRXMc9dgC7hp5Dx
1VS5LD0Pf7e05o0uY8JTN1/p3FnlPLwYOCg9L7+DUwWboQEjhzw+8Zl9clEJq1ELFYQPSYlPduJN
LXiA5nuHcgB0kNiyyGC0KcWsnu7Rw2Ls81Z8to08pvGD3e5vGLTrSGk3tL+tLVw1rnrTKgIzfdMh
HlsVuWP5a8V/XmKw+JJISgUZ7WTaGni0gkonfWW2/cBCwZXBzyI2SDqmRcGtGpMXT4DP6hn9WS2w
rZYMD1gGdSsVxNpENWB7D0tCCQCakYracNgGHH+FZCCvdH4ahlsfegu3Shw0D4s6eCoIWN0QrFs3
HPIgynQauRPkADTITTu1EKfQVIYSSqGjGGyTvW9n+sfyjiFgTBjtO3NeDLZFioZIrIvDbJ6lycny
2VzGmWrwfzbKLLP0w2i2eHZUSv7MBJdRyYs8jhnykXtpvaFX1xx+wU4RkQiMiHIbJk5sJL5Z1bS4
BNqK0z54JcOged5DGzUgbFWCJIdKj6JuEql3h6dpVte0XPHaX6h19+ukcLWDYzMCYmltfJhNK9d6
bu2skabwKmnm//+OYvrXjEV89uPh6XQFU1NT8fI2yM5nWA56H9w+iHFUG/XVjd5noPOerdiKv7Gn
Hb2cV0VFMHfoxAb7Cxes1R5SwMUa7TVuic8h9olRK4p+EzkxGmPIOX+dpYL3LhBSzDS1fIQlR7uo
1GksTct7JcAEaaRzSkn5oK3EtPPoJKCUBHqGQ+1nlhEqK5r4bjO24sP5ygbG7fDPs5xuWRsAD0Om
SUG30xTAglWT21vbqXooUbm7pAd8IxTZb80yJLre4uqubXaZHjaMqNtD6CZiUHZ3deRSGP9j7Mya
G0eyLP1X0vJ5UO1wBxyOsa56kEiKi0TtS8QLTKFQYN93/Pr5oMrprswxqx6zNGRooygScPi995zv
dBoc7DIiTXeAkGjce+U8AN0Vy47ic6GoGD8C2vNhhGqpZimILOR+MIcLnF99+BDowdBBTXatyRO0
7CmT6XhABAtQw9PPXSpe/AnHTUFGU+vlt+MabBNk/WvLGsWfjeall7yRzvyKaJodDnNRAAB3oxAf
Trgq2Ft9nYroOYnoDU5hjXC6xMwP6YcZ72jtFNXnxTwgxgnCRye1Xq0Ah3gcOgjibKbEteN9uCG7
KUQYSJE6wJpTAPuEJsVlm4XJlcGAaXXuKYT+SAMCdWVjfP9iTldHjiz2ol1gp1VPpCxfCrW8ly3F
KJk19HT00RT9lZlGoIVpb296KNEo1FGaGpQ36BsLSACphS0O+veTXRLDySyi4170Zq+INOLFEChL
khMC715YCW9l6mOPD6NdAgkYtZfnb4dyPlVtXxzzqmYRZq2Y2msQlfAVZIwfe47yEz4UAmCbg8NJ
PCd0IJoUPCvpVD0mCjfaD0v2c1LsiEON/WAujnE2fhbEVl76tSRNOr1Nq+zRlo3apOoFrdW3Lq6e
uuf8ll3JSquBvT9HyJo8EqdoVu5GD2m18gkQpMJ7QIz1K52iEH9/89zVNG4zZyNbD9h0kq4MaO4C
9JTh2/0o3OJCNt5uTtznCv3Wklg/vQb5tNuXV4VEabEI7vgVkQN5zApdjd/skm4r4e9gIxpr3Led
JqakR5AlZnYWDsnrxiLzImc3PcCnpdVtMV5Tfr0N5VkX0GBH27l22qm7PCZN9ES5Dv40jKNTqJyd
VyUSbjA2glAxFYl3GAUhZpEeRiejrO8Gx8ZJM7pmC39t5uUhHUblL35Pt9xAlrBqgix7EyJ2GTYQ
WN+ELvtdsAYlNjgMl4w9h+qfexVdc5MXIVKFwWPY6DROh5AWNFE2r0I1l9ZMXxhiHeAKT6LdxwMy
Nx9yfZMHcm9nERyrjsSnAMzwKo7DS4qxpzu0GoGrBcWko2oZyxinjts9LFZ7WyHrsxShB+zcaG7l
PxMz0POtr4c+/Bw78SMna8nuNJYA+CdJtjzZxn4CHkvJUERYimw0X25zrgdQZzrGGJ/hqGon2IKW
uxAdK5f7PmNXTUQpw6jI3yvOE7bK1sEiKFtMsIRT9nNFHf/ow+iVao6/Ie6oMLiPdqI81A7qGMsm
IDlKufeNK82l3IU2KSdzyO8aUbQxgOCkp+Vnmekx6+pzYi13qxCvDSeeA8VA0qfRIbZu64rMvKJw
j0nYPzU+13tt+vyapOzL0iim2J6HYGaaxEVRIbvN0pidhg8k0i0QNdT2xJ9JxlSdenvujK8+WXed
5dwva7yrkdEjDkOsA9zWa9VoloQCD5skFcGTXcvOnguLbS3JZBmCj0eZRzGa/uguXrUGWI3S2R4v
vfU3+XjbkoE0v8BYh0/SymAi5d2wHf2HumON6GqHEAfx6oXcglz1TioRruf65ITJKZ/6HywxONZS
TBn0Dva4IfcI6j6CYLguQy+89Nrhjvci6q1XnyBwF+MwQ1JIjNgnAd3ka+OQLXyYTFRJYYYyo70N
K7mb11iNvHqeh+K+azGYxEJhXbXfgkhQehmeTJdWu7qenjzCjOhrs7rMnCxV2X7H8FlvyMD8QHn5
1HSwe+cCi0MsiTZbJLucxNDZzkZvaw1VuOk+q7K8U5Y5uJ6FeKck9gVa371Ba7O6A9pLETio58jE
GDOPanNsXp1YLsdOYhMuRpAMYF2hQoiYNvR433nZ3q1qjIU1O/I+Xz2xE5ZsQh1cFNcbSwU/fIcG
kT+FD5baz7F8Qknxi+ALs51HePVeS06ggw47ItvkwqVxYoWUuIE/QWeqnns8+0/L9OGZkJmdoDWc
rsEhE5PZoYveEifG2FTlCw1mWt2dPZHfTJwY0JOUrswQ3nGvAnuRe9A5BPKtupLzZdH736K5YycW
w7zNhNmFW0VSMOJBthIVMSpqBoY6gsKiI0zqRgJdwEk+BqWdC9nZP8YhaZCTrUZBWu+1dl/sMLyn
q3VDaPApjx3u16wxNJk3HRilSXFbcvv6VzPIS7rP31s3JyCCFd5m4p01sLrWGhK1NkqPd4oQmt3O
cSwI68OAE19oMxzmCplQ2zIesTVrMDvUtYd4CeAB0qQBOxmg+LkUVgB5kCQogtvwFlDNZFlyG1nO
eGyylX0zXC7u/MNKijeXPpFx3IMxyAUXvK8DanSapvaLjPsfqfBedBxdwg+c0DxxAZoaqE+Mppp8
h2F9iSXgDPjR74LYXLzF0zVyow091fcMmUOL4KnD4iidlNjZ2mcrzc5l6cNiExiWYVHpx9Fabl1C
BCigQVLr9V6nrtjIDTBNYmdXoMlpXeIQGmIHQOEfgy75Lin8kbLaBEyNTKd8Lc3WEBY25Ehc8yDN
STmLPyeZPnut/mUCrkGq9rbA0F+Uz31vsJqz+5YD4Jm+gwtRZz5ZGuuBNBP4FcU6E8X7x3Qf0qit
MXC48squsnzrV+oJPyyeBHRhxQLzAO9WIglyikd1THind5MGJxlhUTTJyiokWXGOMb91LjzNVSND
mtuvacFphvjBX2CziwBZW+WLckeu6dp4NnIrxa8p7190kD8UJMvLQd6DIk7OaiT2xPLgu5YzSNS0
WR5UFNDvCdfuO/zZ6LjM3KIAy/qbOg9enSl/DRKEpHNAC3AF7eVhCiUzat5qAp0yD/gHbmeWX8tv
8VWww0wSJB/LlLwDfFdB/31ZsgadP/MYkmFXChmoGkXY8+3ARUnGyGuyvm++Cch0gYyojnlbdM+K
+YxbQgUfuhIRa0XyT00faes06bzxK+YnhcOep3Jhujd92axP8Mc869eWUA9cXyGTH5wWxFw3V6kH
UlstCxPi9Jtb0xT0jHc3lBUaCyuUm8jeDz3kztwvw3PdmvaCXbjclwq9Vprgpi+QJaOfRHhNLlm8
HwgY463k/AxUrQ5tQYtyRmENe5P5pJ4NoEsHCz3yVzhIJBLPbFWt4kKkMKqyaVZIW48Dgl+almiX
E6yKNE55aZvNYECFl4P0L4Kqa5iYpdzR411dMl32Bx+CnWQmrHJ+XDlQKkgjmQRMj5qIXLTxwt5h
kJyirIceNf+sEHwW5fxDrtlcowXab9GPXCs/h1kLlLyZ3GSMSXPCA/dJNT+VEvdlP6FQ8zOYc4Xj
0QGp6EDua8MjOGURbdEILc3naMTRBbhqhwxPbA+odwK0xirMfPQgKXky7XZB3r0FOs+2mcMAobAI
kF84QZuo/Aaj4K0sBzBVPX0CXpXKitjA9uHqpbszRBTQYcMalTegXBqJ+3lh3nCZE+obumbvDwog
pQFY2LsPqs30zvEYjlpA3zPuoZd2hr9OnMdG2bvKEMGj2WHqpnlBxE8QTfdkpTgZ6mVPC/lb5mlw
YfjNvKmCB2czErWLn0EwHpVbWGwqmYgPS39uKRHGlNKxsyZy/TwQUBlMFUgZmEHiDSFz9WVi9Rgo
O7lOlgeSue+dXr/WIT0w2wJsF8yaDGC7PjbDdOg1KGD4rsVm+pWHsXeJqD9gQ2dj2mLEaD1b1dLd
tGRiYxWdrlpl7WnM3Vlz11429BCx3ZMPSGTZpWMB7VaYzrkS7a30xgfPV1C6AvTA3mzvVLx0R5Uj
nSwZbe3MKtooetwii0Pfwk0aZnqGJHOQwx7CrxWAqbIWXhMmqHYgabTxS/ItdS3ocE/WpmF8fLI7
WjslqoS6PrYziZnZNKzlLVdnju4jTkb2D25OWPUICcMnaiqvS7oQULOUzRBl8s6ZUJjkHTLAw0g8
5QWXacUmMvPMgEU2vW/KwLnX3XThhuSP6hSlNL1QwnI8FL8Ed5FISjXDfK+Al6Q9va3ytNioJki3
Y4ZnYQTkYik53Lk4zuf4bpxduXclKYsuTUZ6SVrsbWKK2ev6qDY717pP7GpvoKCNWNWP0Vy82F0+
HDJdXusA8IyyXJJ6bEVUxSS2BGgQNjIz1gpr651O3q82h1podPXDinwwUnXwbIDO0BHgxU4bsnA7
ToV4mmGWSg9Se/yzd8C7REJ/DJ4g/BpdZzVipEFiMHsBwPo+nrdusuxHCmHCmuR4WWBAiH2Bghre
qFqNPhmYW0TfWD5YqjdImi0C8jJHvlGRf6+SZQLTiT59qZny5CPRsu/txH1CvjmI4IjbosdGgWim
5S11gdZF7vuUXE8zt0kVjbdwfBkPhLd968Bw9QUOsiEEbDUw11ze3Ln2iIWqXwhg1peo8h5KJ7sf
LbJkRGR/b3V1T24VXQpeMG7Z9GOZ0QZ0HCAPAQv203XIHawvz1L9iN35IWqRrndO8TBPzqM7LwPt
L1g0o7afezc7sIFnbj3gqKxRFvNrk+CGyhzCProRAlJwdS33de8/NsOrRaal1ss1ySTygtYdTAsA
Z72hu9t5y7DPGbZGLhGejcZ+UkGMlPZ8pNMUMqUnN5juItUoWTy9JkkkpCu2GuomCYRimZAMV1fD
Ak9PXnRM21QwcMckcpus3H6ar0oAaQnybXKfeUMAwjQYJLLx0HJRLiAZ7fxbxPAoyD5DvzkUfXKu
WYrbX6nP/dvr6XUMzKYa6yiHvqPxlsGVaspNyrD8il1byzYJxUZpbUXq3sdx/j3Iw1emgHA/Bma7
PlqnYBdS0A9mYV5Glwx5WMiv0DcBEXqlf+dbkvUTS52SW41Os2GfOhXXS/k8VXghBczppnxuR+2g
Uoaj6hNNooiODgyxJYzJO1V+z/DulOyB3G5ErzjdJDD3c+RKNsqjkD5MCqC1kPzfgCNO6gs3f2/i
u6wfaNBhZsUA07NnJ6d1E2P5IVOPvu2H3ak9kfURFzgyoKWHCB1H9qVcF6ba0LtEAcTjL+W8odly
IUDxr71ABfm8pagbKU0bKuswdi4xsaptTKs4931QAwyEq3hfEGsLk5dWue4pK2lbMYNi9g0TFSWh
M0KKZF/o/CAh5nJgFCgooDE7berSvnTQuuTppVszJaqW6KNzaQMX/tW0LP3FnNHKI6dhuGRPczcm
2L5SEsvZAcKajAiRRayQWbVLfpMLgMxaPfdXje9z09b72nqrMMm2g4fFI95VhJJlgO3SngK9Ss9r
IruPUHYSFE8mO/b45FjbrilYOt7j8CZEfjAU78J7cumOZmtmqskJJoq5z6GTFjhG7M+wEPCOTf1q
ul6xfSn9nVYldlF4nsFgU18HqGT8MN2uuapruJ/G9SsAt8wWIl14wAkNTKABOZV9Nsy4Zopres84
q+tr435HgJa7RpMKizYyZGlLCCJRLX54PyWaGjfvumTjcwD6gExybt/sqvsmA5bF1PVuZafeysSH
mm9TGQE3qaQUl5GitZpVMbNuK3vuHbXTVrHpiu6xE9QwagYL6ASrcv7KlaAmsRHW5OP6myop3WdJ
GJps2uibU2IS1T1IBIa51kObI9uZsmG5XlyUwoPWPaolpzvmZIiCe4HHQ9o3JaTPbXhQ1nuY9MOT
GgDNtCM1zvTKzUb087NekvD+64AyfD4N7OQCz3rOsik6C2/ERoO0/zY04CyHfLpmSlKfFhsak1cE
xXU5MuuazZDeMT32L1ovFFfGalxiB6BwLB7uZZO8OFUzPlidUZtBzd4hHAaSPCf3HLuVQY1UVQQ8
8C7QjMmOVYX2hwvliPtn/u570vDWqvHohX35vH6esIpRIcbVweoXjtKfwbyIa6b9w8Ej5lMlpnxz
2ujBapVzX3Y5Fje+++vTS6o1SSe12cZDz/Srq2oKzyTa5y6C8pb2wfOKSmmLnHxI1XvHUHCFKL2k
b9opyVuqvbPTWPOOeXf5Gi3Fg7I9c8e0q34e4Xl+fZqODX3+CtdP0Xr1pZKR+fbV10+moNiPJQbd
yWOD3k4I5DGF+/BV1/3YXLhb6mp4VoMldxXqpseyhC/eKq/jzN9GU+T8lFNFs9Z05iH2EZkUEx22
ro3DW68DqD72qrkQ/thcdwtyn4awuOd4TN1LgxPj0etQHOjW/j62TnKm3UZIgTPrT0mPrrsTvivu
Tdr4t0nb3LkSRBq/+bWJgV2LwHTXHX6tJhsp1MJmfour5aNyo/qO7t/wUOfzrc8d1/EYTy/hVQsX
BHLXrK4Xy8Aas/uHjPyrjbHct6pG8JsXWOOWqkmvjEKvo1AvUAhZ7Qm6zEUMgmI/Iyp/tMhK9OCR
RXZVHlrZTZw7cI/KtKuuEh0+rgOOvedE/s0c9d881bWnGmsrPKbpCKQtckO+0knr3LOSpzQXb+Y0
64i3nI5zm0lUUTEOodz6ni0jH2nuGbDBUM+E2W3jw5dreqJYeuAJt2kOqLxl/0uyAsDvr0PuIRFa
0txcUfveaMEpLwI5nnQyLLtwMaDxOYPuJkd+hMDa3ickf0ACnbNKCC6ki8qQzgvUOcZjNXG10o9q
h60OqozzRDrXZVUhA9FiZwRBhVlTf5sCMgPkBBV9gQE6c6+KSsC8TTwRBiAk/JJx2QHCgGdsjz+0
feUU7A4vltjbLYy4t8LR3dU48HZOng8+LbmK5hEzVNy9O3HP5W/S+RRpGMjwUZLLBaqbuNBV0x4U
nDdvHbZHtLCWsDz7Njp1ttrAcCwoAQ2z8p3trIndkq0qPaN95UeIhPoh9lCyoXMdhY1AZpHNln35
QzcW4c2kwWKbjC1w3sxH7hr66KUA2CKvm7+h8sMvV8WQv1vpgxhb3kUnm6eiwoTUdgB/tcloOQp5
OdKrvp5n7uPl2NUnBTfS5MHCtlBQqkgLgVgJtoL72aGeJAXXbJ88OGt4o259/j0YicBOp/CWSG7q
Ss8cgUgUrzTH2AWk3bceDD0CXfrRQD2tJnqYe9hPbe+V24i5JSNh0V0mwoZcjsy3mnL7USqEgyHn
w4eQxW3mJhtrRi7tuNZ4k0BbYQyLWLudrYl2Vo2IhiJnx8Mmx9rZqUrra8p7TLiW9LY1b8chc+JD
Z8b2TSrYGwKThcsKAUPIzW7MCqjRq7UddkHhUU+HQ8f+xI3rPU0VZCZKJFd6Tsy+nhymtYNoqvMc
gU+ygZyB+2iY7H4dcFNAhFoKlHffmdcg7Gc2fYsFiltqNkMY6zIkW+uh7ZioWwvKcpQv5qhmgNaE
+N2UGZLOuB9OzMyoI6ukIdhxEDeOiO/7anT2idenN7A+u4uobsrd14eOlaY3F4sDEUpxkVwsACdX
nSYNi47uYOFJYgut9gkLYX1nXGx/tsnwj3G23nmOfUdUN/4lr2tO3XoQdQYJSsh9XOfu0Rg7OCBB
SX5CCsDK1WTzg0RzcDW26mcn3I+0yeuT7+sOI4kvSNkpUvYk7SFiJ7sBRtQ9EfI+Xsmq6xjyQel2
Sh3eaJQKF6227FtfKnhTGWEovZ/M53ySYC7Mrp1c81kEiEZTOVvbxoeCGnYByVWLWnbyBTVTTBP8
Q1JGjlarT1rm5XnsqWf9SbHXHnFxAdxwrzvYmHFDsdPb6OTSqaA/5beEEGvx7I+rNFBDkS4ptI+N
jvttHJWYdyzkiIWFGNACztc3/ql0Q+elIs9pKDgDi2CGDpPg01gCuluRBF7VjzhjywZZU9iK+z5Y
NSOE3QprV+qcDpOb2GjjSIeK7PTU4YQ6pbW/64tgXJe1i0J4mom1k55Ca0hPYsh43JyyRyL3eZlc
YnaW3C73nE4/Olgw50nSXdVtDmI/5cZnnJLweb8/pKXpH/3Kru4CbSgEI/bxaXikCIhOOmPQVF6F
VSvOFWXZY14V/CjhVagW5wszevLUyWA6GYskuQ6i19eBEQKpKnRrDe3465BebAUk4wiNE8A1KV/2
m5y64L7r7ZPrJMPjCj3qI9Wj8FLBvktOPYvsTUWvhPngUDyamjSTIh7vWHBPC+bJG9upJW47Ojnk
cmW+1qclsMBJrQf+HnQqUTFviJdW3IQSSjkWGbmJFcO3shbqOl8PXZw8z/iSrnoRBT18aT739dVk
zAF2JcE9VV6xOlyfaLgB7YcGcP46fH3+61+dXL7PPbvvv3z+60Ml1hAi2ROw7TcBg9+6Tkh6ZGuf
p7M5txBocbcm+1La22kYB1jDrABlQUFD8q7EgiJRUARcPsZUd4sOsfQvQXSeCgs5+pLa2dZka4JC
K6KzDXfw/PUvXgD/ZLct+B8Wj4Qt2KlRvjgyF3bpp8eo+hrmUbvBsaDYRcPZErTM3Ha9er7gTuuB
sfKyMyEeiXgo+puMfmwdsu1p+gaCapH4t0va+7eFi2I68T3WSFk/ObjY9uHw2mh7PFpNOh7pmwuQ
T5n7bRCGXWDvBzA9Eu/Gy4I3bfM6j5XowE1E96jG2Aqv7+DXv7r1w69/NZJWDtMaUIX8ndVqhyz7
8CBktYCq5pClKb7hBb9ejP4idNOax+nE7dcBZCge29Y5zUIcVBhUe4yjLpD/sDtCGqwyV1036yGp
m+ZKSEZbrlv88hNnOrRulYDMkb+cpOpO/32ocLnuTWKT4tyYQayMU6R20AcIPmFZo4xhjNy3/ocv
WnIsuKFgE/01xaF88WiQcRNY54s+abU+Zteowr8RtaZHkuPjEbJr6zlesF3GEaDjfGweV4VNTyE7
WUF/Gmbh3nwdGK/EW2epoaosYf4DXrEmLKFnii0hHBYE6XJf2qAqmTGTzXQ7kEmUi+5+ZdRcTYsh
SJug2HmoJo6oYMw1w9ujyal/ZVPeVs1wTjATcE2zmqYTvqd5nGnSuLeojOGxWagrnCwKHmdUnJey
ozugMvbjwnKz9fIxT6lfMAoiBRFyx3tNf/Uh1KCIcqcFSdRzSwO2YZWEhCy4Ws/0Swj1Ei7EU0u9
LcNsTk2W+SjgqdRwWII/CzSpa15YvSZCVVw37HMaCIY5EoQdY/tjZ+DbT1jCLYqsjV1A+/VAeG2I
CKJUVMY+iLPwS/J6nVQ8jSkKj4FGUzB/r1HDXOLriM8aRMYpbsQDP/iaDGY+yBmSfsAgB0XKNvNy
yE8tbakGUus2gJm5LdprZqOEdkc0PSqYlXmsASl6AsdFZD/QKdnYlfcz8WtqmsFXd1NKblOQthmh
G6FLGJ+i2xIp/z4piXrIp4aySqgbep9kAK0nBWSfggloiIl04C0LbPnhJDSURma4yTAFezXV8qbI
zGMSP8afweJYW7/oph2YpvhF8DS2xSJI5yYvbVt1ic/K4aJjCo6l+1P4Zk3NW01vRfQUpvJtcAum
25l8Kg30qYho1OO0xgZrWR67HnNRLsWtF1O1OQU5IuzqoqskpWTIFwy4MyM1iYRlO7Q1QA9DRmTi
O82N8RFkt7ERkLN6iuF8eBISF71oyEsEIFlgAaMdEjnaPgd5Js+1RJS3BMEuWZckSdPORxGOqBVj
EB4i2Euy+J5FKsIp5pvNoPvpBi1KyZ4UPekS7XEHiO0YWdVhAgFkxWoNTOjmt8wSO8uq7ccwGFY6
VEmhgiP5jLDwHiRmvi/tHjJMH8ZP4+ChxKjj/RgY2t1D1u1G24uflf1N6EE+Fk2ZPIMBPtVQhy+q
jpRrBJ3zUzQ7SNHD8deioPajWpNHJnFIbHzw/bzz7PL6oL/y+2jeqAy2me+X9C7iSD0tVNMAmxgL
VaOQT3mESrSoaVW7JfN169dY3TiRbG+7zMI7l62LCbuzqzgWyYMZSxqXkciwiUCJQeE+HaO4n66Q
YSV0A/zwRQawH4A8h7t29G4nxhsP0C6+BbY1fEixFrXU6+7aLlgC+eq3Pe1Q9oHbzsrc3YAGB2w8
Mal+ZZW49gfSXYbpkwDR4Z/31q9baGVhpxtHvLeZ0eVtW6QtCQmBtf36MJ+z6jZ/tUECbkOi8dj5
2XQtrTuyJQpQDm74VpA2ZJYAL2ivr1onbw+VwcaN94qAAnYgFBgwDGVokrNYD2hC5p3dUOphYQS6
60DnaJg+PiS55T6U3r1B5kbve8KR4dRMSmQt935OQiGESEQoqCERlLXlvWiWl2y0xifWrU8xgQEZ
3CjcF0KFj551sRA2zZXvFJ9+9ewpfF2j06ljOlls/NZN57RyKP2LxYLfBVHaugvKEJXkhHvSi+zX
vAyY6BbdnVfDjioLYe2tEmVKowR64BwNp91V9tUQzPfJ3HvXxrxFIdJlOZP947UpGad6IkKFgpi+
IDk+av5RJ+M7OkTvcRnynQ/rdWd7TrDL2ih9ZUk/kWXo/pgawkQ8FzDFzLQEHUuN8Atp4GupvRwX
NQHF4VjMD6HVHpCOF5uYEvKqIWfwKWpQcoXj2O5wNLM6Ly1Wq3GiPosv3o0A/ujAYD7T4mXWGnuE
cEYxjiR7EPtOuxjrYqJfoYKiQ8CeZyCfWu2IvRhkw6XXi/kNTFE8q+a6SKIWxByCyzpJ0LDEMG2B
4koAJtL/EG3nHEwztVsvM/XWCsGRrMD6Gz/H/5PH38kau/IdYAjYgKjRYYvHTnKDcJZc6klOG7d8
KZHswQ0hwqFuWwhCRo1bzxr8faipOpYZv9ak04brHNqSwz9oxjlvP9uxzj8QgFa0iWJa/X55JzgH
Dr5ZbYWNfhAVcgX0me0+siJ5M+VQ93UYObdoRuTGdR2EKl3yTOlrAYtz6hur5GqXjUvgUVtG16Of
fBQ5A/2pAodL5xeMUEtB6pnskRe4PHtOW29//+0//vGf//Ex/e/ws7yjSMSF0P7jP/n4g9e+icOo
+8uH/3gqc/77+pn/+p4//8Q/buKPpmzLX92//a6rz/L8nn+2f/2m9dn81yPz2/94dpv37v1PH2wL
mh/zff/ZzA+fbZ91X8+Cv2P9zv/fL/72+fUoT3P1+fffP0go6NZHC+Oy+P2PLx1+/v1321dfL9Q/
X6f18f/44voH/P33u7JBsPKe/T8/8vnedn//3dJ/s43UhqJCe46hk+P//tv4+fUlZf9NerZyDG5b
6XjC+/23gkeL/v67I/9mO65ev6Klb4w0v//Wlv36JSX+JpRAcg5qz5G+Nub3//u3/+k9/O/39Lei
z+8wAXYtfwy/o/rnW73+ba5e56JScMf1fayethB8/eP9gV7a+t3/i2lrxt4R71noJ/GhrxCGwssr
F+eWxp7eZo7/ZKLWYnrUwmcuq3s206RJ5OnV0KKCDX1wTLRvtGknGj+kmPzLa/nH8/3X5+e4f31+
jm0MTRONYo5nafNe/On5AWguImWzBnCh7cKepkWLZPeiPnW9XGFcGYkFviGlCUgCNKfkvgltEi6t
+L6qOnn0luig87h8rgF8NgATL3Xd6y1k+6fUAPkR+PZu3eKwhFN0Wtr8lpTWmU1d816XSm+CJIwO
OeLM7RDOkLfLnCFPUUP/ruN3JJHTuVBZ+FJnyX2osHs2yGI3pbLfQ107sJ+W8G6A8nFuIH8Pwfig
4jH/n16i9SX401voGJoLNqeY7bmObes/v0S1nkvPleiMGVzZO/TaBuQcB+SgBpJN2R/cEbidbhtK
KyfIXvGlauSa0AX1DF6wrGJzShNYT6E9naLZtsjmyMLT1A94jmKL6AHrDcLefEp7GdwjM7xd+jF7
Ktl3hZXlXLVTSGZKVQU3UVEwUjKE5zZ+NF/b6AJpvF95OQJKbBLc2LQiRA7h3+uCSH+hbXmcldGb
UCkCJ0PsObPLzPffn0TG+esrpJX0ufiUw0Xlmb+eRMOSpNruEIZN4/jD8aNxOxXRREDBHB9Ccv9o
JyEWntzHaAy+OUzoW9uO7y0dfESxgW1hBdH916cw+FnoDnqFdZLPfR1yTf6qHjA5BLO4yiwVM7fu
UVknqUN8c5q8WG2pd5Yfb1OHABlnACP9dfCg0lTWMJzHfJof+nLQx1oupLWt3/HVDFNeRL3OVXbF
/Fhrv73Lw0Xc6SawNp0/akK++PDrgGzag0dswhN+EescjKAkAq30u/bdO/oH0TOOx+GqQP7Y0F7Z
EtkefzNz+s0Oxvpe2Fj3bYqkKah3oYMNAYEb6isltc8vqbb5glAtK7OEGEklD4XNzsDO6FMyd85P
izLjZcOKsBNe/6AL6eAuUOEL9duxd0OYvEkdvlTwRiubTdboVD///VvsrSf5Xy4C6QsfqaMvXZA6
6zr3L+tYPc9tHkaKvB2KwmmiUZW1pKJF4/iQMLc8Dx2Q3d5NTkNQ09JnzEpalEDtbPVFcnL6MTn5
qrvpBvdcTQ6wnL5JtgERITdsmG9nBIM3umuzmyiXDKgnefX1qS5OgVQhu9qW7iTu6d2km8wh7XOp
fXE/rYfcdVFPjOCHF59gMBf84T1aL1gCof41Zy15cEN1T5/+elzC6lRNqvznwbWrPz5k9LDFVeqc
wIQ4gPspHUUCCm/smn0aVeUNYrTyxqKHgb9HMfkl3ZV5W/rdzVwgrHlKABl+6P0kKmKp4+gwmLg9
gDufAElxiKNwukY9mBwjL9uqMe0JKJm7E4O44kRv08UtA/I7dM6VFzTXAY3H/2ENk9wE//z2aelx
LnFtShdPr/7LGmalfpuxQk+XNMXFRpYyO0eRd8fLMsNsV81VKJAhlMIkz6NaYxJNDYKxFauKud0G
LlTUhkSUx2zsIKsxiKsXSiYnBiRbgLWqFNPuNp1Zm87ZMNQv1Qwb4f8Qdl7LkSPLlv0imEEFxGtq
yRTUfIGxiiS0CgAB8fWzwGszc27fsZ4XWLNZxcpkAhEe7nuvjXWkPBdMAhdWOOXbuvD6c2X3yfbf
703x/1h+HMt2cKoK1h7Xmb//H/em58dOrAfo8ZUnSA6Q7i3M7fQJzQGOh+YtLFzxHpJ120QEq/Sl
e/ivC6EpCwKAQPqK7DDYsjqqAr6DNtDZZ1u7CU9h7J4vJsOuk5WRSJ9L/x63XggHOjM/FIEyW2xw
9inHSXMYXdIu5oLYiKE8O41lAJ64VJ1vnjq4YCuLcuSo222wC11wMYiv3hDy/MlLYX9xgmqlRRu+
LM6hSGZWRAWdsNEPEfr+BNBRmuGHx1QMsI6o9f99cWvn/3OvGMb/qAkc13SEKzxb9xDFUQH9t98n
YdjmKEsg6WTjRo7dHTAbu6CB+kgdchHgg9NG+CeM+OlQCHFnkCXueBka09Jpf7jhQ+fVCHBc7/h/
LzVj2GoIFI05RPkORc1znfbbMnGMV1FzuiAFZdxzfF/EOq2NMUNqyJN1UHnEhj/iBMNW5vnldM8N
MC9IzBksoLKj+VydSFyybzLtaPsLD5mPZb8C+WDx8cGXBaQtnGrra0RutqOEGhY1OtRbM1+ESYQY
rUGIYL+eE694MIwx3HuTvP0O/bsO96BOoAee89lyrFX+qhzyFzMiVsBonGvSR+3FcYkJrQ3B8IgL
CTzimGnRBwMDf1uhsjp3qaWdG3oPC8vcaW0WXMcRGDL8gO1otPpZEHbkNaOx87XavLrzpW4GYwmT
L30YyqndDKoQlzzChJH4VXfTmSyhqdXyB0bzah+EpKW0ncw+W6a2IiJQthJtdiqV3dOjJ/IaJkH5
0cfDW1fRzxrCqjgzQ4QOD/34o8rap9wse9h0Y3L7vZTTuNXjmjE5lukBF6M49uB3zn2i/fX0svj7
7w+x9T8eYtdwXZ/FiTGe6Zr6Px5id6J5xAkbRwAsEKGqe66maiehH9A7ityz6MziSOACZ2UTf1+U
d+Q3hSne/KY6WkPWEFtb/EiRYziJSr/dpbH7GhQ+676MvtKYVD8E8bdivJVp6K/Sokk3RDRod3vs
YW83Jg2b0T/9XvI66jdBDO7ciBz1XFnWkmbt9Prvb5m7/5+nA5fCm8qL1UsIvC/2P560mhlf59nY
IfV5IxjLp98LCr9FEjnmvTdt4xyCyGwyQRgyiqOldLx8b8TUm0Kl8Qt2ExjJAeqbUg3xi1fEzqFX
+HJ/v+vgF9xntitQv1jRyxBEpKLBZ5jicjNWRvbsJRHmbaJDgzq8Kz1rcWsg6wlb2lS/XzY1vS/o
LwAblC5+BtsCFTWTI8bWu0oAiAQmNPaamn6LCgn6SlMvDTX0+2qqXxIln+okhHcU119JwHQzjOqP
Mn3YN1H8BVaC/JCUjNHU/whEio2UXCfRvo+W/9ZQ0S6771bzfgr8UFOF2HHQnAZD+fgxWBRbVkmS
XUk1l0/9BCFu/AQqiY3KKreuE+I3RQ67nNDBIRCfU0E6kukySVHSexdSOGFX+W3RL8YifqDDv27z
4ppI9Z5IsUvd9NOrra1fe8HCEOQblThcl2WCPd2ycmOjeu9Benm7FYH2ORX1Le4nuIVFFJ+1HBtd
gr8+0lo6TmX6aJDo3SmfLVYEL+Ai3qT25Dj1oxpde5/YIIFl0X60Mk/pmPavRJdxuurID6vRUhmD
dsHLw/yTruzCzofnBOXwsnc2cUOHRE2PDuCoRHuOfJI6ooJUsLG6pW5brYdQbXUDZDWVKkk+EPbK
mIQjhoE5soNaW0gj2EqzeK2txlqZekzIeIbsTxf1uMvsKSMXiIRogEgelprZhRWDqbU25ArST4s6
2pe12PkJybiq82EcVuFf9Cya5npfNczyeMQubs7hOuhxUXrdA4TzIOvhOAlFUkE2N4ON8sKZh9Up
B+eYeCQuD+vc19edTU6G1xVin0noslrcbQ1kOCtJxCIprbTpTDqdSsVboUD9gNKCMtguzA75Zx/p
CedpWrGugtjSkbPslgtRMfzUqvTIO3PXrZ0BlkLatqgxQti11LZoPi56BcpKq/QjgPUZPJ9K9O/F
XXb6U6JtOzUbs4GrO2ZFhBWH5EFBagGpGPkZylEgSDCQRiT+c47m7FlIaAyK0TQezHR6mSSRQY1N
L4lRneRGbN2Nw6qHvLmhFwr4x+awu1MDMekK4X1cvPgA5fKS+Nl5yGadHWvwsBbp7XYg++Yp192f
TAbHHggS2BKxHyUFRm/zcdaOcw6jWShgRtrVmB5rUfxpQrR9ERiJiSWkobcW4EOmPZ5sOmx2tmmc
q4HIQzMp1+jatgigyWyqycpI0hdN1z/xE7EXha8ZvbIx0ncYwRfpEzJPeKNt7ePWcS/tEF8GaEqH
9rXziegcKv99ksSA5iPd2hTT5rxRWR8MDv5G7ruhNWQ09iNe2drAIPENg7B8B2e16AcUxIBH3Ft+
YNKpX/Ix9rCNI5k2ax7mUZR3M/U/nXQiF6av/RV9jIQuHyrmUPPI1fZIrMBZahA8NPwU5YDQaCBI
W9AFbwgRXEqfjdDqmmFV0tc/6BIem2GlX1UazTYsIB9Tjja0R6e27sf65pdYIpwGM6Wd/EFOSExZ
MhyRf2wY23XraVQcAUKYm5lPDms81vgzspepcq75ITj0Hk8gOqtdjlaLWBgEvAYdCzTdoDhJ7HLi
9NsjYzYDF6qmtlgHNCC3wrkj9ZabVpAqh1Vm3BEppWIb7CIAvqpALXfLU3jGIQqSZZMHH4C/9l2G
CKjsHXNjGOKF0kM7+1jBz4Mrdo5y4bvVy9hHIdvg+zuAdn0LXOmRuDM+8IH/JBmvq6lisNimRshH
vSxbQHP9oC1oINeId+W2wrB1dp2RNd2s+BD8bie6GFUrKMQacLKTbZULU6tL+TG5G7yFutPuE6jz
eRVkyyrSK1xuDEfiun1ugsTZpVjw+GHOilnidxeffeMejw6YM0FEXVxYawyC08KomWQYAYGE1TRt
gBK/thXK+MlkBF8F0NEbp6/XLjbNpYFje6niFlJ5H3xhAPj2vDh7y9MAEzBe/yye8mthXUVTPDN9
ukvcErhbHmTT3WCR1b2FedmMV0EVoyK0T71QG+DeZL6Y4F2ByHy3jYw3+QCwWHOG8BK4SKWQ3H8H
mdNRzhWQ37zHzusRe4EcgCyIArtAY54JkDydORzrFpq5P7u2s9kiUlgTd+XGzBjqdJZxR02q1uVA
QTQgRakRk9X2E2KLYpUomB+TnzGV0A2IAKtfHVHFgG+ZpUaxdosdqDt3TQNI35patIrjL9Ob6n2U
sSD2U5zv7bo+MfNyZoeOvvbJ8UG3s6pq9dcv+Y9MZe62GvQ/UeXJSxuE64S7/InNlgAkJsO+cq2z
jLWz6Ml5rvTgpnCxPNhFTHRIkgKgiNTGJ2Wkz8hBdm2B8DvmAKaPw7PHkWuDkv8vIAocCUnxbPXm
LbAeGSyGsISaF2Ghzeg9F7MY4MHO1NZ81AGc74IkddLn+jqQq5rhJn4frHo2E+8Ip1XiloSaUhYf
G6166/vBpyLx/+h1t5MJuaVBSm5TXzZ/VdydFMfghZQelqVBueswprtBamQO9i7YABZEhwRWY9Wr
1CfrYxC7EjkQ8S0qH88dnR3i/2xm9m2I/Mzuo70YjJnEcJ+G4inVx63BPRY40CDqPoIaFspLORCS
O8bJn2RyrvjV3Z0/ZsE6d3qBK9o++k09HUHgZ7mJYzSZKbEDkh74Bv91McaOrYnNr8rd7OS4crpG
kAf8BN91XT3ShSyOYaogFGR2jttHx182eD+uzrbugxkDibdxJfKeNnL1DZq+DlaqQ2IU3Z1VxaBY
gk0xIZwHn+YsZRWKE32BEo27cQYbj28u3go0hm6KM3547lqIyiB66Kjle1XOR9yG4VisiYIIzLQG
WQvBvEVAH1Eo+jAW5OC9NRU9pNw6SJdgODpI1A9fMU2yhSVw3CNvQXhuJyZVRaUfcPaLhV/fnLJI
1sonaqWdNz6wDiYD77UkUzvnJZPZM5tkEkImet1h3siaKXHjrOo0iNc5mRLLdBazN14MsT9IX603
e8J5bjfGjBwiT82xe+ggZrNytAr0btVfq0QsfSUPVdPBUxQ6DoIyAp/ekCmDDTCa+o2q8rOeYSST
4UeExyfpg0sCSQ4y3sbq+QMMT7GTCJeM22iPvHORNt0XKIud1kDrouDvp/QpbQluwf717KPnCIY+
XGadt0bX+IOKI2QAH6xd08ywkrrMDCtI+jGEdS0+FVNbLdMWvUocHkwfyxHGgr/B4J0i6i44Yt0b
TkO5H3FydzQPQk40WaMQF0CYE5l6nqYVCRAzgq8Gt2S1m6zuMIZAoPUUL4kRyXqafNQSGgn1Cb1V
mfRbg3SWxM6A3MdE3DZTa2/SiqO+a/JIguZb48DNuR+0HMDHEd97fIzmS5jXu74T7n6Ex533Zbmp
dQToQUU8GOVTlVjdmg54xsyASL8ncyCnMS3ANE34ApjIghkr0LvBEiEIB08nFgdgoT65RUwm8WMb
/FWgSslm9Ej9nUaq1ILiaGyv08A9COBhWHjK3QCVM9bJVL/GePh7onGTOLjmeWyuk84aV4Jcpq3m
gxxhpHtBnPc61aBCO3z/KkIOxueGGhW9f4K1SqdV0CXq4LBLESDhbHk0xBJMDM5xrf7oPVLPyZbH
bj9nRdY2DEwc7olm59htuNu1AIPWqEd/o8q6ZyW0z751mqUNFY2zKQsOCQ0rM6egNeGEHfQUsKBF
sMWUcEwgZeLLivAYG7y6BbJER4F7TRC+oHUh5yTGvDHrUCaHaqCQAKjYGjgFzTkyes3xDZC/xuQW
afpsteIxNmabQfTr7BpuiSimAyTzy+CF/b7U4zVWNX8pwbTNCttjPU6g23p7YYTducay3fh4gzws
SWtnJiyjrONOw8Lr6JW3NXT7fSRQBgHSyc+dm+pQjQaJ5zAfkfYq76AU+kK1p87OoDk2z6DV19oY
E9ASkttVSYNNJO5WuGI+DAzVCNpmtgJqXXIxYvqXeO1y0ye50ScCZHx3y/QCFLBeaFNEihznAseY
PjOdsAmJ6pl8p1NsDvExS9iKzIrnrY0eZAgLiuwgEkQ8x1uGOfmDBDtasfyKcUQOueNvdCsi13Rw
YWAl0ZKhS/yS6zvq+ksqACgiOXi2WVRgXuRrWfC3PJcuWnAbcGGC1rnnKNqS0bqrGHin5kT2NndS
Ym0lJ2A39fs7Dta98unDps3JMMxPM1R7Q+QOu59aY7BJdnBdV4gdpp00YsVZtkWtj53VGOo5fkvj
ARI3qUXvVOAAZW30XkB0hCWeU9PepWommNT2RQ2v3sjxfnoLYLhyFE80RowwwCd77ieMxLZE5ilN
NWNbBs5zl1fXEAjJFzk/yG4xPLaaeY1aXkYRhWcEqYhnA2c36mfdBEOcm9q4h9coeHNDBotnghTU
FJg+FAwGh0hoLcYczjb30lQ2oJ8Ok4/PaZYE8HEp9LxZRVP0mRHqAoGKEIJFEJM71lSpu8lQSoks
oNT02aAMQ1tEIdbrLnqDrINMhx+gdZy/W62NKIR5DqysRSo3fSVh9RZaiGHdvjt1CXhJPeAg5BjG
qplsckzx1Gl6v/eIIEqZmUVJdISyhbrWJIIkErMxJ5xex9J6Gp7oWZUrkw35oDnpPmYYQs5aX2/w
TPMBIWUqNP0dAcwD011QygHL1dTl3yElqcw2WCSJA+jVXxJBi33ZQE7vgdKnRftgXr2OtFQ6yORI
2xBw/Q7xdcbIdK9pTMhaZW21MsILSNTHUlccLEMBbEZfe14Y8oKHpV+y5skE4AZUBaJAOWKVIcbN
1MJrYuYWiVHS2bXKPVHUPAYlDfoRuRwaJLXuaPUYJusi3XxRp5u+h/o2PUTjbKwb4/pY9RnmLxgk
TESTSyr7L9UTsqwN6cFHmbZMMZpy9kVQjLaG3eyn8frneqgJEMcZ3yr5ExUDiXBzpFmgvzdlfNTm
dMxkXopCIJY0Jzxrdq4yShIQWwaYWn105H6lI6Bl2sokdDCg5s9i6xN4xKdWFQzBiITzXZ4z31oC
cqAWdsxgM8OgEXlcnQH+my34kBxy6ngLmxaD3ir3JnNhluFdByi1UjJDRwS3SkYVbMgarE0WIZFJ
U4LPYioGKPHYkCduR01HxVhdqYMZcNiuWKF+ARNq4s8yIzH/Qf45LB9SS0nuMza9mb9Lm+Cm3F2P
4A5WgRasY48sej8cXFyvz0KLtGM30qHWS8vlezYvtSs3lV+gi5Lk3XUqX8X8nKmk/e30M/qD+lX2
5K5zrp3vE+0UB4az5xlKWeon+6TVW1+rbA7YaJizELMR05hlDckBwhDGm54p8yyYjeLhiqz7YHcd
YA1sPyKlRVDJbFzKOP8ZqKWV86Zh30oBywZpfGjT+mJ52VuPbYB6JLy2pJtuhDS+M9O/Yivlbhu7
R71BOe5FCJxQEX40hIn6OaHdFq06Puv0I4ou7SwB0lOP01Pdb31CzHkUXlI7HNZTqCoQltZpmNGi
2DrbhTHFapkaPkc8cs7EFPxhegO1o4iiUx0BLDTEY5dN8fVeKb04VF11r+LmrJlFehzC9pz9gbdE
gKrPwyb2KsObGjmEEzgy8TZOTsBK+FRK4wkWBeZ1DJ/YL+lp8EXxGfs1xt92V9kzsqdP2f3KZrbw
4C3Jc1TY9rApYFhZ8HHod/BVOjBebFztXCCdMy2yVhvFjtQbfnWAnv5SyNBazaMjMyclvgzjl0qC
Suii5Cl0rWZZITDhcAJZQY+gqGL4tcqalndLMLYyv4c21g59MJEjGBAOEdRbTSAxUR6WA4pka1gR
v5HuSqIyyfUDs2VSWiM5A9hG6ExffsJ1/X1d9TIbjH6R5SRPJPUKE+inBfRrUVmdWJhIQvM6NG9h
TzyfpLfBTEzhGWRynVDZDL35bDvEfAx0Cwx/DCGBJ/cwF1Ryhf7d5D6bgB1CuJtMlw5xgXReh7Pc
d8/FSAjgpJxLagkCSJG+czDfhYSxNjcJ+ucocVqs2ygnAhdwiK6c923clMAiwj+OBzbG0rJr58LX
rAnEXWKJuukRomoTFO6YhG8BUbpJll+Ntu4PPjSIhdmDfc5D59Q1zVdq/NRuiD0/ZBGxzBfPhTLj
ZREYAsUSkaC8SItxbeschaoaTHDX5rc2xpfhIz2zFwnRWfoA8Vw0SFeU5S7SwSQ8ZZIfYEOi1UnX
bXr4domZG1gI3lt+803jg2R+LnJwkkPnRrvKcLwHeyAvwTccTkIjlt8UVfwWSdvVZhBiaXxIQns0
4oESMs7OVc/ZSyb0BzptPaJlXcaeQ3xNecoFo9nA81/YSFmlohQSY5LtNauiEahTY8/OXXeoLxp4
/EUx0E3ChITjMyNuRi+HY25QC+qpTUjGXOIY/YQfrflMel0/9vNhMGnF1hmMVUjHBfYryMouOgO4
yTaT7dlrGTRiU8iKaLLeYoRMd8KyOMr3CFR6I33QkoDAZYnI2WfuAP2t/ltmDS1iDJRLauLQeLRw
7MaONPYyA3YIqGfVZpmknE13BpvXojTVyIo2feswAReIFnY0AqB+9bbcJ4ZwcB1XkMCG4TOO1D6h
Ub6c6AE7VnjJTHPXgdI8xXb6ipECnnoWPur4C/phSvaxLQJk7/V7rwXDvn0EblKfo9VAv2zp2HNc
dQ9EoPPHh8gwrsCQyS7Xw+96hVCdk5mOUJld150VW98MMYg+zE8djz3bRaZ4jrxm6/vs++CiqGs+
Wcv4hxGNYKQ5jLl3mRH3SYBqnIpk8LiBRMDK2bc8gJlEOiSNjnGLDwmogFaS46k3VHw0pWfh8RPv
2vyZT8xFd2LStl4j/7Ad4DRCR7QsDW3ZkMQgSzwwDAt/Wm36rugBYsnvPg2DGjmPgQNoDcEJrE5N
mu8yn1qpEGC4OL3CGrA9tDmxd856QWxmq97cdiKrMzlDhTe30QSYnoNXgknM9F9oXdPiKMXRTOjR
9eSGDy6nZaz6FKtZCQyW8Qc6bCJvRnjUyg+bbQiE2fQioDEJI4Y6MpJNGuDCCvTZat4A8YNpmGnr
ioHFY+B314p4CFA6+Z3YIqgV2dWN99KlFHIxHC1cwihQUS1or32nDXR6L6OVxS9yq7zmBtPbW6R+
C/Fv0J5zjRDmJgBcbkHtYgIBNzUi2FsM5rX3pnyhbPcHsh/ISuMiUrz7nURY2jiUy4w2EYUg3F72
tLTCQVbsZcErBX+wDqhXutmu6FbxX6ymcOTTgP7NfFghlnTDuyA6VaLBay3jqfdq48lIyq1JxYyx
bGC8hK+IprZdoqvSx6vbjYfCKcI720e7Z1rPPYAbGEz9oC1RIwYPeG6CB7jHE3ruqV8mECByYt6O
qJlaAE8eZ7OwPMUGWmHN66MtlOZlpb0UffUTklPwYpSiPbFwE44gg3E7UrltXNv/FlFyNOEKnZJ8
WOASZjZtVNG1qrOCPmVF2U5TfR1a6o/Wz4B7yFVmFNOuSw1JDKohlqAD2r/QRJOythY6uMRtyGx0
04KLO0uMnbSMCrmSnt6fCZPN775brGqqwntVwlysmzuDwrUil5geWIE7x01KuJf8/8K4OLLFKho6
6hKDoL94rSN3rUfN2iWfXd4Kkptkco+tiRG9iN68RotJHeCCrQSPl82h3fL9PTjp7CGgYL5zPkD2
YANqVmXARDoWDT0gILVFHA3bwKjGW+9V1rXLOEoY7wpVwyEqiQwDjJLcNApZGBRBt5u/iVnRPmga
gduGIoBM1Qlj08rWrvS6+rXoUmc11FEL/LJpNkQGNHd/vsjG5hmM+geQIZLYlDE48ubf8haWQwin
+BDnpvcYgKuuODMzJIe6z3Z2MoRGdIVl1ycHfqTTd8weguJsusNZn0z1mGfPo1fVd87U/WOk48QY
qyne/n6pT6JcmDZs7NF3v8qOB3+pr7LeK54yYcsnOy1/8BLpJ69u5JMHFgcdI2FGv98M25pVO5ye
Riu563Xkv/amAXKxqHMYdcp6Ej3zVEX8VuBRguqJhfrfcjCxxHbxaIZ8hJxFWJXB0T66ZqctrVGz
H3IIszqUBuetHLzyx4xTBN4eGW+RwNGvT5qzchKgdZivw3XURNcpTBoG6O6npWznQzLhWtbSg99o
e7fCZsgxKOcr4EQ9bzo2D83nkEUfYaKrZ2nFpG1W7i3xNGNllG2Ntq/rV51siu3cPz1Fok4OuL67
Y47dq0ryCoGs2f1IaT65IIruxNWaMf0LFfbv1ZhvLKbEJ9uiU25r/WFKPNK44FxqmkA7BPirGCRx
i4yVW4auS17xuO3bNR0g+SzxBjymnJQM4wxZSL2WRlAis4NTIQgJx7SHZxX4iYE959hSNznQA08x
qsZVJp68xFpqbskBGY/YztHcuw/5+EFokC2KqI/A36fmWcvUPsz41fNLwcza5+1LLgwg35Pg3prT
lBzGUsA41kZQBa+Ccuugi9JbxuKnSmwASAl0jjSRTwR/mgdLeilNt2JYt1YVnWiv3PokNleBPpDE
Fw/mGbmtMZvjbNY8AytXnZVIsIqtFImzKIUk07zWxG10cGDSgN4Mdes/Fl1xL9LKPSqbEAVVZBuP
JhK8XEQeJkmKnZXXa9gSdzn+DlJMxh5eWRNIgxe67lj2I5GhLsyXIfFcx9xn7gEEVwHbAihlWnaB
Unn6YP0FSZu62r6LExLhW2cban5+N8a23Ml5hlk6bxaMnb2okEhX7WDzJMQPKAjfEsqFh1KCofcx
0mwnzvzbpqmvaYtAJZTRT98Y3sPvhcwc0LI5hDDkqwB6vmH8spkmTNxr909KGwF8dcVcwGMUO8BF
iNmLfK2TD+CG1iPYqQO4J4G72tn5bHjrtOnBIzvcqDg5XIKCHAyWYb/kNI38hUhPEpL37HU+Qk3t
VEWoYMZQy0mzpA8K/K9aaXZMUryqxqOruVh3ZgqtX886z2BowF8Z7T7OycerautvXuAuGRUBf43+
mhnjeGI+iAgiGdJHQSCTAXvk+Hsh2Mc7auGrVHlxA71m3wuT/GivewsRshB2lNmH2DSinQnZVC/d
GcuOY92kjvDC0bl5qH1hH82NnYlGbUOYZAHce5gaZLiEXTupqT8QpViu6koLMOIWZB3o6Lpc0UYr
PWPAz2FLfpp+++VfjKmv7im7st1nVFzkW9D2dDqGqy7R6IH0VtGYuxsMTEj4CvmY599FiIksncaL
mTrVc9BrXxruUgjS40M8cKjw0nRfxWZ0ygS556ZIzromF5WyxMs4xz3WXuPNHF0e0REXV4RbrWXC
16ehcUtbh1HcBKGIJE9colivtkVe+edCJaSupB296M6iAYKuE2VEdUMKM91ChKp35Q1HoDjm3pwP
KKkRR+fCtUO8vOaHB03QwXKzxsoYnLCJF/TwTEirkd7j7HL0rW+NI7Bdex9NlfsQDk2/KZusPSWJ
oO7M+k0y/39gvBIdxMIGNX4ltyNa+Q0h1xjG1QJvEUtU0pnrBvoO0Ew6n2E199YTuz+NkAiPgzQN
RjNEOsaNre28McDNZevYnM34c0lqRn/GyTnBFiAq19DdZGYt8VB2Y7rv4Skcfy9ZkNBsmFOOmh5x
tt+h/PeSP17w3Bm5Wyxzl3E567m9zmoruBdx4FNx0GgyfAIO89B/gtrsP5X1u8mU7WLDWpgMlvhi
6rKNGipYQ3gRAProwIyt8GEGcpxg5MW3Zjcxzw8zy7jRF9POBjGMZCJZB2yyFiN9+TIx5d5GHp+5
5Xr5Oo87uk51kZ88Pd9FyHsIgM6f8tAojgUtshUwdkSItl0SB9dVF9El1SU08p3ZPEUYTY9ksqDt
1sPXvhUjieThTWEG+fE4iNakfxVFA15zEqA3/k+dU/aCIOf2d0/wvcr80LvuUDBSX8ESFSuHAutQ
eeDTGbds+WkEr0O3onb1sMz1ulpPGqDbwcrtZW1mBIEn6P1svdKv7ENQPdpiePIHihTpJiRna8BK
WrqNPFfpqgUusIn1jkhU8sTWpT02G/5CeIyjxiV+qHWfHBVsETXkyG1E8hJOG92Bd2KVznfmExhG
NuDdiFoTKS6JB/3g5pxRtHKV4URbAejPGbJl6hwMa0d5jz7DxqJ0xKPl04+SYfyZAfNYZWEhT3WA
6KXTL3ZlhLtR6o+54YSnngJpKd+kGwtIhZ3xFBRAITlS0IOdYh8bvly2uCYw1rt07nR62cs08Ndh
SOsIVYU8udkMKwvgwk24Tzb08pk0zBFGPk6/fekFNeCDqTIv/hABVG8ja2fnodoF1QC8WuFERPbG
rF+2sL35ygxqDOa+7m2boiBhJw4+baE65GeDQ28i6nZ9NJVbxIHWkv5qda/9qrrb6gttaHHxqRvO
WcTxppnEKTQrLoyZlpNRkc6iQnU1ERpdvdRrj54lrqHd3bGsGQ9+kPVPffIEzMF8/v2isB4rgHKX
LDSfBPXxuZp583h+/XciovYcYhQtuzjbNoKEmUaM+e3fFZDMeP6hS3eF5dqmRY/AEyZWrVm3/h/S
bagWqlEBAqIY4QvqmUa/OYnjL1yLQPBfh78/K+VjvOMLvQvhfYwDD1E07h0foyoEpW7DllIuUsyl
dFWnnjYampXIegFhmNGUMGYEmomysKzIZBzKgPaitI40pGfBxgZPCKa+kXDZ9sz5pLxWQ3LBs6Rw
LnPRBoZhxTAzdeYv9eRPFTOoz01XHYPQWzWqaXal8pwjopxoL+MoPvqube3HIqmh4n6AEWOkhRmZ
mMUOgL+dtG85Xq428fKrmi9Rw709WRApY4ZOSFnggW0si86mZWbolZ3iOVOtOGL4Ri1TKoStgfMy
dNJY5MBOaF+nu4mSYzE56Fc5NCuUiNTz/Bz73XL9neZW8whOPyLhMyA6J942U2X7WgykOpVpVjxU
/QSAVZEYqKVBee/oEK88Ems2v3eeFV89tyVhPRzeoIskL4xkEPcPGRAu63VAWHP/vXg2xRi2C3NT
HktyCR/KoK1PKZbd1tXKx6qFOvnv98//EA27Dqpr23Ud0zMFrALjH7dPEbulrub+yOAyTZRxyVDa
Ktd/VDpp752DI14hw1l1On8GyHF/yH0WN9OkS1XhweADA7WVkmRFn0mcI68CqRHG8XV0ZbG0IkVz
x5bBRbPsP2WXDRxNEE5EAQK4ynjzsRTCBWL/avLmrjJw7YFR0pqumZAbhnWN8A3s//0t2/Nb+k8j
Dm/Z8z3DQKtBJife+//+lvXa69uqbkmg60pFF9XBqe3jWVclOXWGAKAN3+DYmByvjcDUT24hVnoT
xJeWvfkS6wjfSl22hxg9XOU7zesQl9oBl3i6Cqkv3rs5uSNTD3mXEsIA848Smr8XRs5DJD+VHhDp
XpGza0rmkDU4XFkOF4vC8TWyO/1ARMorsM6DkTPKwB8VHI0cBSdTq+RIT+CVE1H++O+/kn96W2ae
kel6vu3yW8GmN/v3/mMNAaZvRoniXtYsgtFoJH07ufa/qDuzHbmNbdt+ETcYZASblwvcJLPP6jup
XoiqksS+7/n1Z1D2xpFkHwv75eBewDYsW3Yxk2TEirXmHPNbLKjzidWkQS9QBwyKNCjesvg3j+B3
b9tP94OfbjrcCOTdpjD1X+6HLNx2xOrP9jbLt0yLXydLHoc8gcW9JCBcBDRQRqpZs2UIS56wnN5k
5nQeQUft4T//ImhQGLolXIe3wvj5i2AZ1JIyZOIcGMWXqSWCixNdOkSKQVt/tiJC7W259AcYg398
C/9r3uX/F23JFs8R/u3/wZZ89ZZ1bz95ktff/4cnWch/KV5T05WYjg1By/vflmT+DXNLPO8GLy/7
nYMh4E9Lsmn9C5swzmOkPK6umy4P0r8tyepfjm5R4AtcArYpzf/IkmyaP/t7+P9DEDFx8pGQCWEA
y8XPz4k+hrkWppSAEYtBR/uD01RlTT7Sya1aiJjGij85H6TRH6uUTNLoJYs+DPNOkRgkKndLvhwQ
zWRfxRnSk4lFCF8VktJGf85KkFBOdES368nTFDyVYDeIOBd3C9kUTv9WjWdUwUX/ZpMX3p2C20K7
VWS5lqcMVJDcBMrTuTKXTsNCYX9xdZARN0twM5dfFo7DTI4Sc00OQYWKLXJjoTEVaK+dldTzNAEL
dW8lrTQQSJRoOysIvZkAwISBN45JcjXCLWGs6JN8EOWAU8qNmQDu9TKGWCWBBMq8rchJn7AaOIRK
xQl8yWlGFzGRxTT5DpLBGW4cBuADwJgTzMx9rPERHLEdw0OjTIJF813M+W/KPznpuwfGyov5nmH7
rElxKD5gMhbaJlRc0QzPtUIXbTBms690K/EDDkx4WlHDB5tYcXgfH5ws8RXXPQUjM2T7bJbRERyL
R7t8NxCqQuG3y0vydepoa6LMbIOvYhJHV458/OVIkpJPZIxXkXPEUJGRH0Qihs5kiXhp/NHXlxCH
Xt/tATRYA2IvGt2wOSzTU5hx+wxJ69x48BlIIOIiwnQfAAxer1NTz1NIwRjT3Xnh6FvBYKUIawUi
+ad+fkZBYF2H8Wupn8r2ze4RGDmMqSBxmBzyM/K3oHaTaDfCF8+NZ5W1m1I8c02UL8B/aFzVz+tV
xkxkAOd4ObPPMvzQpLZRcIqDctqhBmZu1bK+DnR3oDrHgiPFmoT0ylPVgPUx6A/HsvYMHtSVA6W5
CJ+GrZwmOjsgrrlR9cf6T1yAbPmkbZWlb4aWNprxsVYWEZNAelpsJe/5Iig0ngtGMVpCxx5WcVBR
5C17BX5tvayM20JuHiA98ubppNFc3U5IWhZX83HCeCTj+lV+kCUBCM0rOte2+xARei9kD43NA8Hj
NYbmfoFalfNjdH3yLdxABbDHohRbGd1bLcoPvNzD5wk/ar9qdlqmTPrnrj0J6jttWUGyjbeQ6lJO
mKbR8johQFqmeB2JOaH1TAaTp7saSVEIudYcqSTz9eqj53yC9tJmnpI6R7d5Ti1kMpwqGp6BLAd8
D2+pRsOCTHpgrkwq2IbutxeiF+g44lNwbpjlegaAQ8J+8GpMRACgrkfCtn5nI8/K+uu449fmB4qu
jbXMvqHjztMSH20+MUs8ToBRZgy89cS/Hydfrs+KjScbfY+G1wWdSXTS1jDl4SpKPn5YxG//2Ld/
5CHYPx9I/lwbFQUFhxJd0kL9eW3kEG8QPxpjGsm+tSVV9I2LTCvLTC8deeSCjPH6c45Mri/WT+ac
u8zgVcPS7xwlZ9dqAfLEHR90cRznfUKAMYtJtRuINVhTnquOQpRaS2GUiipAsNNtox/WRlrXrI8/
hjzcbS6Szmz+WF+yafr+DqwoHP2WcQfaWJ1WhdjQfiYO4oPE2I2jP0t7nxtkQHDn65gvsX8OZuo4
Qm0Cot2Sz/ku4KdZNAFyaNvNR1PftZPBRP0jANha8l3HM+YWJqeWdQNHOO8Y5kz7f/52f3GW/vXb
/cWG3NszGgdUfLyvT+n0SPaTl2OmlryjdoK2iFz5rv5mSkbE1zNCJ0i9fttcwHlu//lK2DJ/LKP/
uBKJI9pRnD8lG+7P9xlZKYOvNuU+l2x2gIcvJk/7HHlSR5+6Ue4OhnYHj8u5dsFsz37d3rbBlj7V
JiGJvdza1t6SxF8QxIibG/DZhi53Wt6sg7H6o1LnGt9uzB8vprlPoQTr8KMYqEF3+OeP8rOH8Psn
cXWDIhTTrqO+o0x+LH/NxITvQb9vk8td4773QM97nX6AfSlF4/3zz/q51P73zzItvOR8a8L95f41
glFUREoNQ7HdKiIIsAnQENsrlLXYi35TW0MX+PUuCQqhtZylppVKGL+YQkdHnzQjiICks94siXG0
A16rKN2nlThOMIRKMSOw+TC0+pOG7Is9Y9RcuFrP44hRIAyZStL9ccS1GGqOBoQya9HZEP3VusoD
YsILlT4jQcRiVr2H8oWmnRtHT4lJpv2qhY27L0oTxyB6bOLuuLh0KVu4uxNxk2tOKFdB0tItzYSr
0a0PsviAQeub865xWCwmokS2i/5WL+G27j/GqEHCetTZXNcygg47JA9I1zX8sTN/sL1eofvAa3QZ
cvMYzuS+UhFIuiM2yjQMgoxcw51p3ZrDfWDm+1b7nEtxRDR26Hjn5/oDVTOnDZqJRIQ4PKnB5Of2
rdFTyAyYyFjv6YZ9L2wA52xGcqlGkoTWnW/9tOH4aKTxJnjWmUeXFXnWcvW/QfBVz2vVoPPfaOvL
0aBFUCAWWOiboDn172QPphaWxcjyh/llAEhsEUbTjcZmivYGm58ku6/raStqX/ZZ98JEBJAxyq5d
gqSnQHJYsUmE1D1zsWsGXsQWB0xdbAaoXO7yVaa3q54jKGKCuChh6AaJ9HX9XOuGkpcvC5k8dn3F
wLzGIKgTf9tr3FTxeU2mX6+5Zs+bY2KBVrIOWll506NUsiJ7K1MIbc4pDSmAS/5nyKMipXk28Fjz
+zZJfMoGPuXRjHOc6s1BmONVOeJlQrJmxseI5v5Mc9sCez60Htfm9/2riYNfkMCCG4eiBH5FSLEI
ITVo91N5kPizJ3r+bTzvyjHbJ8DTTKACur3XVb9f8stC/HPItjKwaUqD/7ukqrLiPe2FLD+xXcbW
1fd9eessLojntxaPSUEBS29IoHCoyq89nwL/iWeR0dWWh3W7NjFbrOVRlaZ7rWgOIy/NuiOp/CMd
dvqCXS3JPJF0+zmHiL+yuO/qJOZWwP8H5SyT8DEtTErF8wBNF2/vsavCx0wYXro+ENrz3AMNohki
IF6kK6xtuOpCagNgfKREjM67QXUtNGIt1cV2LrMTezFlrfNukm9XiMeC/Jf1JzjU1Dz4JRc3DSc3
ZzhBcAHEClDbAxOtEtcNwC1/JB3TaU/rOjAgQAmjaatJY49E6WDV486cX9ZShOrGDWkn81bGKPWW
gYklW55ZP/AE4NI90ODZIPuoQFezHVbGqiU2OBAYx8i9tUmuWtcLRBP4pJ5LG2sEu1WvhI9tH4/3
Af/hIc8bol3C7/UtM9vjvFbV02Peva+HCBsN+3rGwLeHmeMjzVbN21p6YRIePohw3qYJcXT5Xd9+
rEXUKI8r25cfI6nCIzciZQjXu032yzqzXl7TePpeFFsWsvJZx8AMlPTRmkritnEfVx9F+1Kl1cEY
t5HZkNWLLRlthtWJo1XFt21CNcDnGYjDRabfknwqTF6ubA/g2G9JD2vIna7Vg+NAZOif8/p6l8T0
rfm368mijRgXZth81tbTANFzYIzGvar+PFjwNKxHB5dd1OVBo32C55FijoaRNO4gnmxsi3i5+IsW
IGr/5EIc77q7ePIE+qXZfl+/c7OqOWR9NAXrPnWmCytuGCmyiWBcT1S9yG5sm/McGE+dMY2E5ItQ
rMpSXL9M+8OccyYnFgRTetCiUg73JatY47yScFaSZBmlnrUee1Hq0dIfQE8kUX7gtqJbe+6TJ1F8
iwtFnb8qx7Df9IDruAbk1nAPfYUguOPxjZqFXItDRUlf+cSmJrQ51z+Bzm21TsJvvuqpIMvoRCyK
Z04xZI/itkLtXKL/XYdyEFrpujNv7RafGcI2xE4g7sgKgZhdZY9uf86id7lsbXMfBK+x+oiR7IWP
HRXxeq/HIt5bDxlNrl5++/fFlikj6O5eaDAhSUHpEi+2tZ1TKs4V7CXGHqSWN46KIm/eyxrnFnJ1
NAENDpigSLxaabt63XT1fSm+AUNkggVdCttyfTUwHaTKgGgfKqSh9gsSvAadluwAGbTWVRHRf/Ws
+MnpH1lZ8driKkt3lBd7TKzx10hhigCSHT6OzMfy9qyxbgZV7gfd06qrT3AaE11EejuvD4fV7rL6
VhAHbRpU07V9KbLHGpkR3A0yaBi0RMdUICO7BmuP6plPsRZB6y1b+me83iXZvnbmo8reDHHth87F
RSqLOS5fdvb45iKjWHOZUmOnQFqmkg4uGi44bBjrxakY13yto8CdZKTukxbWN0gbNhBEfVo7G0Mw
S2UK0dWkTM0kaRVcZh9t134HEgYiUvgE+HvByT6mDDCEO2xn3ikV42kseJFY/kTW3oC5xbH+StBF
hmcBVs1pjOjU4SnTYq9HtMeGQMzXTqATk9yRyk/FSxjs4WGhpVwfIA3xPpQCnO/oklkFzpOGpTQZ
WW4J9lnQ4YtDsLwo4xF+FKYjosn7Vzl8to2nGeNRRhZoiMQbw1kMlFEiVpwTlPyoaAvlWUHvudi9
jH7E3ok8KMB2qQJvAY2vkXvqpNBYXXlnFkTJIy62WCTz5NLljP1BNzjuxiARMdDYHYiDqDNeK9rX
DBJBLYcsHR0kVrQWlJM2+Ucie1h/MOQRcqqUF+XtMTdAJwFLAgXaT996eiB69qkl1SuieEl5vEPW
wzb9JpZPeQlU+lHT10TJnNLjcWwSD2y0iVCuWMGQC+DTueOGE46gvq0PisHaJIJvExMyk+QmZqQz
Vi273esEApYW1FimKnwlFescQW4IF7nYOdoeLAsxqvXNIgeBbA2/B3uJCUC60msigjJnfZOJ12JW
HoiC7dKg4KA4yoeAeTX3X/DbzPViFh+uz5bxEZ2qmCB6AubJW1IBFxxAcAiiTcMswjCqrRVF339/
RrsGrDLaPjRFvG3M4pnab2j/+p0uKU157KJ4OyMEgC1LJuLqDJaHceBC08xPEDfGrHY4qfwI+2lX
A05nkEH1uC4Smq248Atzq42acJuvy7vb7yRHwsme7nLO7utvc1vFfACEWkd0WDHsykLb9orXTKcI
k9F+acJ72WY7yypeiQVDPURp3O1U/W1W4xWkMw8WLun2MwB8gyWAzWI2Lm5zk2VYLjntm860o0Yh
doxXIt1m9NXwvx2KlvzXhdJXReccO0KfN8w+r9woecbEvmOoQxDsuSe9bYn115iI6V6N22RO/LXf
0an+Cj4j0ZL3VorIhO0MIIUX0N+L5XObJxh4qERpG7bEhuvUeV15F5KlEpBpO1bQne1otxaeKfYJ
AppJW2V3S7GCs5ubtuZn2rLFvkUASY9p861RvPKoUBK9OkQUlWzZm9GJkfo9WvD/N3AcDrio/e89
yKk7pYykW4bU2Ez3sYkepPOzIILpwOtI1kAnSMg6mzzT8/iRrPspHgbuQfSlJffD7og8HkfUQGtD
V79Yw/OyNLAlI/R5CfyUZfNlsT9aCNc6XcK1yMqIj+0WfMRtdqONzTVy5OPS1fsoTJ5NrMN9pPl5
Ed9/P0v+r80MfiSZ/p/9/z+8U5dD7P88V/i/2df8rYh/Gi2s/8WfkwUFnNR1bAj+DmPAFUU5fl1Z
p0wILAagLidz/ARCrYP2PwcLiv/GsqB8wn4zFHN2DvV/DhakDSBVEZxqYv5DFW+o/4R1avxyWteF
TgdCSMl1rfP879PaHwZxix3kldmxdvWy26EwMCLG6zbuggrSZbsw1vTMpEXZsaqg3H7ZJzA6OICj
1woFaQA5odmJ0RIKn1lXIM7igxRJdBEaYindrQzWS35pxwEFHpazdAnbm6WWFTYSi2itxfzNrNVc
B2b/Pduz1w9E9U4mglKKhVyu//6HD2TTIEq0MIq9orLftEUGZ3f9i4IB5rj9J4geJNrNdnqeDa1l
ZUdHF4RQtIKFMyUUpoElOSZ7nbF8Gw6POuXnDWr+SxcVGcFzgdxXgkiAbmFaYpQRjLkQDIcldedS
f6AprSOyxxGxjFcQVmv83Pk+Gorl9ocH7G96nr/2wviYFlNDZSkl6bU45i+9MFsTaVEb8N4WDrcy
jB+mqMKeggErS+vPVlLQ1K7x55d9+zRbEcmDM6ozpWhmObm4gMEudjAKAOqsSszOoR9N6y2i6p7K
LVnNHHUU/KqkA8zcNpy4ga4fDdWyEaidVbnlJ3sAmAG5aNoK9C1POWwkH5nqi5HifdStRV4bDceg
eGIPiGoQa5NF6NU/fw3fx6M/322Trq9J71cKSzr2L19DCR9YcggoPTq+tO+qWmu2wJK+NO2QAAcj
DzBjo23CVjvHuSn3cJIqvE5cbw8+5aYbsotZ5NNVN0UHxmSIA6UePYSwGRK13CDMEoc+16bbBFyr
b1UW8VERJuEjsBaeqQDRWl03x96BParHevReMbeVRxyM4c2QK+2QlmDlEK+oTV3qX6shFJ+7xEKz
Xg0krNHqV1ZRXLfXic3sZhhdUBiZlhx624QnZEAKBwGHcxMzmB4hCpC9tM5T4MYblYXhp3awLBjl
iUB2yi/pxkP1ID/1Gv2+c3bGXG7W84thVtoxNa2XPtYrgwNjYB5Zla5XpzZa3oyWwyzTi0qHP/8S
i/Y3XeQVzvzLa0njVirTdA3bcvVfn9dOQpCorISy0uzyXbOi2rMKHoEWD1Qv2kHvybje0Mi5aiyA
mwJmy1nX5DqVSEipnKe3fNZxJhtleV3PtNQc8jvu9aA2rwaOL1qCZcBZnwEme64XZmXMWbynlnJq
WndxS4hWSo4R2PPM/+dn0FjVAr88g7zeEpqupaTJq/HzilONqxRHI4qGrAlOzSZSW8YH+fUY28H+
+5NvT429nxg14FILZgfRBh1nAYvxpLXQIKoKrZKUMZa50i39yWDNsBzjUz5HKMZHglUmo80urjZf
/vnSxd9cum0IxzJ0bg3T719YdoNeZjVk3MSr3Bx/+WQdB5lkNA5LTGajc646BL2uQoHhzFV4Binq
VTlH8H++DLasv3yDHCQVmFqpCzi1bIQ/rtntNE5dr3OaHpsal1OGE1nOa/rdKJ+SLiwugWvkl2j9
OxilNRo8lCtxZXPL7QdX3dFecen6ozD//neTikBtrv8stOzeF4PlbAZE2BfRcJQcLO5P347LPgd+
/ruP8nffqLQA7OuKBfqPOf4P28/qlZ+NlY5BL3PedlM6nDvzvs1icfr+CzIk+CfrP17Ksjk0tMjI
/fo3hfK/UZRz4tIAjWNn933LpFOwpcw7F5KeBRjE32wnf/cg8Maz/RNrwHWrXx6Equ9M6DhmTtyw
SYQ4o2a8BHTtUIZvw0HgJAmTL5wg3GPOeZApyjddS3+zdYt1sf7lRaJIMtaFnGcAHcbPj8GE0dFa
VacAyAIFLjj8UE4qoLZZZPN1Ur+4oVHTf6UnENTxrR0hg/jnJ1H8dZmSug55nlKNVWpVbfz0JA5z
nPcTNkfyljJ1jkjI9TWCRq5iTEUi04OzU7bvVgLAZ3Y1FLM0PAZzvAPvhE4xrh7gCU5XFmdsow6H
M2ODFGyO26dXv7nOv35VzDmZdqJZoQK07PUx/OExg1iNuq6aIG9qPU+4ZtpXjTCWk9Guzwj6gNpG
FiC7Xl6i/KEpRXT65ysw/noF6GQoswzBvMdBMfPzFaSOHpZdgA3bAZGM6YSjiTvq10iI9WvT7q7c
GROn6gnQRW65nS39UTSF+QSp9YywKjvZg6AjgeZ2x+oXXukdCSDxZB+7LiO2KY7c3+xAv4zBeCHt
VevFVIpi1+aU/vP1LjNnW0hvf1YKXa3TgBuN8NKY8LecxP00dpb33WcDvfDbP39Zv4z7/vjZ/EjE
QmwU5lrN/3i3rHwFLhE/xWyqB1uejMxMORLTUDf7/JFL5inS0/F3D/PffGTBjgtNUlAi6t8ZzD88
JF0gJiIQwvXHaqbXvtHFcXYhFgAfHzQ2QavRLw1DJF/O7jZbOTqhtJJzTF8XIgyBsHmbn1IVE6/c
mof1PPLQnoesaX6zDf3NDmpDt1FEO3ACoUr4ZYDfFS0ElorvJwIy+z7C0AojupZGbzHVi5gjqOg+
nfL2LtE6QJqm3noNrt5+qDEf6E1JJy1XgJDi5b2y6vQKoW1+06f0rdsg6B50vLUMtbLffL9/c1dt
Q0rDZuVkyP7rOwjaLbSKwMr5nggUxe0PyRCTd9vVimZtTqIS9rvfFRt/2SotnTKXqIt1nTL4258f
JaAvCyAySY+yFqxSgrjPnu6DMd25UYh1inFVbpeoMDCMOhkDFyyB0AIBkyBsmzcFMaSgOh7mNnzH
qoijALvNkgefCCwkSboGmElbHQ4YGIggIvRZqd+8hxYPPdf40zpv0WBlcKykIppBt395HcBINp1L
NBhEKgqm2ZF3zZRWeyfWdj0Zz1sNmJtHEiUWhNi4Qn7vM6tL7oedRGzuh0tt+B2udzMvtlLBd7Vo
M22WAKXTUJFUVs/BJYqU5UWCZnFcZDTuTei6llP7o4MYTYTN3bJwjFW41MxSkLxLGN4gMKfhePmq
cHoWIsaBif96QRyH2Rj7k3LuW1JsWQuZGjhq8OG/JNoJD486tuu8u5sJ+jIymqzL8Nxo+baG9XXu
FVJSC57GniMb3IPkOifK9yz6T9j2uOJSGmQ8E701Vovp1eAwSUOCR0lXu3XHJ/BuxoYZ19e2Mpmn
jWJTUGz6emjXWwCP36yR7dhOSG1lltS689Z1tfNYaZeifiIJu3244wxTbcuxKlA1xR1xtJmFuEj4
+gRS1ATgvHE4mRMB+RbqE1oOzptM6yx1Att5iORo+nQIGXuO1ifskTSsO56+xN7mIimYpBPixhgW
Qqu4nTRZPRRedjWaZnJnB2uCiolNHkLbi6kzOetnq92mjbZDj7Dry/i2TBAKxYIpgQjAKiDHivet
qLDu5pOX9HeoG3tgGhL8YkPSFzYQtFYGPIQiodMXVlXP4ZPxj90NW82dXuhKvk/wtjdj3ge+RiOd
W8sqa78h2wM9nhlbcuMK+oTLyYmYTGeTAjV5Wty0PhukL09ZCsUPk75F3xrQMALtudA+0nG6gGmY
sP1k85VTCmaC8/sKsfI1MXoI5+3NqpXrrciDGLlsujxlnJ0wz+6Kty6gYpm1JUBHhm8UccSxBbna
IyBlpkJJSjFEs4X9fNM2LXm+/XFpdAhtdcFzHUXnOKZZbjef0sicdq3mfumtOid2rMs3Zo5EiOe/
9xO8OF5vnMh6OfUBXJbINb8CirvPZzdjAFec+7PTpTAtUnjazQCl2uV/gFPozugwD4dD/R5VQA3R
LJ4W/aulZhKsjDSjBx0RMzPxiOeZfKlD5mtNHyC7KVzP4Nk7jkp5Ke6+KetIglEtWW15s8lNtZ7S
2oOKmVLIwcLPyhk2L6qPkNhFCDoLXI8sG5gyWmDpdZxfgm/7FCOzJF+o2Up6xARS9q43TxqxiVPx
QWj8wQ0TLE4iN/YK11Rl8JYb7MF0gGmUYotd9kG3YIwqiPuomzV2rVvTSKGhNvEZoxLT0FlAvNwS
2Gkc6rbb14tY9pWdPvQ5EIIoyk0/Y3pBm0pLK4vRZH5s0qnzZ8MBJTuh39erEb9TZMbbcCSiceiZ
mLQAQxYxfsltesr9JkzI9hCcejfzYm9RRZi7yYie4WA5G9tadWpK5ScWezR0OmqcPAH8nIxt75Gr
vm0soKmzqz/gtycWnakWugn8kjneqb2Wj4+R/ACTUtPn/0KvUIAt1R9rViRkHg4a9jy1Dg48TC2G
RD1k3JmgbB5SFhhiBm0dWv5nXUzWzkyKd4uPZlQy3CpXMgLqDC8BIeA5EvUUbZ7HqJgj0nDIZI/F
Gr0p0m0wH9G0BpdEq3cuPYzNZCKhGfU28ww8QFvkmzVNclrggcDCydG7yvMQlhg2W6u4bdz01MfZ
o1GC4Ao/5yZQkmKwIUgg3HAKSEYNIYIE5DHYkkw+OOvB0IdAFDczMBuZPQcpRMOoMj819Pt50ZgM
usMFFXV8KMvuo1tXipLXcwm7YzoRs6ZNTNioQtQ2nqu3ucJzE1cAxWRnvaq2z3fRuMA1+hYBwQQd
Fc/oZ62cL3LAWgICIG9GZ4NkuvBqlw6+PWmfHfRDTlmBqaqwqicZGwg68fmCqvVI5FoCwVGfNp1K
GEOCkW2FfgkKx91ajfrUJbN9w/1lHVwmH0cdOZsq/aSPhdgl4+esa627inAZ34xid6eVDHSm2Nz0
8HD9cdBf0B/bDDKBTEhAKYFiXphl97DpAnjRNBoWLX3QO2wcjp695nHBuIZ2Zh3dRI9Uo19zG5TG
hKCjC5pDq3BW2kNtbI0eSFjZLDxOjDQ3YV6SBVmsoCaaH/Ty3JCpuG341sIsAkJO7jnk9/qtzF4G
dYfBb59DgfNlJpF82e2xgY4z9AgMSBhiUpM6VG4qfZhK0Mh2HQ/InVIDGmj4geABtN6Q9/vSflVa
4RGxNdAew2q/IKYwjObUlgo1X3Kjq+JG4iCmHZZ9kW5l3tHYopsGT2Ce47dqfTRWRDg7OjNbwGif
Me4DQzfioyv6lSDX7EwV4j/Wjg2juqrDDa/G8FMkGuJQSwLtCujcShZXK+b14trOG8cVhUYoBZc5
jSfwuNalVfo1y1R+D6qYYpXraqrCw2RzqXLtJXKCR06Zx4qeOL/N3pnQXLsUeHc6CfxgDdhgOXpd
Omq+aeIirGJqXrIfDkVVxUdaZVciU/nOsotidf9e0j4o90ySe38pbbKP9I+iySERU68B118DU20T
d0Dy0s21hn5udTxG2Zso9RsDWT2pp+0e4uVmaYq3Qs7DsSuh0mc181pkZU3V+clK42kZ0wWib3Z5
LhyiceEUG7q9E/bU3oQR5DqQsgbqAxQtCEQ+5r5ZEFgjsstn2z4Y9Eh5kY0nlQ/DQfIqXeKsxBu4
PqP6bBxwQL0Z2jcoNA4qgpaNaR7M7ahlJFg2WUvT07mnQL1aiGDyIiAWkmgXJClcZdar/E5jTG+a
F6zb5md2vGyL55oyoh5QFSFLA8JAgRiAHioRP/cF/y0trm1ljqeQqE+EeDiccVTmxTsz7gei0hpM
rD3xtj0wONascBueyir7VJjiIU11mIqEd6PVn5Cdm4dmACBgJF9jaRxUpr2F7dOkw7rGPjpXM8sb
Il8fmOUWIbiDnI91wlC3MVDPLmoUewDe3pr+6DYKWeb19GyhEvWGpGS5mzwV2sG9AJ+1geUEOLw7
1BNP8EwM8a1Rp49FwvNfi2LYFmrcdy0D+p6axMXhirDGmA9Gg/gvEuFHZ1rCN5McJFd9U8CUQn0c
XKjTXgnmNkF9VlcmlIuh6QVNlewYNnXvDyW1aQMSZxq4p2037vTYou7s/LxeXno5EzSNogpc7bde
Lu9uggyrpdpU5FRsxrcgZ/Q5pWOKDqHbso1Z294c8YpoEoZ/tJ0q+8at9Zw3LXpoev3gVJlnJZCM
II4hbK9d84VT4qMxa5u0n0yYd+gaZvis47JN7Oxzjo7VA2EAgmPEuk3eFEPY/spug89qfSUymP0s
psUefDncLxUanIu626HPwy1x0feFGzr3qVM+ydgACEfdgevmdgQn5PfK8RsIEGcdMtG539QNhfZY
xQcWWW1bpuZ8L0B67uYYK/5c3uZO60KoMjk7gZ462ZLqsyS/V5h+PpvdgzYVXhtr4CMyNFG9JCzY
TLTPaTrpN6U4WD3AunBY4Ak1OA5SFpOc9puX6Pm3nvM66E3ejlVKcp202QDCEpIcR+jyQUAzKbtq
19zS7VytE6CbCaPZjfw56U3u29qCQke+T0K7MSFlWqKBWN4fA7OGNT8iklAs86LtvoVIKfUEzJsv
9fa6SBXHGupBo5f7rMFkauhIeED2LOatBO5b1Y/AlYjMkwij2nhfQDuzkvk85uKVadRaob25QmK+
fDYJAJjh4oGMOxoG7Zy+wwWUmdr9DO8ApTLid1QVs1XBuBXLdUXOyt4tkGhJqAxBYd1R6cR3NXVV
rxfi1AbdC4eSdCjTHRgEht9hT8ExBqfBdJfzkCP4cYm2IB17LejL/Ri1r02CmzLtZxsHSenRA34c
1SlTmbk1Myv3zTbRHttiPMM946kKUN7iRDY365WW5RIeXd7pARrJ2Ke65yjyLuagfImbYGfNxn1k
CKJW93oR32aEMGwqxkplp3+JSvOubEXop46TovlZiL0FCtYzK2OP/sywVXppX4LQVNHTSEy4Ba9R
wmTz+9ouPU1+hRn0rutTA88swA4KagfNGVk+bnHFyadACOzWWzI8CVGLL4mO7Ad+W0uky0uWBk+8
GRnZwvrn2HbeZa/IMTc+Sb7ZnEosglyFTz55ssLgetS6eKsjKqT0p/FbonKQI3hrLwxfOFvOTf3a
L/PnuKruuo74qL5BMNTJ+pQ6YYeKis00hbu+xNAhXPmSp8ZVXdnGpjAalLo1aGVpnuymFldzYGPj
RPQscEmYFVDUHH4IwtGWrB7jJo5tNj+ilxgrxs1+qVHfNgUKmdwARldmBKsbAdJrIehWaM8tIwi1
i1GpHPtBhwwgEZKOrmeF5OvoRvQNlMTsa+XyPBuok5w82WMPua/QXs8CZqATVZec092JPRfoZ2tc
g5jkhK6Fll9Q9Fnl4umD6zJRzN7wyn4WRChv805+Tci6z02eHda5oJQvqRt92EQe+uzXa+w1hS8g
XpqMHD0CjgIEuIFnBNDWg5AC9xfvc/OBGKX2wBH8wUyTY5/nJXpmPJ69ya0B2jN5OgAZr0BYFBLl
dozi+H5uu7d4uGLrtoaRALcgCI9VOb0aQPPQCCWYUkr3VDTaJW0KfyHDStPAdkeGBX2dyC0OfB3Y
M1i1pbTuCQdabUpbVR1w5zpbTp18eel4sMNzELVMo/CclXNn40YQwsvQkDgpDaXQsB9mhqkHK6bt
DniFVbKN4auzyOTzKkFPp+hFyiba50D+d2srZmsFBWEq2XLl9LLy6jnVfFZNnZOSAu5nw2yLnf2c
4OyL6pQXLxjuUssYAVXiMkEjWVD4LexF+OUJD+FMmxWQf0nnYqfXhls5HCLoKP6Ux8s5OMa2bE8m
YYYbND4QXl2OwI7hacZwbAdAXrSXGZTGr7XRfQ2wbm1koN/0I3jXJnpppoYqrrUqjHD8xZVBgVLY
/lqm0LbvF7q6+ypAjl3T1egdbP0uuaUby8EE5Fbdf3F1XjuOI2uzfSIC9EneynupVLbrhugyTW+S
Pvn0/6IGBxs4N0KpZ/aeapk08UWsIKpFX82YdcRJenhi8Pihe5Am6laYCUuOSkZ21CV247TiY6QV
IZ0HiYXHaSr/ZUZNw7hL4yfZCQxxGNzHyP5jJ4w/J4PXOQveJBI8yEZ2miGF7hdlZ5suRD71YKU5
w+1awhgLqIjdxitacSBIBGNh8PdWN5xT/MlQHbGdAWqqZ2Co1ZnuVsbNzQ5GIHXC2AS8OYsYcHqc
DrBeALuvukFTa/fHq2VG8Y0dbZrUwrnUJ+2+zrWN0kR0Ypb2oY21v9JJk688J7x70vZecMuuAodp
Ul5/qTnVUNBCCzmcnommKWiHBJ9ZjlgOu5o4R6rt5awhFe1AlyRmf82jT9xBZRlqjwtqf8pwh/W2
dm8KfSVZ2Q/ZYKNLzNdOv/7xQ8S+TgSflhVte/qQuO+6P0XDsJ46brKQSYgjPnzLRqy/uj0vZiMb
Fdh3HStY96nhkzRMY09Vy3aCRMwK8hZN7bkrs63XiyNDnC/ONNjEq/StKqjZzTPenY630IrePYOR
HHCx0/DJJJXrr1OU1JZR61mn1Du5Bvx+WcFNZJESflmsGuHtE6/6QjPYhy1YWwbDpGJKxSaqEUOj
2Chd1/RYLS0Md1EwdJvYYUJAwQDnPRZFZUJUCUpkcob9XPSqjojghJ0mS1+bKV9bKTdhpyr2Ss53
hxqJ1IyrjZFTFk7r1WF0HWq2BgONd2rMjeTO4ZNiKAwWrGikNyCyyc/Rsu4tDOinFupf5gCd0ikY
X1ScSOE/M8AI+eynYL9w7MKEwxIpCuM5840QMpQL3Lon6qHrHPhoXHobRPSvde139JFt65ifvkl2
wPZh1Vg9X58ezCVTQfD/cf6T0YLluQh3YqBcYZAQWpoBOdSMvsvO/mVNJcqneNNw65hXnRsrPVA+
uH68obl864byqSgYVPLx8H1yB/kEsywvnDsEOoTVptkXQb+VkU3lc/CrKcI9dVaIhWPSmKl13jIy
acxUHgedkFOOjm6RWXm2qCkyR4jEvh61qF3z+yHtjgGhcNfUq94HQ0Zb35AvFj1QB6569M6qbF1X
zqym4/HDnwpzpEhWSNhYxzMMqnGsXd3xHJsCESnLcxpb4vXQUXmSQPpcOyCuNoMiGa1ZfDDbodmX
GvLk0OTkeJB5NP8+FhisVXnXPAAwY/ynnpnKYdGQG5Bbc8wJfNFmwkqiKFrX3v303ZUvHS7XHtT0
kzAGRBZ6h0un3OfD+I6zpQDLocp9KUGXjtY+tggNBGH9wZ0yWbp9VDIpqF8lrv94wMqbRu15CrQv
OMkFXOtkPbX6nIImKJU0AVGEUNQgLspdJsBHNxHGTua40mpfJbexyhmagyj7nGVhdhKT75Omjn4C
Xsrv332CgIeaCGVIcqQSKH9Jp+/z1udS6UMp0t2KjZdBvhckZ8Yx6bKMZlS0MC9t1b5bFAmajtkv
XUvDty4tdx9nzsoZh/hkKUKNRnTR8uYZWj4xY4w9yfRqOeXZNzHmZoE1XaaS2GdYjhFIdWPjNfal
EcZI7COYUOvg3jiCUX3pkt5QKtrBJt0ImNpLzEI4kiG9SpKjOrGrTNrFqRs56unouoWBEThzGBYU
fbzJ9KnZGn13cs0/oy31pTKmFtb3ZG+yYrq2xaxI+tp3y1lB5hjypryknKjLhmXVzwcmWfgE7Knk
AHnzoZ+DLGDjDRmjYLXlKOnzUamgEHOWOWp1em0nwr3RwELEpZzJNtllKyGkyrX0rqVIPY7M1qwu
XL3zQmOIxGwUdyq+rnQgXp2Ni8zuX9GyCCDUDq2TuiEo+Mi/NWIvdHW2T9ocGylNcvdlTtjbTW0g
tVe+ipyTFPI6n1+oKB7x1iRf243hL+MvlU8/1ClDOodNRyoMpTa2Y3+BhXlvThSPDtOLKMmYRlSZ
2oGJ37nnU2GGQbiaYHvXNfeCtg2Sban/NYMC0o5vEM7rkiMyJmekgg24IpenKULLnYXeOlb9PawI
owxGuevTEUof2DoUWHKYAW5whRV6mxKWWohhIvTlzkZ/vG44T5ozsgXNhfrwpflNuI0jqjdMPlNK
kF0fSxseguv9cLFitbYtol+JtiXP88OYOn9WobMKI/aqpoLXjPuHpGDqmG8uqm9Plqidyw9SMEOo
ud5egZTqJFmNOssO0AOfnVYAewDsEPUR6D8z/PGH+rX3PLhipnbAErdAS8uZKv3SGYQsWb7bHufi
KHhr6uSn0bRPS8EF14Kg3LjNUY2i24b8NXghsfvYLajgyMMHwj4nWZq5elcFwl9JXwbUBoSuUHGE
IwzYM2TswiLdlKRLnX4uMaKMl6CnC/uu+wtDlEtleB5JFy4H8gpBXNovlgr4/qr80hn4X7xqyYZ+
d7mLLIlzpX37MiX93OXnH1jVtloc/QuH6E7TDcNsEnO0t5kGE4/mt6YrrglCuRk06xWi2oFCBdh5
vEGZKYcldUmQp+i/UBdR52Anso6tLzcIV+j5OnSrd75InAey33C+sI3U1C2oDmdDx29HPnw2o+DB
rmC/CEYWta+gJNb2azt2nDILViS26rYPzoVf/E5N0i6Dzv2hfH4bVMkshlrnqUtvlVVXGyvStsXk
YSRJEB1rC7mvLZ1ThRmdHjv/ZPcFJAdaHyAKkseUDBBbnO8mzVxU77QYcbtmo9N6Vav2J9Oqtzyo
dilljiTIwoN11c396P8IOTf4BS9IO88M/MsNjQv3oLM/uoCVueI1QG2EobgFM0LZobLoap1RBWqg
QXv8FII8rmuQ+Rj8YNWDWMgcfvPxb8Gg2Kj1peVrOupqu40N9W2rlvsw2n3l2W+t6VzMYHIPDDL2
Ad+GZVLi8EuT3SgS6KZ1Ts5sPqrWEy+y27Jg5ES8ouGfZ7FIlVTzroKhvTsWmQGaGvOkf29rvt8E
5NY03LxEHqgDInrdsjBabzUpsrED1cEwCJtlPLEq5iMQB9YW+n6boV6WeR0CP9SpokDq9KKr75I3
412F2WEQ4bEzbaE7MOBl4j1Xbo3Q4hO9E3W3TChyX8UBDYk9vVsrAA93XbXmaWA/oyaNl2Ao9LWT
N+/B1myiz4Z+m60dt5z/0h4QYwzWvgnyZzla08pG7loO3PWMEeC/61RvVgp3wHdztoCS7iqpiWGR
fpm1z6GoYrHRFP6LrBu3XBXVIpa53EsSiTaWHz6fbrdx/NGg24dPahbVt8JsinVr6QFds/k7iqu9
NUWIOOqIdG1wAQfN8ZOhGe8aROPFwAWN6DuV7C1DFo2QSowkTqBVLVqtv5LyE7QbIF5STkZCuCIo
0xfmX8GRbmXnNRsuiGfgkZ5EDOk/nIE1vxca0Cot+aGKx1g6gOMXTZUf0YI4KlIMm4m5pSZkWspY
bu+25rHKmVMBsOVXGfplD7zzaOuWzbgxJQHoe9HakHq/tDz7wJv+TVRnj5O7XBQJV6EZ2AH2GvZL
u6ZVhnDphFjcDlgvsgL6PlAGL3eYPjXk62zTXGeZ5H/lAiz199041KBHUK2IjMws4Y477YLa5GEo
QM8Q6wiI2NjcHxxbm7OmDQMcoN8y1Q5hQKkr87CVypKDZyBmCSulyVOC9HIE/VZTzmvHp7LBGiDg
3CMF7BIbHTj0QeVq73bTfgPjpXEq8CdGnNpHyLUk97y3TguuXhF0eKB06DBNucb/x4nK9I21HEN3
mVUd8yIaXhclhLqI7TbWCMJyrzxCuLsgJqqFzwmfYBVkuYrAseq+R6bJBRrWoH6MllWkNrk4jKPD
wI2rbT33JEt1NmkIWgw6nT9ykh/lBIsisY5eHf9LfPNdKIUWZ5Zvri+HvSxTmCw0Gg6jkYPMcp6H
oC6XIqLn04nFUs5Br57GWaaRnFHEHsfyGWx8sTRd/cCXLl62fcLXhQYBkPHNOxL0k1Wb1xFtfKEP
bwElIquAxXip1xjo5Mg5IYfviAzqbwGKMiUsv10nOWAI4KsuxCnB3YPwpLad1z73HDyLjF186lN/
jfDx56/uaUvFrW/rpeCD9KrHy68nL3EZwCuWf2PqfBlFUUzhkuPAfdThkyfzyugOtHHkcW+il4Cf
UnsVRdMHWEWuSqX33Rdcxh3Knsbe/5F9u3KM5p0UrrHOYvsDsGq2NtsZLCODqwzMVcI1OjSe6EXw
Vj0X8YQmkmXW7+ZalTh7D5q8OoDKrrn7Lyf5oucTpn26FvWe8t/Yc0664b4YvvaBTe5Q9SYdazMw
t2gQ2PvR5fiZj0+qbM5mDbsi7ZDq+mw853xkevlCbUoHJsPGNJ4SVuDlXJbI6an9hMjlHoKQHJsK
yfZ5fQ3VCLIGfWELoPm/rRqwMiT+3UxQzaws3xsd4Dag09sp5Bs+aPlzYta/NBnpKyYE61rY26hA
dGganf7QlI9bidyL321H4xjFyqNDmDdP2KIBPfrT9CRUz6e2SN21Ofx1UjNf61p5NDLCTn7K+bRU
yZ8ybZ/6oCxXDe/VhiK23VB6NMipx9WGZskygKWExiqs2p5HcZgGVP1s6HeZZp8Ooea2KV6bPKWj
kt/NGIOjwii89GtePy/m7FFTuPyYSS06Q/j7Ku/fxNxWYAc5APwCDnrCdQC4ZAi/qt+Tg4lfSl3f
6rnCBlk8BQ0jJ8OQf90KIZECRKr5nJqiH6teQwNSi8Gcvs3op2fUsYPuDJPCXkZd9Zy4ABXglYqc
i0DADUAz7nUgdglaLycNl2PfyLjQ00891zxHsWt0WvyTAsNeoCqwLaSQFLFN36bmqRq5Abni7BT5
DR8crh6Tq2oNsWrstlEntn6ky3XXurtJZ1aiOHAVQfyRVIAtTHQr387Q34Qo1pm1L6T47AzuZzVl
bI7Y0Gr07fkoVZXRJnS7qRP2GPBAEYcVI0HPzjT1GtZK36QMDiXdcV3QUuE5p01sLb+kIzyssHxO
Gub5PqLDog3Ss4NcQuQ8PuR2zHWhsrJNydQ2sSrMUPU2sfjVyp4kJLTdlcZ/r4JYa/fhNrXR15xG
vvWUj5C0ZzvTl+nEBuFA3gGuKg5N9RNDpSk5YTG7cOiLYYpYCF0tI+Xsxy5DYKh0Dzsdv3Nq0NNO
ke/CYKUhqtzj5GjqLfWnNo0W9ZNrjzpRWnOj4T/nRb6CHEKa7VDtmvKvahODqQ/rWJZEr53bawf2
YMBKpEIMhLQe5btucutML9dc1jm9VZmHod17MePvJjXuxlC2LC3UD9pEd6NytLZMj3+jKEiWdAJ8
tAXvdc/e3nCf3LhF8vee5x5HNWHdK6UR+gXElRXNR693r9OQYIN4w19a5j6XiJ6giTYzI2LaEYti
3VVch7vgZAZoZhbTo9qbqwsUZxxLW8ayEYvIU+469nVunN1nbhE6VkxngGu0X+GAHQlbGB/XH9Ej
CdWtsC8T1524SU5uNFB23NPKZbbOOsritzTR/4Y+lXngWX6HlJ4wZzDH5eSF/1qtmgh9YIiz/YJF
jO00USrYiLH8UEbyq4NorgWJ1VAWeBSzmjYBlIjsLvXkkI6c/8CU8T3W3U3pYVKYfIp8DaafCwiu
fzpRPNlGv3H7JF5TdUyHFGzHwqGkszdeJ89budKCtlhlVJPjqDBCn3GNiQWv46Zu5kNGdMD81QPV
fqQU66g1jSMNwqn9HCvWH8gGUDM6+APZh0w5PjA3eIH5reFBwiE9EoNDj0Gx5XgRuSLcOgmUVwUL
300/afUB2Imih8bwpnsVQx8WbwpOWTbzmvaXpCiXhWOQ3C+QFUom8Ry2MtBt5H6pPfh2ittviXuz
SyTtTA5WuM5K3nsrU7dujZl5PAatAfk4gvjS+/K9niBgIG9nNCDTSFFgJDCp5+HUDh2ea9T8FflX
xdWHkZIWmpLuFvao9CKdtqnsn0c50HIzAyTwETXU5TW8j82TPlYblc8LmEZU2Su738AXzB8x9Owb
by6gaVghsZKtTKX++JN+1DNx8vhlziOAm1WYiD+dNdf0VOpAGeLWGH+80nbA0gZfcrK7LQU60FYm
6xLmFtWPvfAWVHN0QCDyu6lqTn/q2yfngqbOG9cjSo6exdm6bzeCM/xyjKS9HCpKiEvXb5djR1cY
gvuXEQXzxEP9HXQXBhP2yiWy2oZ9Uy0Tk/MVOY+1ljT9TfVPM4d1bQWQ/ogffButfNOzr9gdm6Xl
9h0rnsLCQKRfGcyl8hKPXYJloDSwTtGEHc8TPIS4+GgIsGREUbBhS2tL2yy7CzUl8wDdXfsWJGff
/NKMNj00ujfdqI7Rb70VPZWG8ebpXnRS2VA8j8700tEdxQhMt3Ftwsptam1v+KQCKem9QqNtUIJx
6IQJY548bw6yRrEdA+vaRcNzqidbqwC7S/vWU5kR/namamVNKZMuYj6BE8nLlNa0brJ/947/h24E
8PxxhS2PS82mNjjp1SAEY9ypFGN1exP9CV0XZ7Ej0Eg9B6x53dPRrRcFEnjuXkfbAtxtPBka2qgd
KmAYlWzeSt5Y8nbNiTIianCq9Kkpww0D66POWPkY+Q1AJD3h/Dq9axLJTI8UsXCFRSugJRDuxPQr
OJaPifZMv+qpbyPO6x6qrhdbFF/AQoflc6ZaR1sCEvHXqePcszHxlyVmZ9Wh5vcqrPeToCGQlssc
Og6ASsfpEars8ToK9Zl1xnk0Sep1yfTeQI86Ud1AP1aY7NvY/KLQYVXVgblzqRIpJQqrlQChI7vz
Fwwn3wyMbUs5hPcOUbjWwAzGOXbA4iSnEpaJHke0QH5TDMm8RcBJIaDCGpzogBtVu6oRfM0bzk9q
EKS+n6w0WtbXkSPxwfDi9uBUPRAMz7sSNZg119iiDw6N0+FvmLCSUnNsaAk+cOlBOs5mOE1Gpn5s
zzi98bvYOVAnf1tGqsRwX5Bhs3dNCj/bK9Ir/RbE3cVTS38Q80QrPeh1vQF+cq21Wj9StNpBFptx
BTI45DStroKYuXol1xayF4KCyyLh5D5t4Z+jSttDvsvreq/H4QstIXeLLQlukI++ytiDzvgd/C3c
Asqh7D0/VlQmGfivVKKunt1vgqBR8MtCufc1dLM2dd5zxP9F6pZ47rQs3Ul/Hjuw9+Vet86r2Ho1
TPoOBkAV/0A+2273gWyZLzIiCcdh5KjWD/m/wY/DlU6h5cLEd7Kwcw2MYytv9SjNnaHFm0LgJo0H
iS+Fo9Uqt7nxRWi0leZAkBowJvtO8D3Sn9upPLqV0ZjytYhcysu2glf216uNO72WiziYmrvB0PdO
UQRIRtu0Do+ndMYNyzHHKu4EpXY0Qx2zdxnyVqfEIqs80G+2cJtzpUfboamMWzc//PfnlrhVoqN8
z/KI5dg0SSi/6k60Le3CCfx3Lsfo2ZF+9Oy3GmFLlw5eKYSz4wQVGRRg5+WlKrn6GJHyN878VIx6
uNF61D8WIM3kq0YnoOenZ9Zt6/J4aAVikWeHyN4Mgk4V7YBDwLE3jJrrGMfAMCeruuNBr+yBrATF
xEeNGqE3Mlh/S7MILo9nGea9PsjDpwFCZjvHYtJguLKB25cYreTFG6qUdZs6xsc/jO2w2EP/Ngvb
51BbO8+tO5XPHf1J85OwYmvOZXpJkxgUvGneLSsw7nqVHe3QKS+6EWX7AHTYMsobe1vgz8Cs6oy3
+jmvmYYOsEGjVnCyVlHxBxn8pR+kWHVV4G86jbkl01baZ1j+9+z7yNuPlDt2NSAWjqIBTFYjtRDM
NB8P6aCYbsrK2SdQ3h5RRH2w65OaHx5PHw95Z591QfcXHyS0waRYurnjH/yWEO/iEduWUmMMLYLv
alD1k/nHdZ30qQv8+snxfH+bDASuzT/K1K9Ti5SKn/+DqgyN9Up2sGnS+CPWOTl6LYwSVKsb5XXB
mr93s3GpeDo69MziN62+hsJOL5Jkx2tj1F/d/ExQL7caXQqG7Wng1iyit5y5wrGnTAE7uec+4dee
/8njQTaNfcyy7h137o+Oi+1FdYg0hudabzKjabdl9HfLqqHZuo3+Sj1vtuwpEOOoX5cbG1FgFi3e
Si/EY0Z8fTmOvaQ0FYLI5F+B+/tX1AP7al+FUfpXYurtmksQbCupW0fSXRbsbCoDRrf78SILCdlB
uBCmfIlVVF4MUZeXBqhN4Xf+Ma/3LVyTVauiaCMYjt4fD01aHgCzo1HrWXsfm4BUj0cxfUCTIm4u
+09WbMngq0/i+dqmIMT53x+nnO8EjjFH059qIzNvMdQ6zx+nYtnjiF4Big03+LPapSVtPjAEMZYa
ouOrV1KMoqVO+waGDfNCil1mSikjEeGJepL0ww8OHkmyvV7K7C2pinrfE5y5U118JJ5PkXGuMVAR
Y7XP3GEjfSe5a4LChKib0a9YnrnuOyZ7AlYaPKHDMo2ad7r5/H/otPVAgGnQc7YAg6aE+VgACzen
qzl1h2sq3V/EChuQGFThwYCG/Pimcd5ynhFPMtvongWlWteyGjecn42jhh1ILh4/Ph6s1CaFrTJC
D0nqb8fgXYs885lbfvRqjgCeND24lqVRbPIWZFfmEdsdhtra0/EURcOPLSnL8vqxo0ajzQ9V2X7r
OrOelBJoZoalZZ5U95L7bjdnVDjKi1ZuzLpUtH45yYn+m20u7FvDjnpLR9fa8v/X7Oxu6J5xBlK6
aW4yG57j4yFVRfTfT0U5/JQ6sQN35ruIVMZfZLMe7UbdPbcS49C3Y8PhnCLxDAWR6fhfCuzFj+7D
2DKQdZ5dbIlb19D7LVHQZPdYh03h5YeQ1Nii1jMaAEg9r7U4vIR179zhLIQ3HPy/oDT7yxBRhxr6
0UbDwHcUDSu07vcu9wmx5aSabzXF/S0eexyvpR5sH4vDMK8K08CbyOgdWlW4cXQEdtIZ9ZOgXXbZ
j35zICePvzSp38zCwcTkc6Avyzj+CPQo3shIDlvN7eMPEXt/aCjNN05jcn2rVHMM8wr85fxTJONN
QCbgFnLdZ1Zd/REiarfY7e2NL/AeNgqKSOoxR+zaQcevaOX3x4Ml7HcNd+zx8YwcEV/nMFolLH3/
/QukGCawgt9NYDFJZde+aNV2aEVztQP4W26sedDm7N9KFge44N95FXWMreP4tY3GOfzf0+QcUh7B
/+SokT1feXUycjpAGBoq3frSbSYKIjN+nBADfUG38BNfyvFmp9V06RWTGd0vP51I1Ss/G/s1DYC0
1Prwl3oGioDYcHcEbcZJV8D4evQ51VWAws7QbtOwv6PlWpdK7/VzMT+YKVrV4vHcHqgWIaJn/ffU
z7tiw1zTxZQBI6WfqoiRdpEdemcOXYnqTiiNXlUOWFvN4nZb1B6OnRlXMZLEeDYxQi/g2zN+m3Eg
vTLj4+Nf6TuRnWIXlwofh9J9Rzt9Lz2z+Sq98qU0jglDgLNrddGzZUsDTpKWUcgduAsLo9Ga0kWI
h/Mqh2cCP0W98St8zFV0N9si21nYaXZx7c+cAuBJorkNUaaOCOUDpeDN0Jz++3EY+01qjBaZyAj/
WZcab7lQxm6KQB4ZJWdyIzC0dZHPaMfMMd4yzWOlZd1MLY5YhT6TjsSdwURCCozZYUHHzXvjC2ZF
GaPj2EnWnPfcZ4VMc8H9d/aDutqyXlOibabdzRmTw6CzIwA63cHhKtcpzVhrS/+jJ3V3ubV8MS4u
e86KPpGvpDW1rTbR2yQ9rztFA5k5x9HpqOGKI/zxzfJlsUsz0CaGmb1iCNEG7ZZoClRaoSak2A63
HxfOtVUASPH5+t3ooHrTGgd9t50pyaLDItNEFM4w0qdhtz2Ug/lrE15eR66lU8OV6ceMcUdj2Pml
10aochMnEwr79lTqxgtKnYxtGXbx6fFgasWxj+Jxm7DEMNwJmo3qkw8jgzlV4IVDvUX35/xoHIsK
YV1nVqlF1G8RfVqyNP3WJGu20xBfEydlA3Gc62RJps+mdqx63Vs0WQbtTMedboLieFJesbX04cx5
ddxatBAkeJPPqbB561jnLNy5Q2ckr3Xa7gZs8X+yEDS+pgt8eIx5xYgXcYjbgJLTvjqTEdD3tJE6
O2+qGjqXhoqxjkpfomGW0jLDuRQdPltNG98LpJGvwjb/+2H+E41qYW48RDUI9hmbCQ/gDneX/5JF
470jfoZZHa9kOw0ZVBCSeaKnt63JTUqVXP4OMg2eMclvFJeCqvqgLsg4NtymqVCu1McIXronLhrh
QpoIdQIOrhPx3oVIA9wCxjPn23E7xXUHQzKFkGDMX+I2c55HY3SebeNgOw1Ni414s4mNcYMUz5Yb
A0tLmEXkhqxuxPT+NBSm5XEfvrSu2V6rlhwcn8LnxwNplach1ewjvCYPf2GIIfv/Ozw+TpCPP8My
KTAc/MreqJ5Ic5JGjNMZFuvtXMCqm7Ye2o01cm91nfgtmp3FvsGrzCYS0EFpCGsTmdAW3PkC0LNc
XFK9/TJpycGkDSzo8UADnH5S/ri0emu4jqp2N4nNJchX0rmB6c7XfmkeDUNEx1qJfhe6yUy+xEsg
p7zdqXnJMrSiO7P+OQQYDpHenoau5x7CHO0ShZFx9vHoBABTPuHH76Kat2XNzKXZZQ3Y+RgD+qc0
IKNmEB7zJqE1oYu/Cqc8mwm7sN73xtX0NIbXEQJG0qoLGVh/qyiMpmzJ1NeZ2yk6t2N2QCix+8fJ
stKi8ZoAPeDLNvAf7tAAXfzxN/BK7QX6eLAIDU6CObajfasjtZr0UnMRIuSj6ooj2EwBSvn89UZk
73IN52xT6uW5rWV5dqTc6LZUh8czI+0Ovp6lZyWfkWjELenM4EkT2vOIeduMfcEMYGKQ6CTGrc4j
QLZp567k/PTxZ37PljH0cyhZzbytrJLGEYouP3Jd+VuZqtjaDLROj4fSdcvDwG8QRZ48Ne1ViySH
O9wYR9W1Bq4nIKqt741Hv2IAK2Fnrbygs/Z4hvjsV8HYLKpOFe+8PMzDS/UZJ5HDtzQr9kE/MAx1
GSYP7pwOc0sHEyxFcok7nEoUvU8uPiZ+ih5tJcMqBPgrPMd6CunSa6PoLCCQ5c0Q/ylq0hW6UWDW
1GncNgbqX023ea50qj+IuZorp8IgpJVefoor6krI3DGT9E7t5KaCUlkr2sTw/ZYOjajXqTkGJCff
LEm0O+vVZ2MR7gorV+0jZ7Sf3Mp/jYmtQh6YfMLMnXt5z30f04ThMHicHHc4oxlfFDhozJfukO3S
QPziSCw2nRWaRwJtHxiRsGxkfbLBxMZ1tY8Rv5oJ4r8dyH3TERWvvYwkq2GZ7iZ3Ln4XgsfOYC5m
YxhfeFXgfAqp74jA3h51kIYMis0UGDQ048ugvi4TR0nCBKnGn1D/efGtlmm9r6zumjKRuoo+udtD
1/0tq+BiqLT6dIyejdzz7PtoZ8C+Muo+iwBpIvAcoMsKA0vUVnQ5QwwDaO1318dPYGn6a+RPL8TQ
BjqmkDuFm8AEmNe9ZjKHU15/BHFqXyQS4M5xe+qnefbQAh5/3g+6s40il8yzKiQzOexMeslcms8Q
pA9cPkVDUO///SNt6KmnAVZGsl2YBxsjXjAvMzTdz3FJfrJiq99CYnhrqlAd//cwza2n/3vapA6X
yG5GIT/+vRh3VOXLZvG/X+3xm7rzmCSKMNs8/kEXcxg0DJUcBxkcZTn1n4bFOpUSsGLYk8bb0J2i
Y1C36gRMlxE/aR4cUOppysDF55OkU6KLrkHbV/Fy+lvKVj7R8aeeRsvhpdTy5eNfdGZkZ0MiaeMI
Mz14QOhoK7tJBvWncn6IC4Ep7n/PcxyAvgvekTD8X8MTZBdk3Ty1Purm2DcVzlwcWFM0rcHx/eiG
/RLFxG+phKs2sTnsPdv+g0+GsD79xVsKByh3tInGW8mGjzOrtO+kC2nG8QbxYK+51nMyPjlh+NSZ
Uf/SaONnzIiirQNcgnITsqGdheN/MG7XtiC720rYZ58C5y00H29pm6uOcfWyslNtl2ej8aLMntwb
A2SZ2zjjxszdDFV54n4zH8USrmVpMe2NgVfes8vPoRgBJnHv2IVti6HcrWE6h+1XSQfivUg6Z0m2
Za+bmbde5hqGapw7MTkearL0ktOi72GGpmA+OFkAtU4+vP8eMznkP55hpNoRuH0LBFYT+CHOaog5
uA5DdYAxfasaouKVATPTRPeLZDcdK4J1uR5vqDmuFvoIhaEWUbO2K+8q3QnaDf3MvpjePYdxoENd
hJnUB2S2f5bOQNvO2nHhtOFblWcGa/64Um2Hh1K0VASGo2TwX49cKdxNa48+ARxhUaYS0fYCwIPg
K/UpeHFqOKojVvSIbLnGQDvJDlkUl0hghLmiorzRpXqMGlTK3MybdWXKXRGmX6JrqNxdtlriX0NL
vsckhJ/0Jj+3fn/2HKovexfNii2MPIRW7iXiAyABvEpdsKgViX1s6T2uLX147eYRit1gAzI5R62a
bKhOyeTAxdcpWcUgOF/Wl7pUwwsXx1sIUm5Wz1DU9eGZ8mmfGUFMmEfz9XY3cvoIx5OT4GIigvp/
jJ3XsuvItWV/RVHvuJ2Z8B1XeiAJenJ7c/YLYlt47/H1PXCk7lZJEeqOqDoRp7YpkAQyV64155jO
KZrZscwlyLlOW1C7BvK+LiWPKXqpi+y5mh36EgJ1WiVMr4nEObeC4L6qGOzmTG9oJ53oQ990Pn6B
QjrE+mZs57hkoDtOhsfSvdyd+soP255wnzbbc4oRXlXI78rcWSZSsrFp9XOR5Ye5ImWwBPTk2aK8
bTIk0aTBX/ym/iya6F3D3kg6xZDvzdCEnEvLAMEyZPCmtj5GMOvroa9rr5+GGv9ZrDawZVEAVxxs
ss9gdk9dGaHoRxeJGtLH1hAiC8gS7sZZOXvH+bH66ZsNnpaBMr/L9ypzXke6ZHih6L3Xk3VJxRBt
Eh8ZFeZXdiNjxqxVxRyJLa5S/AoC6Bk4BW47BiZo57M30J8TCs8BnvpMkR/U5FUiMDogWPG0qvuq
OlHeMTzlF07TCeXHmjLJwQxQMSeq5obMApptWnzUqto+dAttOu/NU83jj9o2MMEtDFPWrwonxLvd
MS6RFSTNRE5oxhGFLE7lJ2dQd2Mi8t0UVb/6HD61LoGOGK3fbdDoFhu/2+bKca5AA5k9dhaeLuVu
VSk+3ZaWBqNhzldDClUz6fdY77PtHCReV8tryAfpaVkYrx2gIrgt4Cl0ZvOekPhAsCWK+mp+qVWx
awioHbLnPjfTPTpDgsiG0vDcLn8wBxNOdRxck76CqNKTbtUYjMjthFEg/VTQ9AbrYv8glU+41WBt
Cn98Ndru5PbZbqiLQ99kbP9tJtGA9CRTxRhTfTQEsYv6SzjDBI9A0+6Cg9GGGcFjMYtuP85QwsIf
H7vUEclUvukaDMPOkHt9KPRDIpB3cGjzaNDp22Bo4Um02HpT/TEcZ435qLVVRY2CJlSERo895lfB
IX/JyzXcS99rO2vMmNS1A1kNo39bldJfXD9Ej4dMTDitXifnUfOpih8gbeBYJ8I+CNznaeiyVZDj
9XIGa01u85srOJ417smwjHYfECwuC2bgPNls4pFGpJZrrcs0mI8yCA/pgLRASrgTo035MdY5MO2C
ONF8QuFtukSi+sM7opkE9a5xV+olCSaBy6ypxYWgmNnhKvFXfuvcpLUWeWnWcHLFFtAhv5pGhUxK
r+J9qvQU5xkLIiovBID4lmNkAyxjrBhUl1YEsjbjhrA5k/CQEE3lTkF7alvzMgFxvaiu38aT9ALV
PfeuTj9Q49UaJZiIqrj6yWBspG2OW0UKN3ynCMfj0tLvC2ZDaUPUajMwybXSlhMyg7s1ywUeD+oJ
tJV45ToUSlaQHMO+rM4M717bqT9Nua9ttbZ8d5jFVDlr3bInkuvGBeM2ZY69ZLSUA4fnX1kS3yUh
PrRudkgymT9aA6x3VjrFxi67D39AeZ1N+Ymp+W4amgfdiY6GBqq+N41qOxHSl2HhSSY6zzBC3JNb
d49JZr8WUwhDs38smypE6mKiJEptxkRteedAx/dmjWlUn5U/qZ+SCU7YQSJ7xUK3qbQJt2GN0YKW
0D7LIQ4wLKamm5bhCMecIrJv2sHucU9WYuski44itoA6KClvTeSxKwOjyhwNDE3jcUtYBC4GI965
hcQHy7LM4V5jV8LpSX5K1uSVpyo/Pcnoa9JR4mg4Ovpcc+6lrZjAY/soZsHfrNuMlXcTDVI/ETNO
26nC1I8vczuZE0I4Cubc5YxTI2rNWkaqBop65Pm17pVWQEwiGtrAeYo0qtKR3hmPiT8eSKuhs9qu
mpFpaRFqb3VKORm7OIONRP+OTPpORH2P/iU+UepaaxGGiL/BvbL93TdVzYk2wjORmR7wMERgQEqh
krNSuejNI4eMjSELOy+S1SEphoBnUdIYT0H4aMNLYVb1S6Pyx7QzHsJOY5zdQ7bNNR3PaHATZnJm
J4OWnqNgNmNm6M7UXnIjKy/UoyY+RrcBtL64hswdWt1lWEpaS0zJAWEHcEfnU/IXH6WYCYuRGPTa
uIf5EZBxM+Q0MtM88/rlfKz7LXwFy/FaiT7eVOOHG8n7pG2vvdnIQ6CPbzWs4y5x9b0dyjfrQYFF
u7VHF9WDBcuIMyk7D1mSyM03dmXeaQkJQ9lsMpYFURGdVTknxyrgnmrqyNNpna1T31wc9dgrw07c
wmbZl++tVWs3bMa4L01YAOG8YqLHsaCsrR2qc5Rvt7BMFSkvuKUn/7lsh9NU2cYRTjQxhLL55FH6
6pPXxGlrL9Ug+wYDAAWY19cUESdWuXXs9x0PQ4MDWNHszQriRcyEjASSKCTa5o3hdIT8laOJay1n
OOH+qFx7yRq8/7XRTEQM+Av2iXFQb9KixevobjrVYadpmnPUgZavra7HLNf/9KwGpxQtU6n3AAQE
0/chQM+uNSisOv1YtGo35+JhMFmmLN93FhiQ7UWY4vHzU6/pDomOtVzrCbIylNn6TkOY51ojimQI
YyjS8i2JIsapNOJ3qbF9gu2ZJ44ohnhtFZiL2Ljx4/AZR3S8NRc4jzCaTdgke5Z+hGQWQyEDsxpR
EcS7bI3MBeRcOEeamBJj4LA20qDeRhM5aYEWHknQQ8mHMWLN4feznB2kFzUT5shR78gFJTGg3Y2Y
QhsDFqxDCwJ4OnhOzCxSE2iDx/5+SHkyrWyCyB+aDuyCyH1yzTU7VUlxjCgwfO9TEylz3D8PfrrP
s2I8pEX/5jTtugZjGzDSWXO8qrgQNOd+ZhyQ/mTkJwHHQyb+q+x+gbRcjJO8Znv26Yj06pQ38Ilq
VSJMQ9wJNm1mHS70XdbP/qGP5gf0L4juIvc1drSfNp+LbRw54GfAPfsxgo8ydn5NVsKRK7u3/HBR
0UaYv5L0UOvpTe82PzR3n0JWT8yIvr+tTnVZaEQ1gJ5Iy19Qove9Oe/d3oXfYXZynZVUHmK878u5
3TYZSatRNmF6jHZAlOUWC0CGfQ+hSIIeyA6t9wiV4ZI4QOOjf+pmwOBlQKB4R91E1Rqa5xkRK3kI
WGDqFLjvVLynOgZOAh5fBhgoZQg6+mlGlp9PCBMn7ejkB61y5M6wC2IQpuJlsgm4wTPSo608kT3w
CnuPPHPFINOd5ppoMZOPUhZ45PDO0aWfN+pthtzHXogo2Un4jELn0vT5TaVZWFms8okaZutrLZM3
2+Gx5ZPz8vEJctaw8Pre0QmoeyPqPwINB6+wkVFGOgs4K+Qh7cnJ0gySY8RSEyuz1O/s3PnlNBnK
xOYmylra91nr7wrNZoaRijdr/BL0lWNpvcQS+6vuOh91UW7gzf5mWz0OVbdoZYNHRw7tAbchw4MB
S9hsLY9C4zU9R1SNoDdHTA8AFFZQXm999tp1vKgOh5ZwDCt4MHEQI+cCJCgTRNScVMoWieLkZ/Fm
0AdzW1A0pzbUEyNA51r39a4jSAJHC34HpKd4CmOcJC3GpT4gobNvbTJSnOPUpQ9dqbCyNOa1Q10g
6SpigSaeC8kW+1xvna0T79e2Y9q0itnkQGBwOtRManwXpa8qOqzzhbHtJYeYLikq8oBKDy/5g+bg
sMNexvQdRV9Nb5bKTcAnkEiYlA61pIiQYNE7tGKC6ZwMyT+G38yFOqL5WFmH8YR1ZcOn/yty4c+M
HaFAXbXzA+iCNoY0BgtPDAU9O+NA10coqMv5gxNuS0bnzM/X6dGi0dttAj6QNXk7QsN9a0bvQ4vv
JImOIbFPbcV5xdYaRKlp8gnhx1mVEOfKKiT08czDvbO74pfqcG4xRb2NnPTdTSVnxRa1bDdv5xqR
O7OKj2ysjkHSnRuD5Lyx6S9QMKiRVfUwa4ZnaAXacdm/BLhRVlPs/0TzuE9C1iZHcbPgMwarvbLt
8mVwjYuvKNhDabBQjueuN4KtMTTL2vxpE+jSl+dZexA1rSKlcop6ROVjcl8O7jnV/ePcA+s0u+Kx
Me3nrEHsM4+UrstVV2n7ZAFEyGgnkfvbhxbSJAX1SSuey5FjTWU8aV2L57CgXaLEsCOrqGHS0e9A
hzAyClrCxWCQjcw/HJXfh9M0bNgfjuCxvco4uNRJAZ/uRiBi2E/t/CyzOt8K9km8e3p2NzGv48n3
yqonQnlZQCDDxJQKxkqvRQ67Dw1DibMeph0MNpFircvNJy3E+UkLjUAr0kgqVuxzB9ZSz+Ea2oIq
baroTGaLJyzF2nkxtLYluBbLeBuUNJ7t8nZ00aJWFfnTofZCV6Dakh4smLnqX5b9iGIf4EDHp4Tx
QpIA7LznsMdgZhML0+GdW2xUOSrd0Gj2tFNv0BN9LXqbAKLENtfJJ9Y0JI52H3jUGwrxBEbGerSe
5657RN8BMM3OH22ZndPQvwkq9iNbfOjhjx00ZNLUNM/DLLwmjIGBkLwyvR7WWXwdVHeGY/GkCzKi
h9FaK5vHCcPR0p9xP7UaE2dc43ercRfDrVUMKB3oc8zkbGlx28voTscDRG9h2DmT+DCs9nHE7UBO
ohbTM9aM4j4MYKckYYhqN4ewIersw9Eadz/kpmIllB9axGgmYeK8MSdeqTsYX7RhypWv4yLy43rV
ZRwcbeY03Eoub0NByDHeEtoq92HOJohGp/B0jgMrKWcY1hFmxH6dtVqERth/VQKHQlBjmClt0/OR
W99QNx7TvL/0lbHXMlIvUvfg2PTOy+FXVosbhUxyg1zyCs7iVieXjc7SIwFF0J7hiHBczr3SJIMs
szRqQwkHUDnEZ/agQ9aNxZDSypFqtbrafilYjJ6jQ4WpUpTL3WRWO8pMNSM/sWV9jSyQYnbQ7aeU
6p0acsLLXLprOb0tiBndojdtjSgZKR4f5yD/wqhCczTuMZ+lkgKH+X4LoMuA9UUxln6bs/ku0/aR
Qx0shoEURVud/brBYKzh5LE4/OHVrSGEcNdrtGlXWcZjJpZMqsY3rymHIgKd4NZ7pdR5922Nnpm9
w53n4u24TYX2M+f3CQTL3WAgLnaGiH5qyymv1OK7GAnB5LQ0Cax+VZmTsWly/dYuiS41gnJj9uFD
gHwxIBKERSjy2jkMVq4T6IcGzkrc2C91l7yV6PcmBpqbzFYXOTFs7lDZDJcIy+4wABKCr+R6dQH6
xkGmJEb0wBF2bBBzECGn0qfiCR8b1zTWIudBJC+easa6V8oMPeLTcCs40XPk58mpLcxy60bwQcVg
002sbiKXXCw9yCYvmbkhU3IsBh9HxwSAJK+0TyagJb9+r4XmPnfb8FKZGR+Jz34c+cMGmh4Tmyld
G4PvjTPPHAUD2a4B8yTNYWaYdC8iK4IzaioQVlQvkAblwvsxR2WsKkblta3dWigPjsisFzRlwyre
Re5ad58JbMo9cCY5ocrweir3V1gju+XgQCt7NL9R8c8rm911w9O+RWG0FrMot1pZNmtrptk5uxjL
e6ZJACck31q774ZAHREVt6SeVJjFUUwDt4VoiX3PY42Hl4PoNPWzCA4aez0+rL2S/b7ChbRObB+T
tTjPjrrPgSasAsvdhWgquGybbLhA7xcO/yqHzgBBgqIZsQ9Ln+UYF7MZXjKdQr7L0LxjBsGUndAL
mCJaW5XjfiF6AgtT1SdOo/kxK6ZHGn8lPVF1Br37q8wnxtv1oZRTf1vU2nGQl4pnJ20cc93OArbd
8rg2nTseRad7puzYb7rwORBH32ifhpG7v06r5e69hip7NkMwaW1j18iRBezKJHIueHz6lcSZ5FF8
PRftQJIkhErTml8DQ9FZsPxt35n3tgzQ9hH70GegQB3RH2dNnDSnvuZaT5SZYH4cTxy5BF3qaMCS
MVFiT1ibCegJbzNLfPg9Z2qWqyOPAFpQo7vIrrhXQhXnrA/2nM2zFS2AG1nF76ZeMRnT2gWLc4c9
oVyutqXReUyQKnitGxBAjA60YCB3hX8cYm7WPuqc2sZ1PMRILhsuUXC1BIwFy9ScngbbIYOYhReV
2pK1KzeNosjr0oCF2oqNjdmZFwt3AXDNgj6y9Vg/aXG++HmIUYvy7Cw6lEBaR9wiXgqvdk2muyPI
88AGfJIl6T5O2+3yb90k17hy1CXBpL+ZkwTtMTIVzO2KkE54i0UyvpEPYDJ/3IIA8/LQGCklebaV
yaBypGlJy4T1NDFTb2hrWi4a5K6q4XDiJ1vObjv0tLfmrP3kceEVCqQnm02M/85ehgjhKXN+tTkJ
2nUD8guUD+myAXRQG4W9HroX1PAhg2U+aVqiW2XhkxBWjuUzE7xzjsjvZoMMXuE4MxUsfu4ypBlh
BxWH7g49O4YKfduTr+TP7XXCJ2XmogQt1rwUsOU9P1qkRdqxbe2TGgmbrHmRQmBBiKU2H6tGR1+q
dg4JhneOw3GxiiixyI3W3g1TvxkDwvKy/g4cdX0IdeekLVUvYPR522MxX2ntcOuOUerNjbHHi9Rd
I26tuKKz3reQvAMRHiQxj9OMvEaa/XrURMuuWp4D0dIksqAJu3QaFCmGRfBlNZYPAw9kisHzvina
+gM5CM25mAHWfDIMxzx2WKmdIL+Vrv6yAKVJNiKxlTLKsMd1ew2JmFqb/LGbW7nvm+S5cQLxSgVI
PKPr39aW6q4c44dz7lKZp3XyzFBXXBJndI7uAhAyhgfdLN+zAfvnWH9BqjGRBjQ3MISZdgiwl1EQ
Bmeje1Wp1M5GWF0ARlu7uAmZKpQli7dKPJGwBLsTLgx7xjKWREhnYrjr02vRM7wJG3KJYpS9G1ky
Zc/14pLfi7ZNDnnSk8NqLWRwsEOoZufdOKnCEwR1sa6sw4DEmWYEygDF81Sk9bee9zm2kiFcWEo4
JiH6eY5wHyNYJ02VsQcZWr0XDs4JVCWeO1DZ9YbxUEbGLjJsIuLHaOfSdiynwrxJIXU88GwBjm1e
aw0lc0rDVHoKpaRbfI8s+0rQujClZBI4cD7otA5hZD6yvvqMkavAZBIKagDk7kfSVc9l7170/sMu
xZUkv2MwVdmrBbqN49jA+dUoiGzNq/ldD+gsGNEWpNK0Vm0/0g7pjwqG8Ckxn8PWio9mUFjrCuzK
mjBIfC10RMC7pjhEAXlMMKImrDEtrSanlF7U1N44sYyIKbA3MgzvzDh+AENu7WoLoeeIISJtaWja
Ad7qqq5frKEJN7yd1J1JedKqRdtanpo4NB6GAC7C4qwxROwRcvajUctZHOo8NZ8bpkO7Qtk3Re1e
h4CGsOwn/RT1xnwAaEJ/GLQN1IUAVFlbP46tQf3ZJiSA37iznh/6ovg1pMKTclBXLMxqI36jLk1q
ux48C0alDcsVKFg8TbuywVkSZNVt4nbFM5TKt2AjdcCZHIMQwNJkDsqZnaF7Cm0XmyF3FOfsDyuA
O9Uuh+uQpZIAZAxYKrxIAOfr1h7W6kgQFIeLCUSYhYmjZcaPCi+6iUwKB7OWwZrN+zux7De/im8T
WeTbiWEEHNXqUdJ5Q+SQruEeHALBjI0agGOPrsC7kGRPxU5fZjwyILHqR9tfoAITNgUIANBlGiT5
08ZsJwPXOmALjZjd0agfrfTbqQbjhr5ah8wymlP2QQSAl0E4twhnz6YeVdsm/yqFa26bbpHSsJRk
lHkY+VjNCNtlmpKW9IH923ho38ZAPuWmRQuSo2+a2GcNP1oA0LRqmJeOAa1q6iEQkcwoWBs3ZvOG
ZAWHOGr8zTD0Xx0wH09l6TNC2xHsD4+X6pOnmfgjKHlrP8XlOZbpvioGgk97KuZgSvdtl97EliO8
ulykVshKQDx3CQuK3vAORehWqI7LrcjjwwBeKjMbH3eM9VgO3Yb5/hsHkc+go4SdG6vdCjXt6qYC
fTPCm9CZW9iteR2bCJzE+GIs+samcj99q/g2FrGFbUCvremBiFr0tHZgU1D//BRz/dDPOcZ02itl
Cn8aHk4EIfAHnT5Wwc6ZV5Ld0RbatmDiaBnGLVlhhaiinWlQojvlW4a2ag3JqeShIWz9HZ38J5LV
bT2BIhW8WFFLZ6XyAY2k5jyOhvyV9dqXrIxj5JrtpR93eRnc2/a457tvNE4dm9yPYaCpaPTQ6V5K
+O/cNaYGN4LBRSC1R5Az7nrWxq1TY1IZekLMSrHFonNGg4LRmQEXGneyVg2IzD1KBL3Nf7Jhafu0
SAUc/cfv9a9ePNXw5nqGH1urBu0dNq6xyQfM3rUmv1yi4D3hoM2v9HncpLMYDsSW1u53nN3jS3hL
9LShvXMqBoa0TjrF+wqjIF0kUGAjhwODGm8U1gXwbY/YtarnIyQLwZiHHI48efVTi1YTSzYBxtbP
qCHh1bMhWSNpf7Qj8WowekHwYNxYaczmzZQ8DkGZYksJyY+Yxh1IGALkyf9tb0I9IY/7p7D3cLGj
rayTT/IaGSlXHVKK2a49tzUrBoAcsB0o+jTHQ5J+daDoCWfgDlCIZhnoK/LpSSTi1KNhnmnM70IX
S5oCyhIg70ZUR9L5RAoUACEaokJbD5rzWRHMtORxH9ug5b9QaoJ9eZBwOkpiYKu6W1q6hr2NiRp3
RfhSW8498RDbeXLCg2rLmxyFSc/3rW2fKWkAsMAqKp7AOHxj3x+5CWfkIZzRoQEOLAYxYDTHfQYi
3Jz9kBVc1tLf+q5xKyuKDFX3J+USwuBEhFxjFdmSJE2DCGu9pZUb0YcsvyTS6Kn9Lsw7VK3HzB5f
pgg5X4H1YhUxWmFuXtUgstF+7EKbuO0gBjpoQaVATg2MMoH0twzCOnvxxhETqJz4hOW4zeMfltOe
cbBnttwDcTfou9DAapqTdz42xMnHOu7nLpw35gC52ucgBI1/0cH1Hw3g2hyHDNu4/5bkeCxsNMKK
KKRjH2w4/rte23KJVo8Vxtd/UhGQBVBNz1rHm1ghHQcw9OTKEX9rUefMgAp+oTPt2yG5tVPKxh7F
yTiQd20FDG1RdG8CbCnnaUz3drcvpZswG9BXTZmAV0o64XHSI2RZyV9oSLEQRm27SVISk0KieE6F
b9xaKIWiAVdQq+tffkmHCz/vRZe+th9m/Ge6nYmNPeXDHW2sti5ODhpCK1ZfCXPcLgj2dG3GlU0H
8jDpkAuZ7xzdQJpr3Q5NzgUFr0k++HF67UgvzkuuPZcTYqJOf9ON6m7qBuXleEpvZ/LuYGYcwlyf
yak3hWdMUOdwX7dSPJZ+0FGuh8N2Gqv3KmiyfYS80Kq4zymrP3SfnAKxaPWb/IaRbXWco+LdBWSM
Oz3fOaH7jW3+dQZ3Gsf65yT0aW9PsJQk98HQJw4jgHkjremuVj3oMFoERWUmp8bMDv61EalzpwaS
kmszuJhYuzyMrummLtPuVJbmPXzo5t5YID+TXbMdzj1t8sFajsyICyg6z4XpwvqRhrF1ZK48IUV+
qgtSTjWMg3nOSoL3INsVpmHuRsqUMtPWc4CGZQYHty3DxStP8bQbKxzfrjPMm6HpzU2pNJfzdHMy
VW7velzMnsbtvtK1pWIyjgvSjlwHdQLkC2wCs+O6jdDkt6LcAdV3VwiP8+vQ4ANsjrxv7lrTFF+n
F7amqENir/d7wsgfWPWZwDPjMI1aHHLUyyvHktDzwHklPnOqIo+Olc4RTCD4WhkwQLtQvdVcpNcL
mriajORJauis1JyY1xItsx+V/WambuQzuYZJ45+sKHmOm/EYZwkNpwwkLGAHojWix9RhcDjG2Qck
s+3Y97tkyu4jJOtOqO3dlF5EZ47FjVNBV3LD9WDxaMOYwkntDtMWyBpY4JEedm7Ad7HGnyY1LnEN
Z7tHNlj7ebTz/fRuKEDYCZ6DjYycbxmU58EIdZjU6cHUi/cCPPjaoVONO4/ht436QbXy0/bVADIr
oR3SbiNZ2kjDe+WNnQ2+sQx+nCR/SGemZPUyVNcpdczRfXbD6MM3icLRJeo6d+SpyEVMvk8XoXRh
vSG+AWBZzKcJcZ2ZOEtjokkMlJxVNPQ1GAn3BBYAm+pjk4VCXBqdpY1iG6RLLWhKW4Q64cA8D8H0
MBgRLqHw3Q3Q7M5JBlMz9EICk3Y2BTwpadbGR3XbWhIx/uRYxyHBNd7I8SKK6gQpEXUO+tSOkfF/
jpMz/i3YjWxC23YsfYkAJgRsCXX+p2A3ujK99ntQnlNNPbrcx5Phzu8TSusVtvhTQdLRVcSWe2JW
VXtytt4pE/r9xMN/xzHkoS1l8dpqKJUS5TCUXmRWJN+cDPgy7CaYUbSW9r1WCp7y6MGsNXEPltZi
Ta6Liy4MgFREiWD2z5GRZrSNp8S4zQP6tXkBMQh6y7MZ6wWTHKTZJQLGVZiPN5rR5etCyGrPRKu5
KW3v76GoUYspKlCEY6+MKbkbfBRxlTvZFx9vpPef3zz932LbbEHNa4P41pVh6f8aEK1zY6PG0dDO
GZW1BOvYnl907rFxGNaD+gH3LyDmzPVmKhskD6XubnOktBSY07FOQJToDPTQwgXbRAs5iRHqt1ZV
tK/rhMCMAKKRiIxDXBLOEY80TfUGodq6K8pyUwFMujO7CsO0HHduZhgnvUhJvx1s5qpZ4D46k7ZB
0+vcVd1YbR0A2f+P/DXp/lvkt00DRQhdKZI+lWX8y92DZhFEi45UlzQvHDWFJW8LPzzFrRa+mIy9
6RcGzPUyZvIllpnXOg2/h2ZEHBRxXBdpVNG6yjkmaYCRPdTUE2tTPl0T0C24gAJcVZ2JNpXe4e/s
5Bm+GErVY0jkzB6jfHMXWvyhGvBvRgFiJCHd5kxl8a7X+UdTD69AmRcwYKM2Yz1UeHeZ5HQqfhpc
iaavJccta62NK5puN0+FfGw1aW0XeaIXoGFfGTqbq16q4iGNgwdO7Rz+aPKc9VAAlGLpW0V2GRxh
W6WcYYDxaxAVr9awsitCOuTyg90Ay6yMU3FA9L8k2GDiKZMG5h14mqwFcjT5rbihnzwfxt6kGCny
YV1xTl4yiXumD5AD5y6gR11S/GWO+oD7696YyFxdMhEufjgdM8If9pUktNjURxclcPBWGOGP6ntn
OzrQspoUkV2wEN5zRX757yTSNDESiMs9qBdNk9jupLzWglqshtAEX2XxK+1/50xWOoDUySaCwO+6
COC/czv6wHxAHhTX0GSAA8z1YyISbNpaC4M+hIGD30Cef/8x5pY8Z664n1I7/MXFgSjvWFX14clv
SmszpLCAfgesV0Xvn4r2nUieq0IBtSf0K9oxxnHfga1Skk/IVcsaOcLcbFXJw+kFthIfHeiStVHZ
F5180itTIPTwqrlhQu5shtA8IqczT7KcUWRbTX4b9gqNT2d82MVgU9gzi5mWgR5t9S99GuWu7cW4
6aGT3c31J8TUM/dnRmhBPl+UCkrPrRALgBME9VZU4V3Wi5eoiBLYLuCNwkW0UC+lM/M96JaQMi+O
he5NjAwwG71+TOZqgU6WDX1I6ONgQ6pfgiUkicdrNdbmwzwhhU40QhRpuaxUKNST1cCcn9Bcb+YQ
5qKpz80Boll+2/RAo0scxZvajgWH3N5EuY9h0DcGRivBkOAHqJLt78Xvf3yO/zP4Lm7/HrLY/O2/
+ftnUU41dVL7L3/922OR8c9/Lz/zf77nzz/xt0v0WYMX/Gn/43ftvovre/bd/Os3/ek383//x9Vt
3tv3P/1lSalop7vuu57uv5subX9fBa9j+c7/3y/+5fv3b3mcyu+//vFZdHm7/LYgKvI//vGlw9df
/5BK/6ddYvn9//ji8gL++sehSd//cvyum+/p337q+71p//qHpv5LYHxjw6XvqrsGVIw//jJ8/+NL
HIJc13VsSyiF7ortmq2qDf/6h+H+lyJ6VdqurqRC5cRa25BJ//cvSYvRmCMNh/atTijs/379f/oc
/+/n+pe8y24JbG0bXtCfdzXTsKmVpe0o25VSMUD/l3hb26orTQqIFdNixp+fg71W3iz+Qr9mybS+
K4g8nTo0xgMWtixHUETOmCUgrwQ7mzjaf3r7/nF5/3w5pvxzicL1mDTWlUOTWklb4Av5c4mimA1D
w8duQmPtoRbnAF3pxDwwrMNtqQZG5p9mo28YzDMhPRPiiK462ftiuK3b/Dmz/Usyf5BH0K1KyzlI
ZMT2pB+jGOdBEt1VpnXVAb1BQkYnbH1MjIhmt16GWKdqdO9CSrykfk76aS+xsnQ/0kerM1ceayJ1
NwBZGx4vsAzxrbPH22pJ3vrQdQmKDwHQSkCWTaMQg+5zR5fcb2+QoFLZm5jQycli9KbBvwok8Wfg
gVLnoOCThbSg22GHj5PsggCfIx1FmE85E0WscOvlNYT85CS6DW1LpLFAZkmgLGqvw4zpEyRLzOMK
vxob2JcVZ+ScQIwiKCcjRQJA0SaW7SbEsK+N4KdxSytelEurqBy/8LjXBXxNpCy2vTeGDV1WfJU3
7KNWDECPTKUItYgb3SCZYD4p6ZnR1JDPID9wGICYDQGQQSOntgO3uGHINPG3GrcvcgAsmV/R3EIs
BaFKN7x6ns18tbx/QXHTtm+Rg1eO80LG/0qf6QBagYfybNPZ0ypmbrOcREzecSd5jmbaR2KrKNs1
561cGgA973jxzGv2k9uhWkU9nVvwsir4NsbDOD2nAfGgvHRtWM4hiM0AUCCnpQuHIXFqMf5CU+bd
m+Hl1Vg9sVml+KAAhq5R5XjBTg5fqudwU75N5le5NPUcncxj4QV8FMslGDAGlyrO8THjD/NKLH1V
WLdwYTYS3RxAXQJBtijqKOYCzzG0PQ2Qu+XlztwvMzVhQhBA9L+YO6/lyJXsin4RRsgEkABeq1Ce
Rdf0Lwg2yYZ3CY+v18KdmIjRSBGSQi96mDvXNMkiTObJc/ZeOyUFDfNfTIdzNL7z5aZqP/Cw+sNj
1jww4tIutABME1NsBUnCWt/c1RDL2dy2Zfk94PdiLB+42MMX+kn+eGcZbKgfwB43a+zVHLLzty/G
8iGoYYaSJ1E0OxH9CG67gn+W/mppoYL4A7JfbJXF7RQ8qkgR/ZkJbtNtU8v+67+Nutiuf269D0nn
0JBK0D0/0goweCNV+MgjsSayIo/drAP01MJoQWWH7glViNivj4kLRcREvOWS9UPfaVcmehd62aXC
DA3m2a/Do5M5SF9gxBakOnKhTf9x/Q0B+sXc5dbmMq9Rv8RdmgDUa0bmdhcdJD363NjblbeteWe1
5Peh8eNg9G+zYjuTxFETRhmnP6sIB14mdoYNvCkenR9RHZzme+LGmoALEh6+kMeGS7mmSJB7A8iY
i2k6G2LsNy0xO5Vb30Jo3Zl0CVI7v2kc74UVjbp2ea6N6Utg6656vFN6erbgnxSZfe0iG3gI31oS
QZoUQWpuBSWErI8cswKfz7v+V3NlHvHia/d9rB2SbGgROsj85U8G4wceaRLJrWYqT3JmMDQvQkxb
BFD7vPquViUBV7SDMCzo6jJTnh5c+5fgdlWhuY8jPtT4I+lk4vPZ6mKgmOeZ4i7FrQ1S7pCmWCVm
fWgTtZkEQGaeSw6y25VTpbIHHOQnE8nMui4CpWFpW3cJwEVcobJHMFHzLHLur2kKqOYH3T9WisdQ
fqTZZww7v64aggm838QTn51B3S49yxALXlh78J0/mEZP8VteUWmtABm++fqi8h6YFpIQDtqaj7Tu
TqJitZNgoUBzOGIFBGdHzTNspC/g01raDwtFrMO7mMOYnEowby/N9KJ5iRLWUln8zLyArntK+bD4
X7ct88Z1HTdjmBz4ahF0wQ8+IdRH8x1xtpPrQHWbKlZA8gFcisF+hIbDpA9pFlTjO5p0OIrlfpyA
vADAzjama+69kpxgjnw6n750ixLDlYhWobKOdpXREG/faLfCwY+2LofHyeWmoOqAi3aErLIx+axJ
8WMi9BxDnmBuCgcwEmgeKySOvXzUDAF4SCs1Uy3TpGq2/hjt1jUIqT1hAFDTI3WS+I9LfNB5C8KP
yNd1AyqJ5V3vHMCSjTr3NEBrhweenN/Kjw5dok+TzbiB0CFaIJtZ++/IJWmX2Dc9/Hhmz+ujHf03
h0zvPyR8/70a4ZDp29ZfUeXuvxwx+z7uIKlj7q7KH5EzVAPy2WOEjzhv+UQI/Xf1xn/18xBXojC3
XNuy1L9UPxl9qrSZUBjF6c0iv0f4VwP5X99TcRkgF/7vi+j/WYX8fym1/x9W0RY177/9o0j9T0U0
OpLoUyef/1xBr1/x9wJaen9TpmcKz3MdIUkM/Uf5LOXfLFcIx3OooB3LETwr/6ie7b9RPJLI6dDk
8k1pcVv/UT2Lv0lbmsrH9s2JzVXqf1M986n+OZCe7+TTD8EL5tMVoZQW/7FYZRjZlzSxnW2prA/U
BI9ZYkF9dLubf7og/0VZjH78P/0oi9/Is9gfHY4KSv1LXdwgsKn7kbnOjFBixYb143eUGH0gfJs6
sf5KiukP4UZQwc3yhwg0JD7pQLvXoa3vN/eGTq8xvFHGY4KashCv0bLasXVxapJT59PD1GgmDJSI
O3E3A+MPoD/m29lkOdLqUTEr3ajCvxsjyg1MAyj0xBuKLvwnij0CCPo5pOHQDBp1kwt1JtTW61Q9
LKFJ1HvlfS0ULsuElrcwnzLLfJg751LTicjbuTvRdSOCJuu/E0qSZvAomrASoe1J0E5aXzQtcRlZ
ub0tYe85taGOkQAzKbEkFDWEexmqZ6J7PPo9nrnNlXgaZTSfGmt8K5sBLwnsiDF0LhnyQIqE6dTV
ikzZ7L02nT9Z6Ny1cH82adbtGyd8K/FTUYuDLichY9nCXDuVwDHJ+DNJAZ4fq7ZGiFGcR+PSekW+
CQv6G5lK7kyRPSdEE0n3e6xvh2X8LYHAUhyvhaAIGrta+f/M4v76iknP13wULwBQWfYtEtkSkXzE
YDQXnDIF+spNTOqCNPUdQoETo6jP0V1sBK2ngjMSdiBm3qT7bNQ1c2R/SPKUdIWq+PHttqFQMe+7
gaH1hGZuUNMbQRLRIUqWd73Kyaq8+qL189IiCuEUWgaDBsHvqLW941uHqwLkirLDnnaQR6mhieAj
4AdvEpZdYi9a6MQ0IWpyYFVPse9XBsbx8JVOOlsU5QqnWao0siv4If6mdBgzzPOz4XdvumBamUPd
Zpzvj3u5JQIuPdcag1kTQkG3l/GP6IzT0hZql6Fc7dH7B5oi1qJvgZKm+601IQFF1WysCv2Bq1cb
ukZ9gzELQaTNuWUGCoXLpBpDivwccHm7PDcpGFNswVS8y61KFJj6MDqbMYnjSe8ynqNbEzR+jexr
Yd4sfHCdyZnSglGWzr5bkwjRe7ugjIn5R9mS/+U4zzjVEuxxHeEEbnnDXURATWgF2+kdY1EauGWJ
i9/A7R9NycnNW0Y5+G9a9cvQ5dvgR8/YXN5kl58MU17ydN4WExC6GOZ7m6HC93rzD3ztW9G0fxy3
/TUl1NfLDHs8rSNsOYyAGoajfjxxZonjs82/pPfPB7CrX0hKvgnMY/5demez5W9kgYwWLROHaZL1
SlTla5DIMDovXdMCmjAyWsjNXTubNcnL3bfsCHkdmssEfvFKYbEhdRhVlkOk3yKAEU3Ed7TIabGC
5geDcSHEj20Tw8YmZvk8jo8ONlw6cyATya4YBqzOsx4/gUbVjDnr+cSoPKHvWT9bqfmHefg2x/14
BJPARUpjWJZh+INwG9vAWDOTp+Sfk199l1wju98ilLc51zaAi0gf8wsRjFg0POjcFeyROcVUzzTy
gTXvoRrqk2WbF8v/KiRV7pJRTgCJPtbKuhsddRDLL/oIH37PQdxql4dxzO+ZUPbaf6Czc0WPfkDQ
CpnQmDBqJQiQJQxK1raUPCOHtGf70AKPC4umgD0JXGEs/a+VJkkPX5VU0M0vMbodZ9h8rxqQX3mK
BFYltMuLkeIMsgNOTQbDPZV0ME71pTP84eD6/TEsaW2CireCuQmvprgWleKwMOl2I31ZHpfw2mO8
9SIf6fOHY/XnJHfu0+Gg4umBgcCr3Vs39Zq8xeBB1t1hFEjbOSmYQ38JzWGPdq1FGK2Xaae6CLMR
3LKwv8dg9knP+0xS636WdlCbZCY35OKgTEOPsDfBYDcwH4K0cI5iSi8wTo6oDl6bOAk6G0Mgj4qH
AsPi4CELz9h1aHkRCvnmFjULh2TChCF64jXlw9gNodOs/Sy98aWPUZd7bHjpQAa60hlqW6wybg5c
wPpdGiOt1xnlhXG0ejx+cepfZ10C1ce+0YXnttgh4zoMgilyTlM5BAnFS4nb6YkW3KGqwkCaf3VY
ptUtY35NnhF0mYDw0hIgZ323YKYxZRvf3sJCOAOgJotgWLEJZnqc18N+a1GeOuK2MpNmY9SaZoF3
Jnrqo+g+zTm/MHKW3ogQdLrrSyRgsgRW7JSfXdceLSNCbzbVtySdfvek7JmGf99W9bvS8qUxpsdm
1G9yWF6juj6xD1Ewvw8dXtm/NpL60AL2reWrvMXx3m9rl2N3n7yiBmpoceBXWWQwLCQgufIZqi+z
CdDvy6kj/zrJSCXtqruyFr+F6B/y+HnSdMjg+KARvikr7wE5y5nc8XMHGtks8vvYbq6YijfwbPFe
SfNc2vl3TKAt6ItrxqFfL7eyyW9b23/MS7VzZ5SIerknGxyoJ0FlgPPd5KL+oH84O4ojy5j47zQf
fg2SYIFmn5GwsHGr7k0uzmWYtIRbv0PeeQFMc1iV+dqpDzbEutqNPhvX+ZSOyW03d641HdquOc4x
hEPlIWX2n0rZXJcsIsbOHl96b4DHJz/bPrpJve7Di1lIpkW8lMtbVcoPArd/rEncoFhddx+kjvrR
wZ5E+2l+K7SNoqYmNQzeHZn0z3Grnrrx6GvxSKbWvREbT6ONA969razoCVvwby/tu63IiE3JclyF
JhHoNsnUyHINLDiEUj+wXR7y1t5Htkt8Qv3llLShVOX/Fo1/8+3bxUNsGTCkTeuYpnsSyT86aV7x
cu0gBJORMaQ7R88foTd/IzC6MR3jR+FAYzkjnAo0gqQIAkjuBRFDjE0x24cqziFaus8J+c5085iz
wh3HZnXEdUPkBAz79qmqsS1ksOCZWsBxqNW1FNEbZq1P26gZiwzQAnAuL4YRIKh6joronRkrB1a/
vOSi3k9ZCflDXZKovboEZrWxg7hevWrGJdHHQEim5vYNc/jLJy84aT0E0OromPVbPbsH5LrvI5Y6
UrKJOVXWG5yMg7uWI5a8rRL4cxN2koioQ8Uak/lr1af7i86yB896jprxucVtieEw31gd2dVN8sFj
Tj5Uab6KAiEQzsFoI4AB0A5kD8Ol611t6ZLRbB0lNjlcnWRIDafRXl4wb/OVuPwjYA6V69HN6x+n
fr5WjtgNSXImCAdbTnQGRANKaTykNa26GtztoSMbPJLelaynIF0idhUPZqD2HiVtLqP4tPvwJGHC
O1a7Hz0LHkl7Xl/PkiZcWUjKcYQ4a5CWRHAuzKPfVDudq+eC2Dw06WAMpneXxvtYG18h4lT2Hvve
Hsk+wGa8/o8g5zfPX8uRGTpchczGOZjYp1rDeUBNfcUyf21YafX0hl5HcjGlg+Au89/EKsCT1v1o
IbCMxH5KxiCbs/veHnf2NKCalk+Cxh/d863yMDK1FUHmBjJWd0eO9oNxWUgLWMTXMvd7HwGJK7fQ
YW6rqNqFhyYHAZ5b73nBXuZWD2v324YUi7A38D7g5O0ID7nVKL6qpaJ1zq8fDufRIrwSr0fSqoNp
OXd64qvRjua0Wd1I38qxILSwwB9343TmuVLJbsFHpVFdjO7OMrNdSlh9UWVbH6dR7zOGZwEMJUFe
KDiy8ZBABzJ1eGMTCWGhwlv/X6r5bpxKJvpgBBy5z/DYJSyIQ2XCSOhR5Fqk8FYkULjX9cNpnt/e
6UjBLbd9gdq/Lc7rv5/r7VwlREzn0BnFvVfBv7GGl/UueFQMRhavc3w6NphczZZjh3907W9Z4JQi
E8FjTAAUYlvJ6aBxe8RgbEaUVKHt3oYxg80peZiMnPlfuMWYs1H1IzgFouyzQ/OStNF5sLuralyg
msY9j+Qe+TqxhSRL1oBwHX32JbHsRLg3A6bJCcEicA4/yHt/J/I2UPRD1u/S5kh7x+gPj5Ss7QM5
iscWZsZgucc4oW/kFXuUxts8aujO+/Vv159xluZ7S4MdotzTzSfkJomWbDmZS4gilOk4kUmUeTsZ
DXdjPF5GEzs2YmPNRZc8XbTXQOk0e7tLbuGdiW7mQSKceFDbknpz/ZkLnipMki4yffwTrWKJ5ADW
4rJpUQwlif/Q5sshXqOT6LZl43JoyVqeeWysqdiXA/MjqlAbcZFdPdCyPBrMiqeOVneZ3Ggt2JDC
UxfSOKxQI8Ug2EeK3U3FNYQpt/XuO74+tKp9xoSF9KbdPI37npZtyA4PM50kM+82nPOX2IWK2Jto
9+Yb+gRBleT7sa1PyBo5p0/AB6cdZ8OrG4kgi5MXM2p3hlGf4Ibd9VJdpT8Hq5KtzJOTIKXIHuE3
WdPFYBw1LQPzoAgYn3PQptyBwzqwM9yYqFfbBl+o3McdPKS0vVY+O5uxssGawODFj8nThksEDo0i
3jJO4DztFfQ0vXW+3IvuvXR5LzBG1QBW3F0xJZfeKY92Vm1N3HCOTakNQ7rP/UsXw2XheXaxzoJe
g42E272KCCZLkGz7sLmcAAiYpxm6R9ikGesz3EQLOl/9yTsVUu8H/AS07aOhApJI6niEcq92H8kP
uioWzA7XsNTuwXRGgOTuHVmOvuMHTZKdWsN/KEsyj/MkhG+TsAYyy0uKBy/JT4OoTiXSmznPDmVL
fCORVDSM9mFEyCZ4SoWvhKNE0PbkBdeK58ihwzjtFhPtOs/Wup4JjrgjijeC2faCqMMQxC9K4FkQ
0ue6u/VC0K3Zy7w7SpNcB9/bE+jZrIF4r3UlrvPyoYbiTMTVMUbHvn6r2J2P5EaQR9myTroHKzMB
b2dbtC1HZdWPufWSx+ZhXQsbO7lo0Z3JhkJPG27JtL3SSXlA7vvmKZejMJjKrHsOO59MvcJ9noh6
aCPvVoKN7Qx5sBF1V3Dvqja96QASb6WNAzDOfU4XCS/EXB9VqS+5tj9AnD6GtXopaeRszLn60f4c
0v0XNw7BpDZOlb5uniqbvndeSMSE81rRkqO3aVMSosoBCQr/zWVMg/4YoSGC7202PfF2MTldLOJ2
2BEafHF7VRgEdkbeq4NjCseq9RIZf2oJdSn3bNpDwuQAawG1m4pyZJBpPJbj8pID/dzIiTNf6z/S
oPmzqIMhypukIgKpIr92IxaXoR5HKfrkoEwXPqk+OP7ygrQM1aToDoLoeszL/mvqGDhvY+NiZRBL
Cp+uHXAUucuQXGzQPN7h6dmNts+IwNTlUY3DwfStjyUD9tu3ODW1+UsghABSsSZIMgypZiRqVi5/
RMfxfE6gKvQ2QD+DV3OLVJbTRvQYxaxMrfhTz8XPQp9uW/sG44YK9snsWqfG6D61gTBMvCSCr01K
JM6TG6JFiQbU+uNAr6Rk4KoGcYvO71ApObCWrPl4y02RI5RHsodBdM7vnKK7rPfUleTRIqv7iRHs
bZ3RfRQYRqrU4B1c6BnlqvhjDcZex/wmi+ZCgd06Ef70p2n6uyHjhlQGvpR6jU9lvWCUOvjP/WDc
UQOil+TyRvC/dl0D7b1ZQrRMfFSAFi92jOPW5fw2Wh/+PNyZLp/Gzn4wgN41ls+MsGdCjOKZOOM1
eLn77HwupEF/hcZQ+PSXobNijY962FAWMeiOSG6LbOW91ZcpI3TdqD7LsH2snQ4xWArnTC16r80C
7OOdomACqIUKtuFqt0Z3NM3sC2FbtwVLCkAX4+ykXK78yGfRs5ccpr47KJek1ZQMM5l6kBXlRz1x
1nP55egSbkZoU4vZY/wF75VX4BrEwonMgdG3M8Z4r8ge2zhI3wbuulBE3suatKGHkDgQDmx5u2vS
6M8Y2euUj0G+25QPg/E8Q+M/tV32og2nBJp3rXiDDpUF824ZSosQ+EkytFFvRgSzp8KdeWFwFqTx
52whKUtCfoO6wOcVujiyQGdMmAK9ZPmyWu6+r5sDuBZrlx6EjmdQ4IxuFB87imaxVhhPlbq3I4X2
NDSgY1jiogm0ohlaBsQtI3iYkz/zmu/UuQ849NMNFpATnjjeBZQG6MWTA7y6cjtW6XcD+xPQrPNc
gH1nikb7rYlSEmeb37NjANxBlc0fXWJCf7z1kpqQA8j8BZOJgYMfSUY8dVKQuPs46ZKdi26H1olr
BmGYNMGwnn9Xl5Uy4X0Y+7ZxHzuHf87NDqFhz5ePEarvaJyPZcwhcFECGFUhfdryzZuStXsW5IBA
tYvR9wdLTroAHsJlU1tM4cmdGoKhpJBq6KsVRnT669a2IbNox3RPKuZc0zT1j1GXP7Uc7uoqZOC5
Ci66NHpPrF6cLG3A2DGz8NI2eo/N20R9QKsySsez1OmXmZ3cgjpnilgv11WpkDU0zCj9sWzNou/Z
b5kj3NsCgfS6Mk8S6OKqZzbb/Jp3SL5r7zzkerkDC+OeZT89Vk76WZSiQdXIXhp53V8hRuZmMoXc
GuANNuohju0Px6HpCv7/YvEeR3bCUSlnULv+lL5jRahm9ZFqwqGb+pbZeL+1KbC2FjivJSmvyq9v
6tiibAAnuwv/hGlNsDv5eEFbpb8cn2N73RGAl/jDXV6o8th8dYIckh5WZ5FTSiR8s9Rh6RsZNyCN
ZXSp3SGYbeCV7EMfNdAhJDQsRDLi4bLF+niQhYSDlpYjeffkdrn5OrYsD4VHLzPv+uMw5F+RZoWC
8ngYCK3DM3A2UE8iatEB6MSf3qx/UMdxJXpiwLNll6OoWWZb72VM4FFXmds+scsjTtqJICq6gir8
RZuDjazjVDT1sBV8786EyXbrtrl1cDrroVpSFXhe94hmmg2HdswIMw8xix24xIRtXH99UtvqnPb+
LXJvvbfK6YdEWDswTPPY+4RMZRYY1BlJhgNFjc1fHUEKTjTM+dHKS27mxvnBDcDeJFS/bbr0YA/D
ryH3WPF4fezFvJ3AgHfReOdW3qOT4UVMTF47pfhLYU0P3I8MAMgKabejF8721B34rDfhnAqIM1F9
K8vTTFjRoe+k2KJAfU3o7ePDpksHSsmNrT0wCibJmfvjk105tHOGD2wCMZ5Nv9ex11LTLlUQqI/a
wUaF0bnELa92oWvTmbU4q0Ts83DmNMY9EkmT1H73h/GpneO30fLCfRvNFK/EIiVV/IRTvg6GeABp
7zJG7wFr0c2AzBmid0j1k7D59u6IvnJR09Vrlq9OsnmHqvxpa41WayYUj3RPRjUdHYnZJaed+Q8R
J8BmXEqWivaXa6MgyAzvtYqgzwvn1I8s0utjYk/znYP0mWMbD7K0uP1dZ0KCrONbaHpPanbRNUBo
6X2cZh1CSiIbWlDYZBAzxTwWuN4W47dTEYQnbAypjm1PkORM8HhJUeFlsfF4j5iUOjEH9pKnx7F/
Alyob7y4erW7zD7oRbwZuOYQfRHpZS4RfvOhf8u9cNoqXSmSXtrfoZyMg2BkeuwN0tXqyLzhEoHy
TNxX2FC/xpHuauYXyYFsHzwPVlHsSDByA7QjYIzi1ttnA8GefCanaGmljlTC9Wxleydppgd/xELV
MpgLkrUtWgt528ukfxBDgRkdsqRVUmrKGJHJAIw4MCLYgbrAx7kwLDHm7DuPe0F3JLtWff5mLoN1
XxZP7jJldJwMHZSJH2A/YjNToPa0+eW4SX9j+aCxRnumho9bPNJxhmUbjsICu7UZw4QzwqqBg8DB
1HVE5E0fCCvZg00CHlk6dhARNkmp3E8w1sYn31DjkXrss8jmq50wJHBAjmybpsAh7k4vU8XmGXd6
OAqzg3DEMdkAv8/OUHKMTTjBo2/HAsMFVNH4QJ5mA+8dWEPnOl+exbljAa5jD+qIEQLwRkUCWIur
sZoGe5sV8Jga9HCZQYbJgpwetX50jyT0TjX224TBBHYNAWlCW08jYj88gSMhhXhPiWohONo91nOY
YDJkcKa66swyQFjBTZ3LD8BL4Z5QwT04z+U0ZAu3iKPYmD93A72xue5OBcgEjuRzd7C6z3QR4sbq
GSXaxoIZaLhdppRpUUi+jgmezMgn5iG6tF60v4/pQLp5ciSsxT5OLRuGdIyL8RLT7tlGzwTLJsFj
hFk76Kk5NhM76FZyViBCmXAghH28CfBRp3fqoHlsPow8uZ/rgUKuJopg5fMMVfeMzEOc4uHZq8ij
zwzz1Wrx13B6ZBXKljd/Qplv9fYhbCHR5rC+diPdVMPJP4VkMhSHTnGw3c/QWeS2x32Gbb97szQe
t5jWHIlwoM3wXINaRaGmGx6INiz2ZtPDW/FpPGWaE+Nqdh0hwNJCwfMPbfzAqWedZVOULvRRR83W
mRigXzoyxWf03AMt8G3XmiJYNd7gHRh9ThIJXxfU4RBu3RIBly7hKITSjPemMb2FC0y+0ejCjd2n
V4NZelVZoLIFKvBYWZeCn8ZYgKcXYHG49ziYEZ0J9KIli7JabmickrTdcbqArxGI/jtT+FiLOo0D
j0eQh0kfiTr7dLiyys6yY0VQ98Zzis8h7bxDo6crW098rItTb/lUrGqIOUiBBLWKYTeZBCeNaQsr
KZEnuJ4VmBTak27F/G+WkD2U6I7Knd5qJ6UzHPHuLGnHnABR41xTDdS0Uck+JDEW22fo/ywiZ4vN
aq5T8zsa8mVPqCsdqsg4WXK0t72iWlKYT4mbOrYQLnIJnB6n/Gkq/oi0e2c6na03w9xC0f1V94II
qo6jj99Vv2f/qkcmNpMvrF2Dw16kQ38TnTJMIecEayK6NUVpBZ8HWcKuq4lMCw3ntYN1EKTyPGq8
xZYNrSHq0+xGAXscAIpm5VVzttu5KT7a2dpV1D1BnFEryDIh1Tp+1ESu0aijSsBK+zDV6e9yIenB
mBHDpWSCVVE2Be5ijcQkcO6YFDAbi367O/IHogqnnxQlboYVZ+Tky2sy/wqRMQRNhaEGNgwJs0Ny
YB76aECJwOsB4t3IjjKhq2Gj297N80QwZ2Myo8QsWGKrcB2MJfwuOOFCfNwJJxuJKlLltXvpSQV3
2fl2LPVUQVgkjLoxIemUQWhFcOeW9DFyrTvfBezZt5BNrRHyauM+xcCxd2M2YXHxDaIyKkJXbd4F
b9IYHuw6CHOz2aK8OAN6AtogHeSZ0VeaLeYuVVO89dHkTthFpHeYzMajIdGAikhf5074p8QY3ZfG
HF9lVIgdIWio7MqsBVUN36IA+r9Xsngf8P8cZ8ITOi/Dj8yauM1alssBgWLYR1CxJiIEmuHSRxQf
k0cqGa6JnTKzG15Akrnd8BYrU3psjQEYDERozvEcK3PpLkcUEDckv/LjPKDDYBBwxCjvqSlJqHUG
l1F53N2hqh6PTVTFnHkTRhF6gnDRQ4ZqNLpMZogMFG5EvE/9or2xp5ZWe02vn6yZPGjTXWRh5iU0
9Nanh7Er6bHaqfksW/R2qGYxQ2n+rolB9oCJOYAvYZY7TgEjFq4fPsug7vluWcOWZevsGk8GkWhh
ttNeAW9lafHGaCYa9JPafZ5OCLUdNvjOdFAfRQAUDI1nhEnOQQraszM0r6D22dEnb955umGsZJPQ
XKXwt1QkqHGisyKkmtPvtPa5wiB2UdBzekYsDQm20fIwFOgRYxp0QTjdM1ab8eKMp9JNjnA4T+lE
tmk4EFbidT6tio6Sj4jBd0dM97kTPdGNRFDU5pD+yMcmGQTgyohSSEP22FDCXUenfPAR/28y1yRz
D0lsiNKcsSTpYFO67dbquEqh9oQdiSp57Pf7sfKYp3YKgvtcf2QGjni6GL9DesllubQbz5DfFdSU
GekB5y8qdg5dPhEO2VQBr6gIhujQTE60VxN7vGIbfvZb62YU0XDrNCQK2JX1i9QYThbRPlrPvfD5
kC4vpgu44JrIZXocfONJKhfc9cw41d5PTo9ctvKwu2VH/NA3SrVPFM3W3vlwtWIJWm69GAA/yWSv
OaDcKZf1jS0q1OAwK5pyUUFd9z9JBJijSKfPAanRYAtyNBxOdoWBQz9DAmSxKPrMvwLTTxLM5496
GOqd1TpfsSXu08U/UJk7+ZvrttPe6SUiGVGu2dXZ+9TUZO7WgEdcUiXA32IkLqNHCwnVprAbFOGK
dw7VVkDsKyN8iAYTxfohh9VI+3f+JX2KHTGs0e82unRRlFBma3jSI19TVuVdHRmw4KIMDRVVe1G5
+bbloE0gJe0FmyLI1RcyTk+F6RA00VNmZYO/bwfbBIeVftl965IHJSGxZk/9oo0dEIWJaAwXPRad
tU2yot4tz7mUqwB/8C9mCRDDMvDioyAtAHR4t1Pa3A2pQbUdOacmd7+rtCEOgRhnZPaZPiwEoDf4
SYaaqgZcGMkna4epksiILFJcC9sHy+fTNCFhnqZtHJ7szkWQ1WoGUGH4G4/dW7Sg2ZLu8ADVtzmT
9vlDwFa+82Mwal03n+ie3PZL+xh5PJPNcGrX8DZs/6/mmuQsrIGSzumJPRovCta3RRDAfvHye5v0
TfJvqB9HWr+FindeR+aGMJFqIewguopXrCCPXNp83Fg8L2N8oO8QBhgJSXkHadL68XDqvFidxTzT
MycbfGh2gzbQMkTWA9RY9Pe0oykBrWNY2SwCLcUTKalH5HzpTunyzyj9c+U1X+2Uvg0dI4NV2cLq
VYYmsN5cIQaYI31EA3iMjWjc6/IFTCLTy3481aUNZo/Z2FjNV8PceQ5jehupFDUzynMPiuVhwHq0
VUYBKNf2TsT2MJ3w4dTp6WZUM0s9ow3O/kTWW6zVW8KqHuumI4APr6bleXuC1iGOzswWGRzTSoyt
j6lIh8Cuo5d8iC95J52bsch+3KSMgnwOnSCpomeLzG1iJVNIgx7Y8eYH5WV5ZvE8tmNzhKTy2NYk
p8xxSG4YwfSxbae7wkUyxKEwyFmfSWQqScBj0EXiVb/TBImtqBdL5IjyNBty5utTWUConqNiOOjO
fO683xPZJ+dImOYOX2qo3D99CvFZlQ7z6IU89M7Bnp/389ESywXb9R3pePteA6wPPSo+typtWi/Y
0fnTDzFJrfjWc287NjGZGrG7mZwFerMf2B7bEZO2Ya+jd6Ko303KwDyu7RtlC7Vea7WfG9hv8pP+
4AzZBjRLl2txmVP/rR5lzR40a36qJneDix8ikJNq1DvlmN029t8zzqcHgumTIPQnVOxYYEC+kvAQ
IrpKLOcPA9N75TCsQutnbLLtlFrZiSYIMNAaEGtyNTJMIKXgRy1JQoR0GwO96Gjy0LlYexgTtR/7
eOJlx6VCdeK4SBfolm8zcojN3nOAHZX3FsOpRslvP+KRanuHeU/9QP832QhpWjB/OHgYxDDnLRpD
8jNKf3pSaAA5rt7h+f+yIu8F8N4dIKEfoLzQr98nA2WQGYE1VkmM9YthqOi9S2UZW19ThFJ50AGI
qj2By4+sSMMpJyfESYaTxTchcoh2x7LT5sxuwNlrcW/BS1EhUnFaJudZk4iHsG+t49Bk68iOqG4h
/F1p8/4bM+geGzvyXhDEAeCDDkN6ns3m1vRDMiWKlbvtMVuPATHy0+bB/cILvGJ3VnkFdWTUff07
e+exJDtzbtd30RwMJBJIJKblbXs/QbSF9x7vdJ/ivpgWfjEU4kADzcUImuAh+1RXoTI/s/fajobS
Klu5mikLWh/YFRxEDDQwyGBs80FyJUqv7Oi1EPMFLC8zwJyhyskPwnwMXYa/kid1axqwk+JcvOVq
2hnVRI5oxIVtlORP4NiA5AbwpBklKkHkHawY9jkIrhVNtbH2KQ1Xsm5f6YkA5zDMjzNEcUFCxkVJ
10/O1iEfl3Ba8amlw9gt7s/T1HGDB1WztpL6IW3BodQQescklmh30Y9FPonwCJQOEDERJQhvMxtl
v9aG/8XWHXQrfe6ubMxdoiktRPQNv9rGbOM+MKMgg4t1dyrQgA35K8fVAS3YH4Um+XeWumlCOIdD
SxgoH7sZsgPOt1Vj5ETZSXbb80UGiKi8wabHK30C79L9OI7hptMC5UwESdsPUPINklQtgeqQR+vc
VnRMwLcUoGBOMiKM930arWkSmDrGEEeGHBCgyaGAdglMP9MmhhwHs0+fKTQfE8/9CBsEVG5cvcGa
mNaqr06s0DZzGzrrKOcK96mvCLie6ZWPCawS9EEFXjsbBVHQ9AlJGj456v5RZOOz2RrfMUuXVeJA
Aba69AB7Fvm2w29Z0Qq2U07+GJ2sWcKycdE8Bz9QiOhsW9vYhkH03jhMfaaZry7N4n4soen1gb5r
SObbugU526TsvDjoLTMn6VmaNg4bggl3inwpu4lS7H7KGIsSJsoHPUCpo5vedq38a2fvrYu9zWQO
HI2aOSEhsUytBIEcxN0u8XwwaJV76AeA0arsSH+ouRn9BGlxnP/YE4JEtDpPdhOcLR9ii0wRQGUl
ogkPFXrC8EQx62X6YGBM5FMJ7fvensTGTaZPMEHPCIzWAIq2gKqvuXa7jdPOb1aC0g6cy8qBEh0a
1Eb+LI6AqMi4ldtMudckHX8ccTXSV5V5H0RBP9c2SUx06VPKzpMh0Ss6phBFOvq5mEdo3Wavbs+4
kb5ppBmA/FF5X8NM+Eoml2QoDyhGO7CD+iP3CXVA6b9PA0uHEF12Fz9YdcE+SAh7O+gKBs98D3QN
GG1i3mgEIORVgKSRxd43xMUyYZhlSl9oCbEqVeI1GYo3QlnfBhMWgmi/nNK519h+SkWNMS3/ZUln
O9ftS+Ag4mG/fvYrVGcW9qxC4y7SM4NhvsbctiYsalPWP8Bpjl6V3JMQew3LaGSnwWsw45DgGlKI
R7JB67jZ2RFLbZNxfUAJoJnctRW6jVqAu+xYqSP+CIiT7bj06AmzIn9l2/QUmtPZAf++YlxxoE2l
ogzDB9OgDMeQgIBF3el+xvzKWtA1rGtnkylpB99So9MBldnhTOjC5ImYT5ON+7TLIvnlThVySDN4
IYonXzX2dBONpMMGPAGNw4xn8qyjbfXhphESQ+adWgQ2Sc8vVWUWvX1lPSqToJ5ewBdQEX7J6LU2
qjd3Bkl65EL8gpFtr6cALTteyE2Q9+/WEE5rT7LoMGYA9TlUxayOXnIYDhVoNhYQLk6J5jJNFA1h
ehK5Z62ceTqkjnn0+TXDiFCBTNKU0AiLsn2v1fRdFoQCcXt6KPwjcyYwu7sjk+JoVWQlddSPTTNv
IO7QcJ79Fs0o+1eULL3/0QZsC6vmXJhsqJkiWTpCgm58JzqitodBQhdQfol3h6K4rIOHIrXegoCK
LzHp5ofKOfbu9NSaily41NoAJ2e4mAogQOkl9AKiOoqHbE7OA12JZz7ZqAzZfV0Ht6ar9vdKlN+G
DcgJMcfIgDwc7pnMvhY9yz41kkVMcOFU3dqOvtTaelb5cBu28RcDokq4SHLcx0q0N/Ai9xWj9SBp
HuaYoISm6b3V0DEdEyEVaP+n/P4YuEDxU59YAnrmxwk5tiGyWxQlFJG5emNteoMG894lYKjxjJto
AO3YaDKxAwcBE1JRVanPvutQ1gbsWT1uJTC9neNfLUKhwN+v/vlDIuNCtlu0DtDl5AsiVpKAck56
yHzMS4J0G7UBMdbRLzEBH5DMLn301+XiphdYxKOYR3py5ncD4GVnL0teLkzW0zeV0yIbj49RTdXY
DOwxm/GzlEm2/edXHoCKz3T7XRMdsxYsrZsaz1lkHYr+z7CnK4SPXZab+9a8ThC21/iOkf+T4UM5
lT5m886a3c+ItoRPOmBq/k/u9eIuL8mU0TyMguTztTxVo5Xg+s2+yNPdWVWY0UIiehxb7yDL0KY+
ZFAV0M1QMvBj5QeCWmTLnBva4oldWrKJFC2S1lrmIT66Wtv6Y5XFHMCMTwW30arMeYiQinz4DA9X
jH8+tRMwX9Xtj9kSpBmJGz2+uKlJ1wKJbD319jHvnAdyikLeLxIGsByxdBuLhz7dC7nLQv3hxMHW
rTsmZuH8K1vofeTfnZooe51C9dMsQKJoZkdNevkK+jmPY8pNWdbbmLBqctGZfhWAuktj/GIzQpo1
qsqBUQHdCH2HDXknjRQ4ymVNVd5C8Sa+svyKamhTrEBXZhsQ1hbfZtp+b9kDkXYHg73DIoJxh0PI
uYZdcCeDxwbUoF8TlNHmRF/lHQla1ZDfSj95m+KqZMAJc10YkGs7rKjKqh4yq7q0AODArNMOD1WM
WNLWa8OlYaDYLaGGpX8+fnuLLDTo71cSO/F3zBMAtLK+7UYozE1DxlHaxX8gqxA5vAxV8gN4+C2z
48fOm79Zy+0GExNypka62PYHqMIlL7Odl5t0zDPSc9Rb20JiYLIOhnhzGeNqMe/LrD7qVh1trz+J
OUSyCVdVJQyxk8raG3XxCvn8Gowe40oFx7KI6AldMlcBZayYL9/GukMKjKdu5Y58k6TpIkZM9mS3
KNxu7OtzzeY9evVD95le6V7yY8EnIsRxw6ccYT7JLMuOyFH2yQ3npz6UL20wH8T8PKCJRn5/1Toj
SIKaUmfWLyTdF/ws+KegaKP0c+8H4zbUM9nLwQW/CDhpfkrgrMtsPpPd+dG5S8ZJw8AYleitSdxt
VbjJyjbDBb/KyhzOMPblBqVe6jBosKnL8ig9o6EVzE+A0f2Qo6qOo1fy7LAij8giKhXYynZiedFB
TXOlBhcTNMlusO0bAB5033a/E0X7FNmAywM8TYC+PkPtbJXHJ84+j+dbDSWZGvmN3bsudjCf0pLw
q7lAPCR5zU5BuANDIFgWzU/XJCxew+4QNuOLrpczB7nmqg3T5yEsiCwDQh/buFwUWWJkXG9lUF0y
4vakxzhQEKYBeMLlGczjH23nT1EVw/N0EX56GLY9wK9FE1I3zi9N8+7F8TkvuiemUK+lJPS2KIoP
O4sp+aZ4ayTOHZ6ytzy4lWb0y9gmtprvxh2B9rkXiqhLI22myqizsyq5kNV+k1TAEYEhPZPJTMZP
l1Kuc78D8Vr7FJyrRM+3DKaJySqZ//UpPnjmBBAO7RXdOSSEmZyY9i3t/J6rn6FKadwNRfjuOqCf
ZGU8QRrC4eQD6R8dv9h23k6qEGGIBwyT+VBbD/uRywmNxX0VcHe148QbPBfYLJvx2cYsnSJA2blW
8xIqRAIO+yTe5YLBDu2omBoizXR0VHP/s7y8sQyep278FaXkACz/AYVTwHSUHuiKaolle0yacldX
H6iQirNtcQnVLfYW0+T7y2AedftsHHUGjY7lMeIBf6dESr4V9oZgcSkZaX9DGIDe22nvn4g+wALP
yrNXklBAwqS3/qiZp6jxOdBo32GhYSKAq7Yzu1jsCeLJR2z+Y5eh61BYQ8Lkppe2WhtyHZqa7ze0
2E0z3lrGaMNjXGNqfQhw9AHaDB+avvjqXcanqmFa0NNXsfgkIZAuzbPBMPBlXRnvoPNRvQZs0+yw
/jTq5K5m3B+DoENN6/hkACKQIPr5hN4oPJLAQ3cfQnYyl8wkWc2E2kAiXAvyxraBrUcwzirfUj5U
9phth8H/GnsMa0yPDKIjyZgVrTlvXXaIGlbdMoD2+Nrw2kuqR7MczjFvrtdrwZSFfOAEg+mcKHzy
2ryUPhHnfm4QmUbQJvMwrooyfkDBdJssmBXiElGlmoPazAPQVWG79zKmJZZqvFjeBREgCIjcP/cW
9aE5jdOONShDAsYkmAcQwrjpn5N3zHEJYLET500V/EI04XpduQR8C9vaZ8D+FX80otah0Gn/QunC
unVvZ8HpP3usGoKCHFVgK0zFTBKt0IzU1iV1CWZrKzCzwrjSk9ChalZzDWpEa1QfqaA4tHXZbXpQ
xaKFBd0OYpUHS2FjYbeQzUl68z62WPRb0w61FmpiizO+KtWxjqcbtj+noYHRS5cWOv0FxazZJT9T
ybaZcIJs02bwZ0w6b3qlTcIufSS/ZTVYfArOCPJfcRkkQ/md+RhWrOBL+/ZPkFknWqpvUqVWaRk/
ZX2sodAgkAmct3I8FwY79ULMlw5wdRz2Owva5PLXotP+KtoFoNDeYjJDHdUM2yHj8xnYfDgkIzdi
D4oVIEycJ5tisr+DnElVmX4VEVlLqJjtmlLNSonBC+zzUjXX1p8xh89uVH17ARu1mL0vetHlNdaG
9RuVicGq7J7gcPPQxs+uzZ6VCdMhcsjuc3rSx0z0V5ZMcMhF7a3BdB1fQreyCbZaEylZB+ZzzAQ2
KKenMG6+rarbxzlE/gLqdCxwDVYhxtOq/YcOd5lHeVehuGtE8cVXeB2m6dEbzCvr09vADQioKR+t
bKmyavTyHWGyIxOlgoDosr8njQw1BI/DgB+E67XfSKvGeqWrmzIo/oZiuHRg9AYk9zlLBzAf6W4W
0EtbUuUxWHyxidy2nXihOtrBd3v0GAjULeODkqs1E7inurfl32urvuHbfWgK5oazj1K7C6A4zTx/
xAyuJtm8DXBMIMECXhbGI6leZMk47r5obJI6sAKuTZtwz1JnG7ZWD8Sfj6jx603GSFgEQBP1Q11f
HZN+t6jfGhdd0JR2t63bv9iElW0cwr1IbP6m8sRsm9p45eqUUgXyMmVHxxDWeaBD+aoy9WAVXH6U
drDVdAAEGOpnEN6amT7F1B8F1z2aZ+fg6hj5nMlJWnvkTcyoTZf32etGtUo73NhDk0Fhth7kJC4k
Gz6h2HmWWFYNUd90VX2bjuCEez++X36jXvW7bAjPfTh/d9a8953nOCcOIjO+mlg9ovo/FplBXO+9
3U3HXhvvzfRdmfVta9hvjWbb7lT2XRGSD00QUcOgf9VMGhmThwa7899tL11KCTzmvkp4fcmD4shk
9tF/xI23n7rgmir0eKjzwU5N1BWIXhrZbipFTxR0XCa6UNeILJtOqr30P10XV0ExXRx2gnp5pkMj
fx3r7EAkD5AfdScEbvC4OTqzd+q97jrQTviUUcpsbtm3HMs2RbnH3scdb9irC3xwScMkMxT108BO
qWV434bFXaCIrqgibtilVY9kSLS6otie8VWG1E1ZZVzEiC6l6JmZI1K4zfhnU1kuNT454JoNa0Kf
uSH0465sBQDk+LVvqgU7iE8yMu+iARESmy369uzqaAoADz0813ZMgEpevnGiHQlhm5uBPXf8PqDe
AYZCCWcz4XHwl91r5JGIhZ4sKEGjc1v2SLZJZanQFQ8oHsYBmYh6iQFXlhTsacQzMlgp57/0DhYb
5VXJunOnUTjiAP/DdfVl5uydq5rEvOkrQlSyDqL+20RllGJA91JGWH5BmmlrAm8JzU1kVWT5EMji
SKabLlr2mPnszuiwxrNnZ97lcMe8wPcRjC0ZSIuGKaM0hjWy6ifi0KpzOZ3snDDXEttCblFXR2kI
i8nEvS7lb0yD7nNObxl+z6TVUl8mUMzSZGMbNjTqUZuroWwoC6DthxJ7wYArAp7P/dwny3FSImmZ
GZEQ/RmCpV3HwSmTSJJkl7J7UvU+udVGFpzgLPJXyxahI5tPV375Scignsg5s00k6Yl8CUPJ9jdK
7B1N13PhicP/WGgk/6YL/gcz77v4/+zDf7CI/7APTRgj/3dsy6HLg/q//+s/sC1i+b/8m9ti/Ut7
irWMZTIchbTyv8EtQv2L50ov/wB/qE2bP8n/jT3U/4LnosCpWBRZnlp+XEPhtGAPnX+5NrM/U2oL
JSUV6v8LuIX2cEEJ/S/O5fLL8bpsT8LzBeACxsWR9oIG+j9YyEHcQO3OXdrfPhkptmV5NlPnzVbW
NSvxoTPpP6YkxHckJK+sNhu3Y1Xs0qg7g68lYak0AoB+ycnOCC03FbrIvgOSVWl9ZxZ+vUvYUq3N
myoXTLMIYMpdSnqH1Lq0YroxK7oeO1j6DrPa6qLHSjE5NbFGbbotGJRsKv4HwghfBIfLpnGJerfY
BTNPw//bYpxAX9xu49SNWSxjCmizCb3fbFXHYEaQjFcVl1HIdTTZDISnvt2AFCGK2Qc7u62czngp
G/uUD+7OiKCHhp79EaGWOfiSzKV+IKU2Exaxzz6ygzyZ4IQZ/WM0Pvvw6kwcH9tees8Ml9YxwZTk
tjuYwRkHjTB+WZbny0zyZC9Bs1MpjH2SVKwVcsbeUYA3d3AvSY71TwYm4pQvT3kC/QkZ0i0HJFQU
91RUZLuM3fCu53uo1f4FuyxuPa9bSXR1iIs54ackfyej6KDD5Ddthyc5MKnGh/PpphlARoW2QzJv
zcZfvaSITrwd66T9hF5lbHCQ/fmiuOExJPi7mNB44XFMLHPP4JqZQ0CnTyEM4MQx32f1nVK1Q3Zg
y85E5VQw+ZoNPm2S1E1fI5EUEeDA0YvZaJxESTwZXF/geeAIIbnjom+6+zKN6JqpyoTD9qbAQVjE
rXscNcHGpOjhGaxJcIOqLaAFrOaMSp3sATq+kJ6hIxBhmPpXqXKKIpziAbtY4FhNiCQPqRDHsI94
otiUZHCt22mAsCb/ABfpNZ6P55bxrfDfO9bvwki/Y9ka3Gpmy/HO8t1HOUbKp2lkIM+h6JXjTkFZ
2fQYnSsB3yZusWT1g3rxjIHAc++uLZOnuCIimIwA+sOu2Luj/EgNBlt0YjQJaOkWbsoqQUxBEYiv
gYP9wsoRxW5IG2tb03mse9hE42tErXnMe+9mrMNfrQX7rdseM+8OPRGjAUnDYwlsl4glN2MDcMVO
0kvdg/DD9J/cWd1XPNY/YBvYkABO29hEpGUuszrTlfZ+Uv01sd8ts4YfmNWn0kT4Y4zGVkIyZVk7
DNukbeirVY0fW7ymRYBia2yI0dAtmosaJNuEdiHCNo4X6Eujz7AIugZGCDOnZbmbWUjLwirYO8aP
51fzGW/0vJ5rkxjloHrJHTynmehxmLoz6WVhsUGPam6KPrIILGKUJawpP7jhgmXqKd5bctvmjIEY
Wdi/aWIcqtZPN5PHdEx6iUWsHDVs6uK6nwKmLDR4X46XEP1QEtFimjE2XVpNjaqUOXa57kkbQjcT
9ifT21gSY1aeJ8e20Wy1HGs7NIiu8sy8x+uAIDXeIpGBA6dd0nuTiQeDIdyiSXuxUQ9syzz/TI30
fQg0wggXaWo4up9JmW0QM7yWE+GfRUe5WbtkhBN4SYgmw0LYxpswZ6CHn5DqJuRdXh5vOAwbay4J
J0pZj4sRd4WB3WQyYHow1XZAvop474aQN/seZ0+Oe3CVVznJ1P1ympUrUQn62TlnlDpUxKNMw9GO
6g8S3pFIEUmxFVT6tWW4cFDxatYDAo0kQRE5GArtXXtOMH8u5oB15AviFsmSHDCvAmJ/m3KmpURb
wJHI9J7chZlPs5jWrJOZy2vgLGN/GU3sKEWfuNt+umtd9KdJ/5xEqtvh5cNyqr9IYIhZk7M4wAME
3Ups69y9c8z03Q2NoyeS6qJBRIT9RAR0Q/xhyAZw70AIQ8YkgwPS9mdMA+w6Pd/dAd1Ot/edFc+o
KDyehwVYUsAzxfjyFHScAd3A+LKUUPgnZlKpgRAKT3YZYYCqjehZZtU+yAFwaySNFM3Gq0jzfc6X
lLBlYiPfeusiRcdm1kVqNrrfvnbjXdseh9w9GK0iIN3BGexmgwkMW/966KkGy/npjOYatX1Fs9EA
dTwZloMAgCDMRbBhQb29KVvmRplfYPa2WhuH5AiLVp89V1j7mvkdho7oPpGkJkWa/U2Pw7WbYYfy
rZ6C9K6wOBekE1CNO9ZbkpLIweZvm+u5YEXsJnuBMXYklaiaerXtJHOlzFxEa+qRkCH6ZB2cRDWe
uSff7Jy1d9P9MNhDpanfU2Put8CWYSKRgxHGaMRbP4TMwHOD9Y5p0IiqDKkjjtb0DfDCI5iPYNMj
6iaateFxRGrMcZJiKy8frGlgZtihWeIrjGuVYRHvGMcBT+yYkf7c/rB8a9aeS5h36AIcZ8FCv8/M
F+9s4GN66hq8jQNJiEtXOXQjhzV3ejrCjGkaBmWl4RyqcjiYdlutEduyg+yaKzBkBEdt9CMQ4Lcl
Zux2ID6OZzihpeVwhGwWzNF2WurqMrm3+ChXZdWj5c6f+4j1u+LLtQqn+lS3vjwYOPhXBuABSyBr
qXR/4naCbVyQNsyUmCjg6JBn3LKOWqwFguxRdNPZOvhHfDkgZQ8J1pbRozHLX8+N70pfIqFk7F/X
bwyWoChbPImJ1z5UBu8bzh/HqW/Zyk58C9IdsR3oAIw14GzszTObSGbiyrErNtV0EwxCBYa9j5qg
wlWQEq3lpeFXJL1bl83/ZqahBpZLdBVhAxEjtzBGAlMzpNgMJa3cmNfEyf0ju2aTbx6bDiT76BMD
ykT1AdHytLJhOMF/B2XXH/2G3QDroBe3ygClmgqsCnnecpqdTVizPVGk7nTNQz8E/S4c8BcyyjoW
S1uXdFW1KouOr45xR1w1538t8IUtAyTPPpnIWraT4qHJo4cMCRDBu9cqp8Tw0DfB6UQ9MlYbxkVb
7OyQLxQelzb1H5l08nMxDRKNRR7EMG4TH9GGLtgc8z46Q/OKvZjWuGbto4f7iQxJktU21MMmmg4A
+P78MAGkCtsQWEfnfBcAoivNotTHHub5+lppJIJe9mGl8a1o0nElK+diBAVDn9wDQd+Pu8IBSEjw
2D7nTEenm5zYAzATTRhP+w821/LanftybxC72Qd4Gg1SeqjKjKs3W0fX5ymdpzfyOJm1TpaxsZd3
YkAYa6MccBXvbBYgV4mnlOx4y10PMQyJ+liYpOmi85Gs3wm7bDK4ceKpUoTE5n5xkFM43M7Gh81J
Bbg1eNFddiwrhVOG2fUG9MDam4sLYJNQdsaCI/ghW4Lnt3nw2NNYDCdtx/9NJE4OhzPEYzzoGHiB
UGNA/IXuYZwKg8hd3D8hZa9rwVwpH2EGb8qYQPFiYl4CoGEpa2IV3+Rhuq8Td0MfziyfshgRTUr1
gYYqHNo/aBxb8H583RITpT5j7lZ9UYJRtYbNKUCSTJyi4N3U4xZV5mX0n1SKuKizk89ZxrvRtA6N
i67UdIoNCuAbDkl0snVNhHrqupvUyZ8IaUrl74Rb/OBFLhjklhuHvG1q913sq0e37KI1IwQfDa9G
1AmiQmeY6F0y22JlXNqmVgeSMN5kwqZdwrftS773QRF/e1a5ndLwI2HdtaaQooAGTyeJ5OQgbJ5k
kb2nqFlIYEp39DskVEvgCXOZIMMlty5Tb3DILMZfMHPLfoDa4X4n+XJnlptiQCjVN+LTTubHkERL
9EHzT/xOzG60Bs+7N13OxqpEntkusOIwW0LbzOYqRxy4TUOsB0SWHurDurISjX4c5IPv/I5ZNl4k
D9CxGbgWEeMoRc2fYmfAMPA+GMU3Uvofh54SFWg57DIEzxPzajX5HYMiJPVECd6QOBTtigFfCLb0
NePkdCvUl9KlydsIMd02SNOyu2VvWHELFcmw7allrSnEdjCn6a5IO+5ICzvmEg/vpS07jM1EhNOi
jI22gr1XgSj20M0j6S8jbxPqrn3UNRlJU2di6OXeaoZz4EzkNSKl29txeRqsp7hwHFJV2P51rF32
ae4ynNHzpzMVVNcV9WLJ4irGyVQN+hV12ysqtrthyVAvWRFb6l6Mzl+W1Y+GkSGR804T1gz6Ab6j
TmaQQx+nt8R1ucyw+ZchZXqa9MOu1MMPjOwS5LdPDg9UqqHhzesq9wiiHoZ6zcFK9q2vIiKhCeZc
A+DlqWkvk/YhZDjkruJb2ybAzNbY7LdhRJB5keJ75SyQBbF2bus+anu8C6vsOSHbBRM+U0c2Mrzr
l3H22E8FBD31SXNIs/4S4Vu2suAc2841Lo2nxs1vizn6ANfmrZC3+Ey3RJgZuwzyeJYocElo0mBf
RBenV2rl/GRRgKNXZT8NtQR76vkRUus2bkjro0Ws1fBN48s5nRRPs5bkIyT+Vz24X6NmtGcl7vOi
YYPl2NK2kZCp6LpHOFgII4PkkFoh6Mz47FTNZXAEGB7N9x5Dcnx0E8V5aRbYFWc4/lMAuT30rMOS
hJ7DU90xx8UO7jAujjHUUOku6J1ebgk51SjEHW49eWGF4+7spjDxf0RgO/u7FnhSXRNpGkfK2Q4V
iqQp8zAgUogYGsubY1qIq+x7kXhcBE0N5j7b5xgNV0aIs3rKZx6rXNzaVtyuizj46KyKtcCA4pei
f8OkP9y4E7Kn3PsKXqUcJHV7GDHlr96AYHEfqeFeLNFnbu1tvGzqj7joKO4HXF+gz9jBjOY5EMxH
+iUyoE0QlnQ5T0Qe9/cWKWHbOXyISDo1JaMJ7urZUus6fuOBv5pRQCrAeECWDMayP6T9WUrSBZMU
ekqF4v80hA9shdjg0ZLnGZ93i5fU3vO+rzn/mNHfeqijkBDatBgNIjzyylWKw3l0DleW4hr6oTKB
GvnHRhh3IC9AD/T3g9j4DYpy9ioAMK+B0/2pboui6iFNMLVjywtWSkRH1Pq7ujhpk4GOKsojM9Ye
E0BzrZGTZPGw8xCWNpJ7FXbZmzkW2H0JpSNfilEoQwKDXiiJLag6hvdVdVruhc+yfLxlc3NnoRJa
NNIYFkk93FZze/ZG66PF9IrflFgV8EFpQCZhrP48alt7zrbV2J1Hnd3npNyz7zr1Q39MuA6h9Wxm
r72rSQGY/IfSNd6qTt52afNLFXiD0vMcuPqOlQWDpiR7UXNwjYYrVoMjDlU63HBvmAaEpbPkHmQv
f+GMm9iQgioLzPmWbUGNDtD/BiNyGEH2TyXOkDg4Vlz8m3TEF2ajqOjOfZY9VGZ1hqHZs7gNPtlb
vwo7vC8m8VRT/87xcCiRhC9ByewrtIFigR4ZOUQ4D4BQAih1hADU51DsXQuZtV/ofSa7Grsx5RGp
q2K13H+1pSS7C1IiM7Ytq9r0d4Wd23hmYdE6gkO9YVfX8Z8oqeOz8If4ULANyK4c+SR/udPFHh7k
XDGBoAGHaXjylPuM8lNy8xQ0BlxbK4ba/iopeYxqVjpmZPwMFvepKpkbtBx5s0KYIS9BMV7CwcOU
DBCj7rLLwOqvMgMIVFbwXtrWyYGsP/LmF6i3Ca7quIWnXUhwlFW1v25PihS50D2r2wVzX4X+V+9l
f7PJAMe1gKoArSSxA0ygTXjXQy7Yo2jLf6RUO5dtCwvNQP2WnM2JXewo9FXBkWMWOnYbX/n7rPS2
vRHdkxD8nU31jciNI43bzlfo1PvCfjdFDj+D5O4ZLVT2DLtnm6UJ5iOg8jJv91M43wktDoMdWUwF
AJo0rwFiHiRhw8HQyI6GPj4YtrwmBrycNx0+JBJQk+W+ugQzbiPAo8bMLsG0FD7OKOIIMvUjkVfP
Zi/BWKLRq6xqy1LvZVTBZVJ3Wc8aDbzANiLY+JSSAIk/ft3q7GX2jXItixzfJk1hnENz8jXSgRqp
F12WCTZLs00JvPzeSowXfIUO6sOpvNMZoJmmkNahZaAU2eaf1xGBXVfOa50SWZVVTHQJIKJHYRBU
+0xh9PjW0Q0LjTCrTscl/3fIt8EEPDf0aKOcvDx0AgQGyEOU2LiCknjCUs7B1giiR3Gg+EWl9g3P
mtLOpq9A5Cio0cd5FEeM+oyHa6KusN3jZqpuDAz8NI2py7LpVVUOtu6evNBmeCizblcIxkVNMfUf
if9ZKFIyLM+9b2SE/g2WEWq9eIvbCX0GL7YF9cU80pPF1kqhRsf9ZzI67F+9pOIAxf2RkgBr94wH
lh0zRQ0hDaP13GTeTU7QGiacP0YoZ3Px07VN+10Dsq0DBOeBTTVZFizyMU12W+4xd9PVWPnx77as
4/Nw5y/RjRhAv9TMrj6OCoZEfPxQ2nlpBTk2sMB+RFJ/xIxuD9wc266G8eJxxN+lRhNsyFL7jGVz
p4CXeol8KiuHLtRkxp15ELar2H0N8mm4mtx0lUM3FOEUaYiIPdPr2aVFL+/gD42gR6NMaNGI9MAK
2RIujr+El8LmHzNU3SwAivkmG5MbJ80Q5aUlk+XQ30CymbAdAkHOHSfZ9EJMt2Jh/7EW/AGLiUin
ind1w01cO+2XhLtBFi1LV9GU32nTyX3kYwOeq1NDsX1X9nx5u9T8sOroq8iQzPQjQ2CWiD9AxXcV
OORFlAMLCdWroqnTzImG1K9vAAytKZXZeFvUtU3c/EymeEIvjIpSqVORa7wqqsczm4CIFshCkXfg
1sloMNKYOwT5ur9KFW+qU3c4HCIOsNzH9F3IapPkEsmh7wv2oFtfxVcqtL+4X1roBIdjQBYTwGai
VVFZgjpAy0/OsJ9tmVfzGdHWJgwo9uzfkaYnyKvMqN6UBUOTIWH6P5qAkUJL4rQbZ6RemiJX9s9F
gqjf4AEn/OVsT8ENLjocgzU1u5uQwsxgFVM4gyGDqcx+kNwRVQketjVSFBQ5mY7sesMW8EAaqM/A
ifa950+7tCR7FH+2NPm75gnTXhTZv51COIRPAjxWFLL4IM4UH+u8dcroqZjz9FB0Jf4d6DQryzK3
ILlw2OMwlg1PJJGDWzsJvqsY17LE9+lVNLKN785kAZEqrMcvlWByA0vQbfPOhKljy7XXE85RaUYf
KuYorezgVgP4MMvY2vH14uGcmJE5daMJk5vIqUTdSTMy/Xg5yLu8V1iVfEEjTleYuMmR0fJNyAKA
gQd0ZYCUxAbH+Jf/J3Nnkhy3tmXZEeEb6qJLL+C1OwsnRXZglCjiogYucFHNKsaQE8sFPovM+I1o
RCctO/5EPklGeQGcu8/ea8MLpRzky3Ddc0ZZ59AwaA6q3LvcfU+zqg8tvDqexI6qbPy2Hg3poH9p
EQyQ+DYKh2hjiZOf6lfSwvxrZHYpHDLjKWFm36AateVDjfQT8gSZBuZbcwejE6MaB0LifjwBNI5E
267Jb1YzXCoiPrGkEMjnCs9JlpQjLqYTqgrIyPotadTBJAE36eAfmbWDXW08Rlc98dWNrZl6yHkB
WUfVL27hY5GtHbYls01NcPYnVr6/G4IQX+b04AaPSdNCr9cTXNhML4mCrFVgYWP3PsxedXCS+RB1
+N+T3lXrLjf6Q0PmfPF7x1fIa0/mUsylGLUfEJMM4p7JYxfYA3VCyPpxiWQpPpKovFTaMJ0q45j5
pX+JUyTqgI9+N7FLQViQKwOyrBPQXhuY1UVzSXUH2AM3NIxjiQW+mkQQhpBdrZWH6UwaAL7I9ZDd
It7IxdSktkexOeopmu0wPSZAq6xpIjhekfRQxFmTs9EVJNJsZ1MlRnbG5rfL9Mw9Tnz2moFjdNKg
enuI/wT01BVcHqBzO7+1Iju1dj7wx7b4YWYjykIdx/KKrR0cCegnYYojCmINn1Ml6EZeIGb9QsVw
CWr3ZJZXTs8yVWTOp2pxBxczTJck+owtVHjUonFX6HLXm3pPsGxiyzfyI1nFr0AjIGdNNlzrNz3A
lVDEpNJrk9YyKENbgzfxQzPm16IGOOh5Jk035ufMSW45GvzNOqovdC2ntpx9hQ5HB5OguuU2ccN8
qPAhwQBnIZF9QYi+18lyJWcIzLwZojr331E69WoM5E6mjOJOV79zRYG34YK+cwFePRigRDzCWpsy
A/iQZsO2sz117sFiYtEWY57QaXvo6rGhOgfCl7TqcJ6xP8zkEKrFaz6m8hpUbB+SVnxlVqKFHScw
WaR/G7OMDpHcG9hd+ZDju7Jslh/zVAcrI9YuaSFpX5piyK6+uMdejQDYW/5W1TrYCPsJfEzP7bgI
OIbDvxTL4SzF3GlW/gdRHg530VLYMAkdgFx2EtQyb1lJovnKsyL1tLIXYFLCiZ0GQHFMgLZjXGEF
QWVgGkc4PAzW3zH10nyeeSphMddoXXFf/zJc7gaiRfe1OESqTm8Pqez+lB2qCSXAAcJNe08iHU3G
oK5ttkf5oCj7WAsGLTbG7Cl7tymOMRuKoiV8Vnb0yPnKebAERwHes4CoiMXGmKgZsp99Rz5ahonS
0bwHQ95B1FMvvog50oN/SRTDk0hsbW2Vy7aaTy8dp8Dim7FDkixd7q7YXSKuBqpmJaHnLY5zJq+g
IB4QuBpcZIU82eqcVbM88rfEhJ6lph3cynDPem3/rROSCVgzvYd8ig9pUj77pPt2jel/wK4z4bL0
5QYH8sZtZLfKJho1pth7JwC4Gvzqpc+jq2NwKhr8u5mypLSne2Cr61RmT54AryW3hTn0G56Cjd5H
AasoLvxaRaw7D+ZLRHK/diF7/AZkScrN4YSsJclTxsBZNMgnrFK4Xgw3YBCJZNITWuFs6HqF90JA
jdzbn6r19jSj3jPff9VKhHI2wPe6g7VBnMfIu6e+qKgfSLdBIHaALalIzTdxUvyp3f67auXXZDTv
yNMPwBifTVR7+hLQtGx3btYNkmsfG/k5tpAGa2y/HQA9EjLk0xvT4ODGKYOZgLRew9XcYIUmchKX
miQ8ZuXpK3DSx4zk1jjXC1D1OEgMt1k7uFgen9KmoZ6kGKnxm4K/Hq+rOXEGBTAhbIDcU9HoRM7h
eHXPypyAdbmLk3nUgE4DvnqoGrKbfYdtOmczvWoKnL81tWKJp06a3/h7fE5lhSZDdsZIXW8vLAwF
NNCAHNL7kUikoKyGGELP2uUAWyfYWB7L8wJl6mqULHsp2vBXyTh1R9KmYMREd4laJk13kmRa6x69
y8vANEMySrPUPXm5/aJXpOsJ/nI0tWtt201JcIl1F24JZx/8MtQPg7juuuFQspUMOzW95LPtXLhA
hJablnsVY8J3gijagvhnA+ercVMU1MkSEYFJp+NasxjFPauYTmki59DBUco2kGiXp9/7B78wptCd
xjdvYk5qvciGTFA8sSWat/pMoCea7Z3LLoOhFKJtwXAxCwlLsz9ChcB27+lPmeAcD97qyUsS2hEd
SRaZ0j8QejrYAUg3SoUgds0Q+Z491YDcMgUEopAKa8XZYeTtlCiLqjipfaYEXCioEO8mw5GnAonS
zqenY08omC392iXgLSFs9iMTqlWUWBH4ZK5z5t8V0WkyBHb7JiOsnIONvJdk9BNGMgdU7atfdI9g
0Wc3RaFLeZuqLQpS+az0ZN/QDkNCMSL4a+jlkb6V+QEycvHAh4I1OHcSIMhOQNVEt2Z3iqV06yZm
/BLH3VtgmHGY4hME0d8/VskcIxaNLyxlkGFYIPhlRlqJlJKVV87OzZPT0MAa8oleH81m9FG167Bv
4+K1iv9q7jgfFMY6RTNpaOCs2/BXYyOoB4o42hkJNhCbHn2AmAGcF6kDZHL5+x50XzU7f8r3ODM3
kjv23o/NrRcpb+1o5L/9ztniLd/HY9TsooCRVSrrqc7rbd563YkUCu2ZnsC2gIELOR1XkesBPyFH
jB48NtcoLQxihdN8sRQWTYqTzaUInjeHMop97BqhlUJDi8b4RFr1KwUG5GmzjnU0JNbkLRYhsIiG
huoiEWerYhiPY1W/6C1qlIP8dsjJ6wQuOS0acFDOwOTBXdUwydAAkc/7zAJnXZevTjTehyi4gxBj
eOKibsRW8BRTWbRyzAjyC8R9mrgh4rq2dlbMDnnacjDxoGrFTMk72pwuyNigA0VZrqC8engU2SXV
UtRbZ+Hc5gwTBIPI7xfxmUiFs7PZsp6oK5lPcY9Di7QNvBNoZoceEHyc2OOpjl1740ZEU0TLxpyC
CLLNAwCMXB9+FQr9MU070OD9DS4XF8C2BcxkTfdBsoCImu7ZtP7ifyaXryBUBG0M4igiOld6E+Ev
7TXTiCApia5IY/d7VuTRhs+V2qZD/OqC2UUuSfQToGD4Rtz20Wt3Ae+2nfGmef5rG7vpDrWXetZF
oYb4t+9jCBPtaCBhoPpM7J611DehBXPd9So3rAXh3LzpsRkNzs2Jy23iBFqYxxkNNhRSRL25npaS
W7e4coFI+W384FrkENdokKdJN8bsfaBVJt3ASso4gsRVqKn5RXcj6PQdIG7d3XeKOxwraiYLf0JQ
1jDr6dXNa/RTNJSfo9FurIkwFVuGiZZV6i7aXeWfLCZCzFft57wEk31hfcYGd+aG4lCDcMJIuGVa
JsNUS988542GcVQq5zQC8zpYtf0Q902xTWMm0GCxnZDZJjvlid+m4ABJ52WoF+puc6Ks0cGtKr75
2jhvDBgzBLEfdUlKwsPqUIPSbCFJBEloG2JBDpvUYDp9eoi5OYuyJvOGGr5lQri38Cm6GUijqwhF
SOVD5WeLr1daELKd2vVq3Ofer5QrQ5PE3EZ4CnnX4DnXBdWmotgHnKBmUhAAE4jlpT15QteH/O6J
X1jciRvYbCWcbvTXWeohY3VuKKYhjLC4rcRSKedW02aQ6FxUnsUZRRCdZrwz9ZNJiaxvnf7OENDi
VYwIPOU0x3s4O9PGQXdBiiuNdBthyV67nRni2Jm2RG95ERJkvZlQKRTXYDXqGvKXg4Q3zwgYKd2u
QZaqQ5ydhmlynqNsushp2HH0YohJrxhv4rWsdJJhWHAMyzlkVoFO3YHEitobayKGxdqB45x2oYYb
u3Qg50+j9jtngYH1hx9ATafJjnTmNmLutlF+d5YD0yLGyGVjhMM4sW6n+AQdvduqLguJZpR7K19S
nlwehPtmODkxLmj0fkbDLIKNzThhHlzphB7tMMjyub8W/qWVNGXlbHrhAy4JC3a8RdtFuwZGNCB+
mCb0UOXmSiiy/nrlUftue2+Bx7vAsYyzC2dxibk7u6wTBxoFWRKUPpaUui5CLj83Hb4U3cEcHXwM
KDnjREFh+CGQRknfDhfDVicbPymZbFWiYYNhNeL35bGoqwN/Kqs4nRsADMgEaI+CiWLl9uPBD4LX
YplbVWpzksz6z4BKvLXCZZ3h4iNFKt7IA9ehLgPWfRptpT5IIRxsW6M1rprw+v2Ac9Diqnds0EsY
POqLGlMOHfBAsvwAyOPTz/H0A4NmNq1gBzpJ+loEWbLzupG3GZcAvbCpqfXdSwSJEUMccotpS+7o
bvzCXFyTgYc3V9O1MDR0CdquODam+NJrL8FDWIWJ+ZpTAm4IOpVYbFm4H5qnqdcJWIACZDd9sJCl
VlmgQYLXD7AczHWnB/1q1n2mKtZua95aX13GIpcT/ift4r8kSJsNwyLBMp9RKWk9Y21bDHpaYG7S
eekPYAsbSLPazLSHPYCjlGEe0UYzcK7Gr3GpUQoxNKDl1tj7kwKFoNTjRxeqUFhKs4UfmdwN2uje
Er980klY8Y9aqX4Yt3oHzSFwVY3AyMvOSXzjjFyafEFsbHbZerYWSV5wQO+ZbICX5rqz4sUn3S6c
YT0xEa76ik8Z5NuMvixwhwDasgKyZGRyXbFwwXGmPDKqdA9FD8syGPqVk9f9sQX1XGNJq6fp3Nnw
hAI2Fs4U6UzlCNxG7IbjAFVugvvF4UDPFGDWiM9abbCmhp3qbOzKZWGT0a1ozdwp6DO+FJ7KF/Zr
St4hZ5UxFhcG6XoN8AWJPP1FyPk5abFMuY7awSo4a3i1aUOMr0EBDGVyGRrrCFddlo7wMG0Y8KDf
VsTmoV8YYDzpyvMAqz4MrvZkexSpeI71nM04xmDGCARFgK1aUR0NIdn+caWNavcI7ed9ipp6PUbD
Rw6UiEQDJlN4hmjzyYqLwaMdX/SY1QbgmsfeZbTNBxO3GgACcmFENbwg3WpxF9bRaymK5uQlKCRW
n18zBWI6MViuoZgQVLjV0KAq+qDZvmMMMB1/Te0XA0mGHSottJDVfBZOcHLaki6yFLTNaFYvEo0d
F1OJRMp7idgOQfhuil9o/eRgbMQUQ1qKLZIhQ1IQN3uJ6YB4T452ATgkduvH2sI9HCdZmGsp8ddO
qykv62hIAd+H1F1+OB6DRBIEmH4gAE0Ut9Gf1nfpfqqnX46hPlvEfiKr4oCE9tlSYneoZPLCf/e0
MY7vpfgOoNSu89x7t5aMmtX6vFUDUiN+qV5mXI8Glgc7MwESjABGhRlCzcCfzBOPO/PB62ogsw1S
cGZRjF2kvPt4hXoMd9RROyGQxq0/zishyp0EYLicCL7Jz7FvY+Axc6iQOe/RWXL386lt17G0VLDv
xq/ObXm3QqyxLf+b8fU98nMMdOjdjsXpT8zsw6hva4PdZGlPhENNLgTAE5t0wMUzsIuS0H+DnDVS
ET2XJdfvVKN0vbe+tL7YAl1eu3rKJ2s51hu1vZdL5fkY4B5ecAdoKmSEZLCrQIjoFUbpyra0w5SU
v4QtethM8cYR6q7lM3Y1I83xRgh6UeA7AWujjH1c9hxed51B7Qg7fWEHH2CqjjkHz+BM8NPzypO2
KyaKedqJKaPoFJ8owXPT+mYfDqaLzbnMqQxxb4lClAbmmm8jOsrtkqIYI9XuYKq2ytW4EE4Qtgd8
oKgfJraWclWBJF27I1dCniJDYpOxzLolHoFl0G+4hMdOc6q8+NvX4QsS8filadRf2wzUY9V+aQVU
NI9Ybmt4H3P1qdXOl6czhxUlO51Bn3fWEKP8CnkrXMpEpENeDw+y11dPrb28vnSrEPdZDXDiVjIv
0w3yJlx4e6eKe9fr3MYFJZQxfgWe2QcnxVkLD+VPLEEDZUE/h439Nx+Bbgm823wDmCV3GHtG/Aua
gQmTgrYCwCLxMIAXXJ5A/38nbnSJ3HramfPIfJCpm51U1t5XHtaDuH5dFJ92yNeUpa4yyusHge81
6rPndtZqdm/ALPgbh8C6D76ZbceUxUdQttNDaXCXpJTzoQlsYFYeeTbiNPuMcwT/VIYcf/RfIohp
+izOMaf6ocKRb9QJ8yTtSzknIN3e886lSI0rxap25edUsfOZx25vLRUqrBv7XWHEH9pAGgIPAIsu
i/zU+NHjEUgrIo1OZh3TRn5FVUvrJE8d6x/jmObGHbOBF8IyvAttBBGujQc8AMm2XZKqWuSyuswJ
iDnzW7fAMXu6yqTUHfgcE3BCjcNdnDz5jnoN8GWtabdAK+iTOsxaFcoBp6KctGybAdXhfybuim6u
KyDvT0tzLVyMSNTZqOGD4NPeCPfRzCs99LIAgKPZeA/kKPHX2zgXCRGP64oPdEXHOtesVN/F1Ezw
FqCqvE3fPdO41Gg1D3bh/raBkmKuS/7aPqX1VuKEbcHw5Q8NZ4j5JTF8ccYjitZY2+fe2w2G9lJU
rKoj/UkDVrqxVLqNUwaYOiZU03JsHRHZWBEeZVs3LHnRhHo9jM163+EChU8CpITsKlzbXVRcxqp8
GTv/T226wcHlzVLxfaeInR3rxuW4rR+7FlHZtD4G8kxrpYI3TZ/TLXkgbmbsnZxEu/AKYEm35pDp
vGFJMn16dn8rxvEjQCrCw4Mf1HFAezjuKdawU4vC+zSn/mBrngmzl1B5owXjLhn03zTEMkVOQKHF
5IS2FlATFH2YwgESHiyM4gSpLmuIU8fTHr4NvLXzjBI2RHxwfUtw2hvmg6hTfVtqUD4z1kB0JDW3
yvGe/t+m8P4/rEU3DZJv/33AbgPZ9X/9x7/l637+xN/PtiMP9y/LNHzycyYN0r5uu0Tlhr/L/9EM
/1+GxwpEt4m1oSwZ1JL/Z8DO+pfnebrjUY7Of5YU3X8G7EyPonVbd33PWVJ2jvE/akaHAG39W8DO
cQnXWIZn2xj4Tc/XzeX//5eAXY0HM8Gn/500JcwSyNRhMpBw68GkPpXBpxri4TlxiDSU5d2caA22
5WObkHyriMJvag7Sl8yxiYjMiMstHqPDpAr0TJDCKzGJ6iJ0/ZqWNkq0GkAh2M+Wb1iHRj+znWMN
lzDPKpoqzk6fNHeDej4n16w3peGF8KwxW2fucgROcv3TzBCQsWC8571Gp0zFkNQ11kbqvnm3Dafe
9DDIwp4o/JlsBM7ChqVNPNrZC1VXxma2/4yymW7w7gyOqhegglD5uuIVDb09dPMcXJGzodLl9cBu
3kwOeVPCiABXPeVRdipqmZ1oLfGrLt60hBlusyTu1nl4HQGbYFtXUWcdOvXuRU722AMuPEcASeSm
iqOvfvn7XaMKriIZ/uiKBHbbBiNu8p6TIcs8phz8FB1Xx33pDcS6Wpz2WmX0O5H2dIo4Oibq5c/7
ZfUViVrtf37kOs3QqeVI7IMtKZ48auvqjvol0MmbWEuu9axNF5HG5o6qMATaCatPnADb26ZYsR6k
52lQUibt8POrevlyNG3qxSxOww+lZJE5a5qJXggftvbL6cKNdrp0lg86onOd4xjD8m01k+4TdWOD
x/6GVtZhTvIwBTEVKioBnuz4TNplUUjYzd+oNHCep0QtqOOm2zmWEs+FNoznwgluedoZYatq3lM2
lRu0/tnR8eehS1nOTpF9yIdHHWflg8OY/uanQwd0gCpx039JtcI9mb5ph0nt/BqSd5sG4UkWdNyg
z/7zY1qBOjXY3zEsuNVJtyfaFDI6QpyICFYZ4NiZjLR9NJkqOPrCMImLzNy4GomXn1cRqI5//edf
4weF2OdGW9466Y0bbhct1JRExz0VRRSDKm2XRXN0/HmoU8fA4bk8U3SKQFRJNfuQjmgmU9OrpwFO
lguTgZsyyE6t3pa2ZvwG6LWvnLhDx7HPWWprB2QbfUf3EJlCc2ivyfLg2RT2qZz3oG+z2ByTlPs+
54m1ibsK39lg3JzmnE/C/sK1Ah0BTzIsqrvbgCQu2tYCas6CMJ2LP3YZ1hXhCV164jhnZXkj/FOu
ux6cJzQCsOC+YLP2YHzhFkhOMYUVK9m66vDPM6KhC7Lxko9z1XhbSUUlk1D2Pjg5i6oeD5bW+3/K
ovYv/3xlpwb90yi1YE+JFURufAY+5LEkN+6ZI7mLisZwji2Ji01MVcLGw0Sz1p1Zpz0FnAxEoZ8v
8OYnKDlGstYKBbwBsHgD5suonBdlgCrA+SGwsdn1u6/cj5EGq0fqB7/9kUxvv3zlZH4GOj8bdv/8
U/0cGxe++OvPQ1B78LCnZ8NCjoBl6T5GufoCpOlx+KaVCK++fITfSKHdWsNpsCPCVd5o9LM3ZOmL
tSaDFBcbkYyf36mhrVLyEk9rM2uqSx+5OFeBEcL6/uuX3yJ2cJRltoCS0Q90ezLntq4RPSUln1s3
Hy345/UbL1EeBqxG8QDV1W8uLU7Z/85F5azRZwFPu1goTQpD7lrnfYkUk11Sgz4yete8qzz6cgsD
8Ic9jTfPbo6mZgeXpDGq44Q6gQDhDG+qGy7RIG5uYlTnEa/5cxYP3xM4XpwNfX+s8gx7oTF7V8dH
9qVkbK0I42zGUoxsWgcQrD9vnI46j1PL/WHlkR/dD/DBYl2UN6ylZM5IY3KhfNXSOH3WYnevUTdy
kC34xgiKMq5k6T5XUU4dS4aUKCbtPJW+dqZqPaLheyGMxI67S1kycaehwzAfpl9q7jCGIUbvHGG2
VypYpuNc6lgmY0n1a/dNhVX7KB2f693P1Xso43ZHTGtnD0VxU42Ak5XGiJXZtZiQEODeJlvbTuq3
AGc+8qbe7kyWo0jU8vTzYLqRHwb6GxUoynYvUxtzkLVgIR3Yb4KuSPaos+01DeaWllyuqV7l0M7m
qvGc1WCImgzxpY/H6oKRh5M0kV9sOLH7XMj67gCqPtRjDkgSC8rq56ePOzYTTcfq2xZZYjzk1tDs
vXF+LMnmr3wKTCgfkeJMXyjWK7u6/rz5aHWdKy7JRtz+zpR6ixuzPtiBBo4Nm+2pnGXLx1okq4BE
XpBr3ZM16EcfMwRXRi6NaJNV8ZHmdI3Zlf2tOrkO3D8M6UBCTSLpNRmXbS2hHGZM/xuSwdq2GWrr
XvuUjw3sDhUrzFtnGVxffSSLyp5eomSe6G1Rw1kMybjLDKyPFh9e2zNhyjWyvTpWNu05gL+P9SMM
F4Uexes69jk6bOTKsIw8noFqHB9T6MzEimV1mZYHZ9by02RNYTd31usokk8D79kv3e6PNRIUZclj
eshqD6fPaFGNgAJKmVEzPQ9Cv2TBNOM2Ahn1pTOYiwrd06QEus0cRLI5PbSo8J4l3nAXprTEiHGl
LU43Ki36k5/XS38NhfCYzcod65zmnZWreYoH/w+1RsXnv/2CwD4muM6UYQDtN2LpsTZlhKAnKjYE
y3VeLA/AWccTq8ptNiF/uBRQhSnQsZOE301wyhw+hfuhquoYD5VLR4/GKGS2Fr4nfmeSD+neknRd
lF6PN900BQMcVBuJLvkOFKhYaeB9dIuQWoPN7W7k6LqjCyZfw8kD9QG67fKwfCulu2ePPfkxANmP
uOL+8lV1q+FXCyvpX1TR9y/Sd69WEFGvFoFElMC4D6WeHr2OBb+dz911BClC/FEmEAAbqrSIPt0m
YuN9l3RPZml/8tkK3EM8Vy1JvRIjsiMDZh5b39kQuDYZI8WW7j8SKQVrb5Lt3hnUqn0cnJqe70qs
f653QoJQEfR4/FyZgeRzz97jPDqzjIE0jSyKacecHwNzSkKcOLafZXtiHN496VqK4SP5GakS66al
m6c5mgeE2XYzxlW7Y2iS63G25hvUl4+5B7vZc/z+ks1SienDERvG4pw5pXuuOrN+YLip33wjfe9t
PhDOQBZlTKfmPSVNkWCoPrpFhlOnqP82CFdviSocFsjYNE1qhN4My9DwcA75sSU7VLmsr2gHMp40
H3dF3ZHksfzsZiVxT/4Iu9c4DUsDIwMHrmfxjF4EAVjL9iqtL16WOq9+Bcm0UR57bRl1Ty7meSBm
ZvYZ2da+FvpuIC78SXZmSycNa5KBNmCbg+6I8v7V8+1K9eJxiIg0R7PMDn2J1z0bi/YxiZoo7GJY
FkN1tJIAEZZf6ImYznZEDp4vnJ/v9hphKG4nnqJDOsUuuikUywkDpyMocumcGs8fTrzxBVd4rFD0
tfRn0v/VIataKxwrnsLGH9/J2y93BDdLDmVcnX5uFRrpINiQ0iUeDuAL+bu/cltoQAPjjHbTxtzn
wbJaKBGQKJSYwzIIxtsYNN5GY8C82JOyL54rBuLrpFyyApLUFPjq3DkD//h2Th/Rv7BZjqq6w5ej
ZC2Wis5lCgI7w3YOGB4OP0PzzwPpcI+4nuyoIYEW2mH3U4NjczMIdCqUShiSDvXunYEx/KGKu3ob
Dy3QsCn6Wn6BZ7r95Tras7St10ik0DujHDpTmlarROrtmlBfx9BBb1LHQQuCf/o1t913JuruxeXe
RqU7ylZajFCBTZZV+f/51fLCDrMvjj/f/7+/wxiPtvT9vSRz/iTscUkyjPWFoQ+Lhw5LgIslQteE
HGyQR2S3pHY/9yfTxLgXpDxpXmmJZe1Vc0qa6oqRgXY9A1NM3CbtyREUp/3MCQ3VZB/MGfSxNdOf
FlTHP2MlQCpnjahz19Keu/ZyCk3H8tuY/YJ9KvvGtdcG2yad+xfOMv2LqU+h7ubmzU7xRLumdvp5
KUs/9TcDrukV130MlOL080BvlWCNwMN/+V7n1ktpxi9RG3LFJjI9DJrce25TndlWTbfEdk99a2Qn
fEwxQX9eUKJ31eXnwY9p7dEHxaKnofRguX/9cxNb7lkJsKu1lnIToxOAhQIrp0PK0vYctbp1xn7F
zmH5UvABg1fKJs0MzDCobeYTsM0vNMn+KUFN4/Ud5TaR4qOCP/MiAVIxBGVJmOuyeAtsjtlxY/zW
/Zb43xB91njir33g0/1N+mSjorJ/nvKUhI8J8JkTcZcYL1o+AVzFIvDP4Lh85WUUibQCtFuN18tR
qrupMU5OEjOSnFqXVrHK3JBZ3cu8r49pr2GM7yVw47F6zKKe8iGfRj9lWu2FzcTmn8lreQ1L2f3z
rR81gT7hKtRcDK5dnIP2VFb8hPr90Y/dBy/ccNK6RD5H9A9SdcYmxh6VfJ4NVz77eETSxWzDGFQ9
6TobbL9tSAIHWbDybX4MKkk5e3nGS+0pgyOBvi5GOsl6lz9EzVQbQmHAL5UW1IQygsLrGOt3D7bG
FXq7u0X11kLlace8L6OtPibNO+iufaSZ7jNpHW7WToaxQKvyfJPCpSEsMvfyQkvvitWN8yfKgcxA
4OruSxP6mirtNAimX+BRQmUG6CKJGPd+VL5iEIiPylC8rdtOZBAta0G4sih/2Vp1sUn8lRY1OnaJ
I/9ngrZyQg5BbQzbn5lbNMTXYtXq3CJ6qmY1Vz8Q2P47xXEe6tgat9Sic2imdXXyhvQK0do/UADM
Mn7GiEccetzG49iurHTgwNeKoDs0Q5OHymrUtsOZSwKbxKHWX7W04GKIzavQMraPT6Xbf7pm+piQ
goQNsRDPvWil13QK+Xg+teq5jY27bk5YJxijH5xvL6YuVMRvbEqeizS9U5j6O/ZNzPZtvp7n5tQE
iOaUhT/qdgug9MFpTUrEbO+YCiAgvp5x95ZPrcBL4Q4TbiqKgLJLl8xASxdvMwZ8UZPC6PRwkiny
0sBaziIhXcz+R9rPXJz8u145T74kepAwkkeRfFmYL0di96fIy5sHOSyY4IZVaR1QAKpPiNbYbzhD
p1Sbj9yLeWaO2P43XV9F77nLTaWcvzlJ2OsKsN5KGtPviOX/umhNwCZJ4J3ngdNst6zxl1C/FfdY
EZo/BkHvM3YUrgjTh6cN1snVWaMM6UkJHdhQfQlMQQuJ31KT45hhZMzEoDML195oPlqjd0lcPAAi
jyaqydiaIkeVQJY0axyuaPxYW/AOrX03WWp0m4ubOqQUwILtzGbKd4mqXVoVjSdkFd4dkfsmcrib
jtF2e68ctGc2PB/JzA5FTPSJ+yw5yMNtI0+LD8rX4h1V6Q2tEdcAB9e11/TP1imGPVbXrcr6eB9N
A3eJKlVnPwY2BYonaytxCrihnBrktrEx6v3AB7AuJXHzTMcE3Hcb+0+uVWyV2oQflrtdN7UXy31p
pV8elYkt1NPL++i22JGCR4regq+2uuYzZXJqcq8lOx88aVSDADtZ2aYKR/rx9tRh4tVewFgGADCS
Mo/EZUCFdeOaQ6v+0NoUqM7mk2+wosaxMK2wGu9th9MlQ2CxtvwBQCK1LFFF5CrLW3xPvf+YQ9Rf
bILlbiocSlrnpypDpyyiCACY3DuekGuKMZciORO2duG8AD92trZkHcqKqVpJQSSfrF9wps4iSOpD
3LjVYa4tgxTNgoOURI/RrhhDwPRp0/jNGeMb0F+CqQHfhVlPMPFtEr4R1yBjUNtAI9gJMv3YpDY4
zQg2NAE5y7BZwTXE7IYJvlbpHPqaGFAecaatI/Kg2ZIYPLRlUO51ncgXYI1qJZBAHobMYh/WDXTg
1lTtUMxcncFl6j2vB3bc+eBjpc9mBbQQsMYuJxUvTUw/mSLXDLt/WE3pVO37SIa6731bMXpYki4I
IYMCRXMUv2q/+zbv0VzdcBRXTz7ZhNwpcGayFaky5I4Uoc+zXtUg400tAadwKT+MjoRJOJeb1kPq
M3Vr1xr2MR9I1nYa7qyGhvGIKZ/rAnpyaTyP2G7+N0vn1dyoskbRX0QVoUmvCihbcg4vlGfGJscG
Gvj1d6FzX1RnwvHYEjRf2Hvt0E/kc2kmX2DHoLBiOmfyVBrvbRuhscuOJqGQl36orwj9bvgVkLDY
xOwUD0RAqLWVITiHv/iE56UPEOGXxzlC5V9oBHwzdGOE7DLKQmV8dF31EHX5mW21fQArjuzXVEc/
incE3lEGecNfHlGsfpV5tUf57KnEOJWwFkXsdvvS/Uo6pKa8J8b6KammIxBT7atQkveXEBcWsmQG
SZ1pBfkrxwGdIhP7nBTe8lPTXUCRYMAHuA7sHLNVIxpBUVllfPGjnM2HqiXLNe9ewyz5Xd4D+J7Z
+2ROv42OaaOJAfdMeXeNJu2XjK/0Ulowo2oGWxdYIY82rQdzEOTogBDy0meXF7fnLMPmK7X8wDT2
YAFS47MX6AhYID9FnRc9idsk2SwkSR3vUAp5gNjsKx7rlIR6T9sJRFSwh0jcJZzdxvRx9SR4gzGW
z21dz0Hsv8UEHrczfUJBdstouC9ZX/xLgXPBH5Cr0uQyaKXR4iZakshUuWM44K68nEvTlQnlIoIP
JzbfSfp7bzv4bG7ps1csUwRqGHB7sJ9txVS6a1r6QXNW2z7rZ2ZrA+5tOAjMoXMAI6rezwW0iUxN
v5UTnZgH4qB0y1tu4fqYMHONo0pPXrLVKVyPCWcWKKMGFN9M8k0DBsgM6y+rBWZKcvMTEleGucC8
OVboTvEbrCpSez4mIAKxwGEBzjk5oOrrgbSxh8/TCXWGOEN+u/a61h8N+2C2Ls/J3kBOuIDDOpja
qK0z5BUoAlAeZkE9e5RMllPf8Oc+UOv+weKzpkLDA+WjhaEsSjTc2HitopNuI3GawwEp+kywt+/i
AdFz5t0wRKy4EucpyZaxCHR3Qw3wdBvtOrgv5B7nEJfMV77ce5mXeGMoc2gNCROuWXMTbuEw86dy
XpsdspLJzv1N4gKA1qvvhmg5qi4y0iYiejQOFAzAw88smh/lcrEvwXtZl7pcw9DwpFl9NbN/Dmna
TIjZ12vewswvszzIMywoKH4e55xVA8p3Ln3viy1bhchG/EQjnsIY4tmmduxbRNLxekrMT4eHGLMd
0O9axCKa+Lv3tPKtXVO/NnVlvyFu+7GYjWEVbnaWaPtrRZgekZ35TzMzxanCD10Z/oGb5NUxmupY
zwnNjLPkZrWlRyAjEmrgG0eiZQOrrwXHBCJbu8RvKgZCBuw5MwJEjqFDco5rECJpQfDyGobklvnj
2AbM4ZEBBKMcYi2T19Cxjl0L8UFmyCf52D5jxAObAsrS2lTthbjpl6YZkWdZJFhinkF7mH1xNP3z
3Aj1pZM9yYr0WLLnawCEmBHHoJ16a2Mk/fwqUUyNtfMIYIyGp9CYuJJ2jYYiwiGExsZYVR3Rc72X
e0fbQ6fEM4MJZl8nB0BE5ChUw1MS/6T1hs7B28cOUdFJC0Ai9D4B7wJDGxn4cSznFHE1qpYmJBLH
iQ9zq+mHkkf/QGj2jh7tagATOXiJGXht3O+YKiBNLjtn0fOpgO8qvAlXsiZHScSya+PHDpUdiJNX
Zd3qBPlqWdvlPjYkC7SUYPuY4FLXRe7rQMAVTjGiFbD+pi6ajZq8pqQIQlXgB5OwJQt2iitDBwqE
UefLofBcz8S+bNyEHxkIpcL1JLWgHokrzQx9J/rqkMQusKieobcgH7MryuvEsmpdIOxadX4FpYY7
YdAs/7x0EHaFOlCGnnaY+5/MJYy0iqtyO/T2OZ548DqDwqmY1WekbeexyEklYLJDNw16P/xjpQww
86grHvUkP6JysVa1OXEfFcPeQW60YntSX0jlFtx76nOeF46pAdQpEsCT3Sb6xnLGUUJEIbTh/DwA
RNDtHIVTXUBOaV0mePXcHetUAApu/c+RsNUrn+bZR3flcx6yMbN33lw0R2dcCCIVSmc98w+Ti/Y2
rG5hBDNs0KurRbrFg3BJCw/RF3bAZIg4qYJoiahIZXNLxprcxsljVNC2PFFTgCY20QEAvp/An/w1
Iz3b9iUjtpySxw0bYmO17lGLPWaZhYNGH0vrJmwxXk0oLVamvdBwXNikNdlB7DWmj6VWKmQMqkNh
OmZzdiu9qDq5aFqxI5KNq9vwffgsdw0GQt9kKIeufUOdKg4uPXU7TB7pbH9iZ0ajGEkmtjhSCa96
0AUrLI2oR6oDTPa9k34SMphhRueOpUUsrIiIIHrKVajp7VGYJPJNRXo0Y9RVnpmTQbFkgM4mnMi5
yNgQOu+tbv3md+mauCFBLyjV04c40dihM59AdsyqxWD9aDfPaUipiJ/kYLT1OzEu2coKU7E5OIb2
G08IDk05cBZ6SNcQy/8zpkZukyJMjnortpavT2f2yAxtRowhozWMZ2VqMFqXB+NsWzxzecHJCM/I
JyxJZNWh0or3+2+jnRIHZJyvyeBbN6udusAOPXqQkr3v/fdAeji1g1cotikYNL2zT8kCXNUngyjz
1L2w66demWP6Vn5VL3mMfFG8zDKvLveXOes/9Up4Ox0Vz47wUy7gXuhPhSMkmh1sTvdfujBebhYr
ripRtzn3zHdndsst8wsmWDqqQcIzhm3mxdDfzYqFepmwfYbAUlNlkhBOn13UA3M6jRMH7Th/rVLF
aYlG5bvXvehULBueoR6z81yG/aE2ctovMbdnYtgNfom7E3zxBpYspnjkk8SqIlXCixWe2moIT3Ud
Eea6fDmfdOdtNuK3muZxwMYFwT5l4WzEAl2DV9xEBm/W1yxz7SkvupC8QX5LgnEiCX+wMZS3eNmn
CTF/mbj1V75vT1v2f3aAS6j+ZNyt0fRY6mLJYltGIvosFY7Dwh+INkOe3Ph2+sR489FpW+vsznn2
5M3gmToXP9RFDOl0y9v+s8Zi++zPcQOa52eRZzidi8ZATe1jpO2dlBgVnulh4Kq6+Wyn6WBXbr+L
4vvip58p7Sy5R7UZ3SiqtzFKObWayK9zcKUONf3a/SXuvVNURWu5zIgi04mOuuWCMJq6j0iPij9K
IPjNTfGKN2hbj164aDjwDJNm+9/YtOyXx5WMthTP7iVdXjxtyE9NVO+bsXZP5gyMwsts8awtWg2V
hPtB69vztGzAfES6uYENJlUJEv3lKrx/CTOPdEI/6YEiLsgHGKR4YGbAtwqt3tYG5sEmyrZPurdE
bE+2pyC1kYIcmH5jHCtohaf7S0bGS71iepVvSB4xGUwzCtgIRtTn0UIRgfCRbEUDKQNTFxboVZaW
+wKFyUPZjeHD1Jgk0tN8rfNFWzBNDfoIp/+HGVkFHuOJrjRzckNC68FwZkFu3q6wAb9tYnuklZBT
sklRuG/uX/H+ojH23NTkcqHhMPKQpaGvn6ESQh8o09M4YfY07YvoTDAkDjrnqAb2GntG+5ySjbj+
76t3Pp2rLY0ASoDxDCGT2QDxq2JD5TFCzfHD0/379fUQDud9ukQ2b7G+v+/68r7LoJ8sVMOiPlW6
pDZfdCEzc0fH1cdj6SIiodHh0ZWHgZrK5lqTs4ACoFxG0xk/t1knWxwZyTSpZ5Dex9pXuN18A191
FglsmRCDV3Iosk2h1F8/Zcs96Q53ayT9kxiZCSOUBRfQ5kAH2npvL/PcsVjGxc3kBKUt20doYPuw
K+2LxDuw+u9Hx0KJKYe+/1TrDtm83A0ZmLttxzZ9Hfm9cbIyYXBa8l91THxM7xOpp0k3Bnr89/6v
CDrqS+QeykVl1CyiI5qa7EwGwtN/p2Wn6+eCzCm+WfX/FxACKESN9KRNM3+YZZQqEWjMEQTuRbYM
qv/7rzSyjj2ZoPfP4H653D8ItMKgzLEoGZgW6OOWCMkyWy5Hh8mUP+Add8rEC+53YWcjN6zZJpjX
Ni5+naYWD97yMjQUUY6HUh0S7qNm+wrLbtaf2I4x3Tatd09h7hux+F0KKX5MHfgdG4Jk36eFy0Iv
0y7U63AhLQZLc+JoOwa5oCbbEiqpBlBOeoStp5WD7sGFcKOzP0M5s7tfHEzz2O4fU9oXcFfONe8Y
BHZsdHiPdIxqurM36mYMyrTYcVKV36ULnmREuLVCmYKtLJ+yAGkbmC9wxv8NbilHz51aiC7LsUtD
lx3/+wOvHX8yLS52qEE7jBA5GiaiTmKUzDfJg8ZO5eMw4HlGFOdzb2YkOlVFf66x169Q2+h7oyjN
rccFiQi2QN88cPnWyN0Og5nEh6bzyod+Wf8DV/HX0gZ51EmYnCLxXpFdPCGPwMA9V9v/DjkE6x/K
ELRhlj4eCGZnXvvfw0SKZuHo+uN6EKbgUYPRw7dRm7VI1P6l4XMsw26vjEwGhk4WHHYte91hgaLY
WibPhNzWn6NdTxsP684juF5H7y/QSjgbm2T6T8d210LVAwb8oW3A7KIWc2KWOXcRQe3qiMAzjme2
kT+RNWrv/93y3niP6/6nMIt96Q5suTmkTflvy+ObsHPvqiZr2WkNlnXL4uEMi/KQwkF5N+8SMicu
/2ku/k5Xz59MP0Lewq8iRWmeDjbSGxZvr2HUBrGDRcLQZ2S23XixUcwHeVl6J8SJm0EM5qty3Ov9
aYmMJbj/b3WRjjsdMCH0PBQs9ycmWMDx0hRMYjOgyBhLwIeK0TK/YIZtIQlCiFie4Mqi0rsfEfcb
xsBUt/K0BrSJHhPosTxd7i9zBP186HlsOMlADFajw5gwiIfH5/gUZfXwN7Krp2hkEmfOJbsxTFpG
h/O4A4J///ozoAN6zhhUsVTZLhSERd+Lr0kyBO8yZ0LdrP4IyVZDR1pl5Kl96FvRvik33iUZy8Jl
tk/U5w1aDM9xMOpz2BrPjC//+5HjyFF7s5++/zvLDHs68LAkhnV5IHd53+17ErVSARIy9Or8s0qG
x3nq1V/aZrAX/fh6VxWN286rjx1btL8tMmUeuAyN+ESG6cBR5h+UdPC3VuGvEQGBsF2NQqVg6Wy3
BKmVA12A5w9QZdUQb9GnoOHsNAp4XxYTR84wHQ0cAAAitOQlsdSuo3HeGh55CdI9910JPy5vnzWT
wFoCcni7koGztwN8S4LUJeWhlGpx4HZWe9QMrKE2lvEdhz8HsK0QOkVNYCyXVzIiJUpd/4DRzVv3
seUfO6FI781QxDTRrG2BwqKitL3ymiltXldFOAdeo+s7UmiYtFd/7uukHkU2bCltOyYVvRV8Ux4g
XlrvvSFzn1sr/SO1tnnO8roEZWIFmM/tZ1vV37DKLYDfw7OZJ+yI9YHnyxTn61RokCa07qPpckVU
96ZmM/VRqA5yC5fMvlx+mcfqGZZtebl/D5njfCw8i1PpOZ/3RbcwvPpiAWU/Y4D+roSYPvS+BFOc
ht/3TZ1Djb4ZwB+uLOZIN9UqAoAchgxJ4zYPJDy2G3YV7Bsiw34YkBqw7PSYma+gojKxruz/a+gA
XsPurUxsXdMfOnELDVqPDcJSnJPteIEUPqAi1P1gth3F59P/cTTCIDWbeVfbWLiKcWTyEnFEhdFU
kdZBSUBM1BiIVGXrroklwpCakD14vvfDMkbiq/IXJhJM0ZbncgX2mu0955sHBjZQ9VA9ANwLpHGc
ZDxc74pHMkdQObHp2YEKii8+/Ct4zOQ8a24cXZ1K/IV5Gb0zM8FApDyNZ79/7HFFHBJTf1PCezLm
PsVNE73WoZO/FWXZB66X42813Pxsmf5eT0tydO73oTC79qZP71AKkw+bPRG4+erBNEyNMAngy4NY
BmCK5Jzl7uM0IdzWLWoy8nCn0Oc/3Bd/9xdA+OOFL39swyTcGFV+c7o+OYou5MxPptd4LuZvHe3N
qtd08O6IHEheq8snp1cvctbrT6POH2RKYe8ppvHYna1XgiDZmS9oJ1DfzyKc2V/GXbRjFkmKggf8
1HPd+taqz3urgfiZfGNT6DcvwtAYo005Z0QAnAtN/6vuUju/qHZ44rwLcjj3Yname2lcCkmnB1gw
9f1wHLEfbvvxWrb0wlbIgp1KeWTqsugio5TYcs+4ki+ydqfwN4osVA2aZ956IhiUXoBXqjo2I0hv
Qr24Z528SWGYe9prZsJ+/2gt6yowAlt89D3ay+GHNbuGl/iB0EFakdDWt1pzsCI3xy//5EBtf8rZ
7YSeuhnAmZ7HPLA1nHdWJzeYg92rzDlaEdEEioHdFu8oswzGL+Dv5E5OGVsZVplK2DTZbMuResIa
yp0m2QBA+EYZPa5G3zkVRe7tHVaiWn0pY8YCZI8Q+mUyz8ouJaw/2xk/qD/0IPP8C1eahckb40mB
RHiFvo7T0Kn2omT+4se3PEnBJXkIuOhRv7vICTexMH9k3/42Ve+TohKeozHaaCjt1nGIrojNAdg+
bTeQSrpP5cCMNvY+e8rXw5hkJxOjb4ledIVYtt6X1kDgvMtEsqtBytU9UBEHnQeLswV+9dwQs0L1
fJ2wtAxoEfU5GRnofUsMvDiZi52Re3IX6jmCZCbPKyMrzjmlGeK/HxHiYJGs3gler8nC2fKz/XiG
2a8iw7h1/vTgKnp/W2h45hI/WUdo5URzkc/CNPHe59VnY8N3F0ObHrxaHQij0J5qkivQZ78Xdqqd
7drY+2UXXZE+a2lL0NXEojPsv4uRUfvgGNgNGtUeWtT2jLq95ZhmClLPP1FOiqhuFtaKcdWe3Uu7
aRtm13WcBFOmG1j/AakV1vO050AfyHKU4UGz5N92SKN9ivMcdzXzh8HIHioFjN9advo10i1l6QFq
T6oCbArB6Gpii44oD5Bac187pCdyF0wKNveg4wVCYDIwrzmBG/ieyWAg2DVe5gMSKpeLBsGbTm1L
Cn3q8QGnNWM/zlGmjciaU9731aj3/Ta06tswk603t5gh9OWinXmL4gaUQtqcp9h/dkrRrMte29IV
oVmK56/OKS6jgiNlIEUyNWdnUfiObnOb9B1zLPDrq7pbSJw5WkyfLcYDPUe8LwAeMmx8VZgf1oXk
36q8FqWyxUqBJOLLRz1wAaVZ/4VoJVxLTAnQlMhB0xzvUBL3QFyq14R7AH5s0ETxSJu+FaWJXDAr
QYCDiua8DzKVoZohSgFhof2WTPU3+H7UCqxZOyn/QQ48s6gIUZ7jWdS7Rh2TvLj5nb8d0+iDgCH0
1u7wiyL6sStZHEZRz7Jb4yzgwUYVREqp3Xyc5sH5TPmTeAHwW27qb80ymU69fATZ1kln2tfwIlLL
3hF3gYo4XLLB+9dhJgJWR4phzJx3fgNcCOwXNCth/ygqJgwx+ZPt2tFOQUjD19m/d7Z47dOGu2x5
bGQFUtvIafaoTEmqonfryQ1srJ4slNlC9mw73x6mXMY7bFsMtTIsiS1WYQUfqm8FPijLmeyCSzII
WiFtpfSmLXdAtg+NacPnX+PUZBLMEMPL210UaWtRGruubfHCVvbPPJNIXrFX5tABI8SOfp4mOoyE
9CfUCazI8xef2eBW1Nlbz4W0bRZxn51bG67oNwFlHeFeQR5dqXM/CHeHcOwBhGWz1WDCBG6MkL7V
7c39V8ixr03Dht2s4JKpjBxwYTJzt/s9pcahnOS3jmMOAQsoEt3C17ICFfUyyxcnYoFVNh4EbgUi
vzOJQpqdw+gIP2gxwv1RUXcJETGcDKe7+Kp9qga9PFLhzsmNNfZzDQy01pv4TDnTAmEO/5BRukmB
vkIHAT+FrKFfKVz3m9YTZ6ukg/YE3DzlmG+Y9Tbg4BU6NI/dAIG7RFJqMvtiNc3FXijIiNoIiyn/
QvjK0SljUpyn/jmZIVlkpn8TrfFTt1EGxCu5cX1nxN9WH3GM2g+p1tEDdtOXdHefioTuJil+uXZI
N26ZM6a4Z+wegiOQyyP3660yCieYm2uVE1Ge0JCt2IoChwM8rdUZxDONFRSrLH5TnOd2wmsdGg4W
Wu0skhTBAu3NmqzDmbwCnl5VqG1Z+H3yYxUbSKUFzuPyGehAhQgOQL9akLqpORI+3Wonp3xDoulu
m4Lb0kyjwGm0eVMSrLWFVDfwdWSPgFPLttaQPY11QpwI/sa9NMugDkEiIfnB0xCy3eoeUtSzANV4
NDVWSBKGZe/rAkwUnaKzTjk3V00M4c+hklxupFeUCCmlEHhvnks8I/WZtAKoTyZu6UYqJl6ztnZb
cXNHBBI+4zpEYKRIzehQJGAOHwEfi8xHN8q/x0H/tlQLQVyciRzXAGGE7AJ87dhBD7X9bqt5+P0b
gyWEJpG7Jk3VrcKC9Ne2SlDGTZ9sBmFRNcVODjyFvSSox2Y4tZ5iS/rb2exCR2IF+KseSnSPuPkx
O9JkSrjC8z+3jrKFdMujFHSEMSXNqfPhQPbhQwXEKrObjIW696CDOdbtX6litZ2E2vqgJdCCmc9y
cM+LoG1f0FamFjqSMvKwypKdis7I2ljAzbcelteVlRE2iUP4VM+UQuI2E+5EPDNb15BMFQ5rLA0h
PlhqVYvLpF90WeCt0IjKwO2Z0hi3OCs7bD7YTmV7KMVYHqQa/pKnV+yE2IrCDCwz/ck8E0Av8/M1
Z/8DCcefJI2tZjz5m4l4naBMSEAAlnSgDdAonsxq0z1NsfES6uqdxD+YvtzBG4FeYdUp/oaYGVuk
L6Ul1aFwoaj25jP7HmMjJfUgOrSVo4DFmXAJtKn4wAz3r2hjIlsQh4Gdi9eMk3AS0KUAe03RXLwT
skyHvGi9CoudjuFCJQdc18FPDLQEAgQbPGPBaw7FsUOX0fWxhPJTcjP6DHuidk42pgmmxC7e2hLN
Oig5OPj+zrNH91D0iJH9Ll/rVYzlfBVKazqgbY6Dqbk4o73nc0ZAUodntMIzNaxxm4mPXdXJAMuz
nP+FmLRQgL5mjsUhLc9VCiraqhwS4lEWwR4ywkBb9N3lm8SVDffyPWrF1QsLe8MUfe9Y9quGIXuN
K+5r8OuN1OJPw7Mf3djS1jVMzR4Y5ZDnHTcLWT1Et8x7z8X26GnJPvcR2c0Rkm3KpzjVvznYW6ZA
r77lYw4YgV9X9IFcNdBbMwyBitXjyigK64mpSQbdxhhD1snhI8nTcTaAamu6YmsZORuf8VU6EmCT
Y117ue9GO37DVrMG5+etgcei62HrT8Ia2zBZ/evNs0qNmbkrfwxydmFCEO0jMERjhvM4kQhRMcfk
pEfzWZpmUOg6TENiUl2zYjkIWyZpNGRmVXb1p8/cF1ciNSSKdwgVBbLAHRnSX5x2bEU1lR/bTP9i
c9ETlwFNNGqYhsB1CCqoNDBBXguMsJAku3MO4WfNZJcAdfol3k2GMl7hPOYDITHsqE1dfFp6DbBp
ntlfkcxmI7nnUIq7betL6Hems60reQk99BmOpr7h/JwYSRsrs/a8RQi6tfCzHDA0Xq1Im47ZNDwq
ne0q+mpKUcYbq3A5igqhNVv4Kb3e3OocZoedLWnRycDqIprXxtiYlySjd5wMlzBlTTzUZaHOLRtf
HkpznGab0a3+aR6fd0kKS5BFDJ0z6RyLoQdALrJxY0gXGntdfZPNI3nb2CRGtfU06vHfMMT3rmfd
vE80QYBQdagFkrqZUJM16XJ8J1BiV9VQfflGA4PQBeQNgWzHkYXnVuAyFIVGXHLUgnCv2fIvuuhZ
eyhpafYThD3NfB/rkUtbqZWQkLwAEgJdKxJzC82fvam/j0PCRubmPcxSY+sObtBHgpp6mfGwubtZ
k3cSRu8jf7GuHqHWgTNMiFDd39EfCJ/jTcMn5cDlxtm1SmMjGGbkzqXeUGv5FS5Um5QD/1GCLmWu
mhO8YXGDLADwMWOlsTBPoqQKGtadUcztL2jY/BFCkra8KOokYuFwgh2Sf8ncsa40xnYjdeeEXEQE
k09gAaJGopdaJIJtqsA+OsQuFiGqIg/uLksNDGLjpuPka2DYVQLBRwIcv/JzCpF+kzOeQzR0oF9L
IJrAFQe9tYJWqHSvPfhmz5HI04GclXNcqr+Gny6HzjHtAOcTNUSakpbAjqAnohcYDJdIIGPMN5ar
bcNGgG+P/N9x9Ldq5E71JrV2AGvoFjml0LteSLZ5CaXYMWLcg0oHe00NWUaHpvdPo7JTxCqzCgCp
BBZKiESF18ghkKGNvmY65r4uSO3gLyTVYnRpUC6FHzwIsnVetwwbtPpokJQ+OuFwm7qaSniUCHt4
BHI97xhdEW1jes6+fevpcbwSuniaheEmLwFDNsiSt2VocBoxaWHt2zuYRNSftGfZb84TqfR1uDUX
AX1YWoQYac+usdAjRgIZR1LD6DFBxEX60emorDvZRsgOuNhBvjQr99ugPVthSndOfX/0LNKnytT5
aH1Ct+0GazYqBbYz4F99QiMtrPB0DhFsdk7CKMkPhROl8HK6r7LrXt3CXeZ7qg0Ga/gI6+7DTRwg
ih5UDoscpZX2PZhOjzKMhRkUyIm9YDqZnOADru+a2WRQDgsNWdheAKze003Jwt/7NSkciFwRBBdx
Fp/GIqbErJ/jpTnvMKI3ZCzeDGvMz0rX9ubU66ceEet/L/VonhAcIasoTHMdFt+hxNtJ93gqHeA8
IUb67RCX3h6+/A2vx59ogYLmUXttYbKsCj13tjFPgKwdd6A5XzzDe/LFDNdKxQe7i7KNkQscut4E
kHcopgs1zbZcDyA+9sOQ+ZsppYipSsJ+3Rg8ZQImVIsZMEJZofxsPUoEiaarlZJpp/wLKxa6IeO9
lTSHPbr9v8C8/DV0zY/Qr7VTAj2RMAmmS6InDgqUMvsaMgUbZp7sO9eGlEQIhlO47UyNAlDOlyUe
XVh0pXYl35Jwjta+9UwuxKNMy1cX5CGQrOKvm5lAYKbxdUgxfg6dPpFkVkjAlfna6EimNElZtcqk
2DISg66uh4+sqnKmqT5zUte6sHgBxKtm/gmQTRJUcR6V8lr6459syKHCVBLmSjP8ZS86el4Z9H2i
b4VhM0Mw4PuCazhEOJZgxMzNIU7+kWJMdHui7wpSW7ZOuc94Mmwria7G0rLsApYyIXyAaVT+mAwI
wHTRoHRvX2TXeFffIu2crrb122GLs/PJYIGOqCAoWOhC8GFGyH3GSADReGeSSxBGXJvcFdj+YdDM
CZJHQ9Av1y/ZCH3czx2S+NgXkjRPBL0zRqDhgM+B2sSEm+U/vTnLXZWm82Gwh8DpxNmvk+e2hv/T
1MZL3AVlpx619IFleUOh2jz5Wf6ayluNmfJW93ymXCVbzSizD1tjtCRcqusCJ4YPaq+MoxZRIAjO
KuRs4dEN69qGlSom9a5N0FvtIuczwPbEhmdBtZfWFoD7gmhxfu34uUsuBPX+CNPeIEqF7RR7EGPj
9nWOcn25S3kEp06+phgEHEPhFErvA0s2TxSkoSsnDHpDtcdU33WpJnGCGj1Ko/KbtDoqa6Dol9qs
dhKxzypyAWGEc/9In5I0ZOdJIh0gF1H+kYL8O+c4uNPEO5tD9QH6AgFqpKES5C/PDEP9Xuz9rsI1
pyLjraZxDcLJJuBGVLCxwi/NmrlBM2aXJbPz8Hkg3eaoLFbf1rqxp2kP0xX+VMN56fdPIQmZu9Yu
CZuG8xzwRMCd9JM427k1MGJrfE9APYgZFsi9Brz2KgZc1B/y41SDu6rzN9eym33ml195H5NjZeH3
zKJkQQhHHFjDSYcQvmM8/yeJ+z1qeGCKM2vXkFXcVDQ4XTnvtkvGBJKR7N/cRohAFc5ds+d+YCPa
PuEDjdb0tPt5LKfXohrx3+njr5NoxiXzQONoIUQ4O6oE9Q4t3Jgqf2Nns7GHR/U9spujNGGiqpOD
l08JVl+zBVx4DKvBfRxGEAc5KqC0ZwLZjz9abRxjIq/XuiZ7yLWfydj/ldYXRGGycNRmLBjz8xDd
qdr/7Pwac8WrMrzpOHb4zgv/OvJgBGYoEC68pSSBOB2Z4SzfDJ5f7jw9zKX1nUMx6WDjryVLLkLP
dsWIx64a/Rt4mgur0JWD5BesOq3yzHRgKlAlgkNuGQghhvwzls+GNMMb2sNl4IvUoy6XWE7dPi3b
aZbY8bU2vVNoi1+ux+YlrrpuZ1v0Xqk1X1irEim6iV37u7Wzt7QlwnceCQ+y8r2CkZbz3WBq6Mt9
rQhrrh0TGnTD7FBv6Sl5a99o3gys1mQDNOiAhUQYlwlqF7bLt87EKwSj6+iU5XzoR2jqpJu4Xg2o
gYQW6e6aXn+Zx/yJM5gYywYclW9F+ok14++IYNR0kQu0rMA1k7M2Jml1paTmbFMroXsuo3Mv0AIX
4fJAn4cdEaVRQy1r9CTFFKQ6WGEUH8WgnWl+d6ZD4Dsy633VzFABEwJ5fdvtYLPy41DUHjpBDZP7
+rYwR7C+pvuKFyBERLmJQ5zWPX8QctcuYtAHE/dcEN1izfcPZu1YwZSDbG/a+ZCO0sPHsmLU9EdK
umCPfdaqJe+1bCqeLYXLRTGYQSOw+7VgwewJ2KmNFQL8KcS8KJ1AWk5yxR5oYlzDx6k1+TuSzR3t
iwakF12r8CWluaYqVknxRockTZhpt9M1ZozaVD8mpX/JY2qJPn8l9RMHwfzcpMNOzIGGjW5tFeOr
OVX5wizAyg/gRoFhZnLOlYh4F0NO/46Kf1EuN18Jqw+8n6442E7z3GgvsBk+NBG+gYbACWJzDlbZ
c940Bkcq8ZGFj1kYlyM8gNkhjBOyY6h9l5YmIcp4D6ZVGMg6ZiCVTdatcbZhZm88nvuNtZN18j0s
2biuRAWd34Bwbo0mfvC6EoVuOH+5h1p5VxIkYQDn3MxeFTHUcgR5MzlZfiax2cxndw2FFOEdw3cf
QTG1K4WlxqqqtbIIcMimL/KpCXUe+Z2OVkxq3m/300K2XI+W/8Ee9BOXdGFR+5ez84VGeAtjsV61
PG33ZfZAajI5I0ubkDT/HB/qiw1EGzPtG9sgRheMbLkoxzXNzC6Uk6Bv8/jkauQSd3sokPdzmfri
f9SdWW/cyJat/0qj3llgMBgcgD4HuDkPSmVqtv1CSLLNeZ756+/HVPU9tuuequ7HBgpZTo8Sk4yI
vfda39pfHaNsQxrdsHYIdgCDn2taBbQBvSjeBb11EI1dH/3KSw8fSCKNPZjYupioL840tTsygbu+
VEwjXGxtO7YEqvN+tI6larVn2ucnVvnoDlkclQGKcbQkOnZhOIZXyoIkyOsw4kMg5sB8UCpiuxji
W6mkYtPo9XVneZIbjf5p3nO88AMz3jcdia3GrNe4vjUZCNEXibUHPyJf2dCwTNRaehK5Phzr1Iw3
tjJ81mxupQq9956JJI8eqvJUFuaXfILFHBqiOzEDhuTuYcubjPp+aljLgd/TQnI8Y6VwhNN5sdFb
emY0D5k2WdWOd0MdviGrCy9t1FRLN0ttElx1JvYkQzXVeHBAOpw/RsdmEd16nKGOoWRbiaZ+JFux
uSVvFXyiK+4DE7fJvG6V12F1o/gXY/JKtlo14mycx89+2D2DZULmPQVnGWBTYT0q1qxl8GB8QJ+Z
2tTo+MqkG7/kJmh8GUbM4UMAiuWU8lbG3+ntpY/Xs2le1AYQq4AA3FJ1O33MohX0cBNBIG0jK303
PMYBOlkSnpudytZR+/kicXdX+ysgKTiIKI0X42wvz0ioYP/DbT//SANCaw81zd40/IxjtT8wckIw
HE9nQp3GLx4Cr5XVf1dWqm4UKtR90A7pvhx8+2TbJk7Hmk4VSMARFnLEmpSLut1/QFc4z+orSzIM
EoEbnsvZgNVFVLaT5uUQgXkoKoRor4nOedCMnPEy+YdunrTTLFdd1J6EozHlm+WmreBWtgvErx9/
t0Y1SS/xJhTGl7YjVs7VO+vgBY2gs8s38AP27UJ+rJ9n/5G1KL7CrKn/8Zth/X9IaspUCha9bgjb
Ahv3I0mtzE0YFNL9JlyTFXIknSsQjG0zdewj09p3U/I5AtZVGIF8jJDsrBVyKuAiPseSD9XNVW2U
4oXHejjcRA7jM7uW0b4s8+COJ30xQkpZOd4dfod+7ViZvSIPOt3/zTcCeK74+P72X//x24yEsxzX
kJZyhaXbDoi5n74Rx+rYnPMJrVxpASSo9K2RlvdBo60LkHVrWljlfpbr67n/6JQtvN3G+j4ojs1j
CPSFAyFFJoKHTHE89joO+RAK2NYs46yF2nEIfG3x11+ybf76JVu2KZXu6K6J1sDWf6HY9diZ/aAk
uEwls/TWTE0Sk8s029YJ/fwYC9DnqjH2zqhJHOWxv88mEZ/yvqZPOhUGHlvaNdvcKgYkk4l38G36
HZkSD7UdHdJZEoPkDzWkYxzdWX19fSmKYGV5frlKHc8jrRQfFa4BuqKCUITYpicAW6JaAU8n78KO
HwJ9MtYu0HUcCChRzIjZi+6CGmpM/aaeX64/shr5RQK5gL1j0nQCHXaiFd0u6yYftqQai5uMg/NE
f/rCRBVXhGObW19N6BdM2/mUtT0/0oJzaWvVy7wGBXWRPzS1dvSSEL2mFWEq0hOQkhjBb+OgH3ZE
cPBFFejBENTwJBrPdLW1I4Kd6L6zjOaScwwitKH6m2fG/dMz49gOwfCGKfmfCe7w51uNE2NA10uD
KcIWH+blviGs7QHYf3UKi/GM0WJhBJqVbg2IoEtZUeIUOkO2K0AOTIR68IHNIsau8Z1MJCvN1KZG
ZWiBGAnur29bq8AdWMwwB725L9sk3muBhjGGfuh9Sa4WkWeGszWdiq3BFP26c+n7ljX2unIIHojV
fbBGOz5VoULZOlG/zhLNdMCsLF2GeKGbqRvLIvANK/v5ulyP9kBU7CQSoM5dt2BSGR6VafrkKrp0
fJ06PSLK2MWJbj878OB2lQNCGK43vqAg0ejqJjCQYJx0wcd7VcqbqGyZCGB7e6issNxNnfMypO7d
VYd6fUFefAd+DdWO6dlrL+WoSeRr+5QTzLeQlj48NZW4eKWkbB9SVBumQU9m9AiqUBnDDiJ7IBNF
k1oFmSq+MM1ZFZmr3p1Zpde1MMisDhtaZ2lsCTjTMU0k7mkKszeO1PHuj5/Lfev010+39acFyZ1J
mKQKOhylFdyKn+8SLbAoiASQGryp7qZGYw2R0ao3mqLL25mBvmtIjqAQ1mkz9LVLtG3cPsiRxWjk
DpMLJG4gGrsC962D4M8OxUpo8qlrw+au1cbgPKlPtqXq+zKiKed7IacvwuvTSNzpdZMCztGS70Wf
fHeL6YQyUzuqllJ2qJiIFFNPlglxlesiQGN9hbFMNUrOXkjCLwmE6/1kPDtYicLKyR+uL3nbggxB
/fRoFJxZxmFwUJGChJegy9bNvBYMskI3NUXpvlfiW5iE9WctD1Bo582LD+APBkNK7GekJ89gIccl
JE9z+9cX3jR+XVZdln9XV9J12dK49j9feCnHVuGsAvjtuLhNrKKIwRLl6c6Waz3tv0QgcWHpBcTs
Zrl14xUeCI2sfq3MmOhqHUVXhMAOAVfO2AatBT1O2z/Vyr74wMzvo0jErNXUtWaF2XOmBrK42gfb
Gz5fxdfXF6+lqR4K/80ZDVxDVucaT5CANgzg9aVew+j2oEPSyEgr1EiIzXqzn24EVS7nYPoxQX7r
S9j3f31thP7rxQFTqpgvOArVkWm5zrwn/UBOrSHTFR5IbSrQgATl0dd3gGg4bgfF7kqccvALWpTc
tPpsUth0+cRnW8fsOR/nk0KUS4/e+0MqQyjKiaqOUzt4N9LuX5TlM1wBASWOV0Jg21jfKKAE1NL6
YKSiftIyvTkMmJQgnZHtUXvjWhAaAUyiTzc5Uka6x+EnnE8BpCfyAmgxpiejd+ifm3l6CluPPudE
P9wd3WBfB0RsEBmSrjXOJ8/UHe4K4tBq0OP+1CWyoSZ2rTvmjqhpuKKsosaNU/aLFv0/57rOm0ja
JUDnSihLFHRKrALItjOwRHEh6Hx2pDHPhwQJvuscEgi8jJOy34j57fXnHOY+O1jIIB6xXfhlBAtW
WdO6bdwFUljzTTetNdUq6YmDUGsmTz6KhUEQsWJpOO2coD+MRBtxZrHMx0pWt2FRQ9Fs7S9oUb5n
XlTc6RpVTR4jBb5CSjUM8EyzaYNb0wUnZXxfzD4otI9fgTOGx+s7v2jDv3myhJx3th8PWdw0LGSK
Y5ahdNPQ9Z/vHligU+IGJWmsNOS3V7xpOTvC0GxORK2S6Jjpdn/MVctYw8yb7DXuzHc/D750SlV3
jHtQnMcNhLN0cleyQSvJxjFsq4og7qHp7MMEfHNXNBgORGPe9RYBsXlVEp1SypQJzKymbp2cqdrn
68/YrPJHlUKjur4dQ4IOtdzT39y4XfVxVGxqs+hvwkGIg8OduJWjquezC3MYganasSwXREOzb6H+
v9e9dW8W9i079nS8koQ63WZfI9v8OJX9tHM9Uo+REyVxnAdoJdoDQ6jiLTRpdAV00Z5xQueLkPhx
fBbejdm5jx8+GA3N4sdN1wskdC5QAiB8WTyuelrcBz0rswfdEm9BSwLQBLUnHIctA8PxE6OabC1r
Ye2Y8a3IymLyGui9sU74BXJeGp0R/AhgcaihhzclhtUEqhljQc25/dihwxw1Z2mL8uyiFJ39IT2K
sOVYglu53vnX5b+v2/pIwTRjW4YLc4p6OSWtubm+7WbsMEKNO+mkN1elL7kI+a2+ymEEnmRWuFxB
E5ta6DZn0KzjCktr/uwqwSQPUidOYup6Mr7JNKHsrEtrOSbaCPYqWXXRwBU1NHQHbPMvEU3tFbpE
bwstk6WzjfR6y/wNLHvdT5+TZDhbsje/w9xakh38d6dyYc438c83uWmzN5u6a3NWtdQvx7vJH0Rq
l4IqIIpjWINlsop4pJ4HQJ6EWI7+V6A1GJxbm8wVUJHM0mu82kZ5Z1jiPBgiemrHcwPE71zo0S6b
AiAkDGlpPfuW3BLlzJQN9gIwaCAkDHQRRyrorEwspmBtJzq5ZlG0LCcde6BN0vomCslkHRlWREat
Lp2y26ciJ5xlJvIlwlWnpue2k6iDouyxYDR7bw/i44logqG5fFQLlUv8RdjjmNaleWgJ0n2wBNLP
IasOom/IxLPCKL3JPttNEJyuL1cOp2o4JfFI6XTN8DLo7iLI2uJlpKe+SW3uIdP2i5e4sR4tFztY
YMLr62ZSPvT9YKbPIXCbTUJ8XcVKSQ37yayUv770vrI5AsXy4+d8QYhCIZHeKfh1B6Y2yUovpXsi
4ZZGIojAA12IYHE1E7hJjbKq6uDwEK+A3IsBVYPPfMw6+1YLR+ZF4MOYx959tCfE2J1S7ZUQLtD4
BN6g6De8c5Va9pLYpgACBnqIXIhk64CohHMQzcBTRKd29hC2vQ5+ibicntM2Z1kGGvU88mZBrg4c
1s17ICUrhGnGkyFt/7ayEMDF1YfzE+ncJ2cYiMfwYKPpo/45BCV32816z3AUUE+z3m13ThpTm1ns
WOipme0ponc9YxJbg+Z9h8IdjR3hi4a2++tTgQGZ/Yc73jZ0y2AmaZnz0q6bAGt+XtaDXhDlGnso
i3CAJIba2TGqg3y6D9hzClCtu4LeMN1NLLKDsxdmHu0a/yIl008veA5QTkfw1EaRHe2+lY9ekt26
vrP+2CoFeitRQ2cYsJiCKQCPV3DmbOnh7q0m2/z1N+P+zIbnm+GptRT7kyTUgos1f7M/nHAmpqq0
kWqikkINySjakxezYDB2tYEYBculP8PAQllOkCrardmXGFrmokkvSkSNdX8QjHxxGFBh+6mLJuEK
NcSnG+4n4LZIDMeXzoadQEpfkUvrK24Fps9R+eXjd1pdozHgI9KcAdgmEV4FgaQ0IBt20/rqNhgH
nhySKKtwljuFoSBNjoCvD1ujjdrxWCmxVTqhCXUIgbfwUHEZIQxJn2nnIx0Ve90MsXnjDA/JyDAn
yrhztEY9YGfpT+IK1S6T77g28XP1KTkkQ4kDg0edo8M4HVDRkP7cb7uAROM+h10hyLE13Pg01mgD
qDebddYr4kdN2uKN9zWIPQbDpEDuNFftJ9DfyyEq5IsLim6Jmjs7zEEu1/NJ9OQrr98NDpPVKySd
+ON3sGvuEfNQCOU0vlyNcuRt+EQH+2p3fVvAT/ubG9v5uVK38UhJKRxHMCCW6KDkfBr+4V4gjgU2
vtV8zWc25jjNhjfjem1IK0K/zfKyKHRfu0QzHcpzjJONzfreRGZMtl3HIXl+/LWRLu5MXcvsARl4
i1FjkBphaxbuBhnMGSxtsy3pB26ijKMEJgVvmURVhybeJI1R1N1lbGeRKlMpweFqz3EPvI7XygNJ
TebHLYF47F82vGrO/+vGOaDMMYvPs1BPscYZvd6vecCmg+GmdLT5SUj+AF1120IoYZD8x6p6g5g6
o9SXq6wY6m0ypPVdNAFTjqcSzvHVMG0VZ4vRMvxSIsdF2APaibyaFIE7bxyXuSf1xbVXg1Z/vAmN
9LHH/XLQupyZ5/wjv7fMldW2+f3ksOVkN4ZVO+CdfMgv/nRsvGnphLA+EvE9qFXLsS6iGY/Ky/Ve
w6R6/OtnXhJI8dMCxufs6BxKbcDKQjnOL+dSUGt2ovLk62A899LuPioZiu9ixZ7a7cIkqM7pRGHR
xsGzbQQ7kI/jF9HBVWiiy8ct0ZPgvI2ajrPjSFvKtLgOnSw/lx5tgjSp8MiMdvEZaSRs+bsqtZNX
9Dfvk+XED1rSxYdiUHINI2Pps0i9+X4/LGNJZURlVxBTvtIm6Z+uL868wQId/+urQAH2p8vggMYX
EmGxgJln/9IDpeUXUhrTv+yrFNWc4OQYdcb0qhJo7J7/Jcv0aZNGyctY8dlgBjM3toEDFk50sUMt
mcMu4OiiS1Rh5ESVr2W2BcV3kk5dfVYBu1NCEuiNFhSfioANeUzD8XJ9cVCCHsxgAszlfRJEOL/N
P9Brzt+N5X+a30z/9bOc9mos0y99VsXoasBc4Z4sl9cDSTifTyxTe2Q4l9+CKkmZ0E2ItugXbibf
3/JEOYzw4CBnyClR+wDTCqIWxSJU4fx1TBGY4IGsTr7lLsx5jNN04ad2UDHGj+K9JwH0bBPCxbA+
vskG71M3EQuS8PmeTPIpt0nDzo5ptF5cu1MheUnHOpZfpTEBObEwbqOmpBcf5Tvst+ZL6UlIeRaO
paqqoNx7rXrqAhPwXwQVHYfpzrBeaDh8rWYbXCGbgj0kw1kdVjCVUBceOok5hIfcJbJs7pN1jTS3
18feHBtjl8wtOwb/H79J4Qc/+O1sCouySzP+gUcmXgLhEtzOnRgQjwy9921o0l2d4EitKnAbuKLr
o5xfqM7rIw4c1evxkdarsfuoUAwvt7fElI9PoZWuvKjbfPj8/Cru76+ezmlQZ3eQt14YZ6eu8r0T
KSL0IROG1B9/RzzYZz2NKpj4LwVa9xf0MifkgtoGgWmxhqIRvEG8KNyaJvNYoojyMw5g7aNBv/Yp
DQKs9a2zK0y8yq7MukuRWyMQt8Q8FJbV7g2zZ84y+9v1KdlmbeAT320/ZvmY30mZNJuc+fwuzY2H
dMy1O9UQaEWU42meUUH/jd2DJnUmN4NsbnMbSeI0tc0aFKm5UiN8Vig/yaqpWhvtd5gfCJbhQGjZ
PoxNDLya0vRTkZX6M3iKfqc6O3m3MiTk18mYp7+3wDVhJMbNLiWByZBqPHnT6N36PfxPU/lym9Xm
dDB1bTH5Xf7esGxhTBifTc7HtzVssx1yl23mj5iPSle+JLDM12VdMte0IGaMVBVieBlHr4KwyPlD
dloEkpAOVCmr75nB5dAy4CC+JBgvI1+6rd78KboFg9vc1EpvtjGeXWLZ/H5Xq6jZdaOO7qesiU+O
h1MfwqZpRHIvIfyB57LvK9PuV1dga6TS8fBBOzYdnYXB6U8Z4VV+FLp/0I4NlSyxk+aPuQdvMu6J
bu/d6bmms087Gq6hoGDC0eIlA8wwAIQPemc2d9dFcI5Y8r/ll486rf7nf/L+PS/GimSo5pe3/3zM
U/77z59imX7+E/88he9VXuffm19/109/iL/4j3949dq8/vRmnQFyH+/ab9V4j/Uwaa7/AF/i/Dv/
u7/4H9+uf8vjWHz7x2/veZsxkL3/ho42++2PX5pnW6zy/z7J6f9U6bcsfP3l9/+R42T9bkmoFA5H
eg73StKi7q85Tqb83WSPkK5Nk5QuqeTEn+VVExD+JH6XujBtV0rgCq6ls9fWeTv/knR+pyrm43V0
k1pBKve3//quf/pg/vVB/Th6ZCr383ZFP0NnhGIpqSsGYWzfP5/OKqtuRs2eBdhC6hTH5AHBkHV2
bp4na1XOZDnmqTJdpq4Y1wZ0lSVDCJYNCo5PZaCw6OTQHZYYDqNLa4YGyDWDYUYZNgejAXRsFC5i
8Qpx5FMVtjH+JKwZOUoA6vc4wgtYqMK/qz0tp6WQYTjNIRd9StJ22JWxMd2wQ+n+YsRcuwFVI79b
loj2TRLFD2UXaTseT4MQRG/6BJ7GWgWa4x4pHaDPjk0a3BYpZlEflyGqZKtSS2LKSaauTW/TdSnS
HeyuLA0p9FCrInAhq0HOBVVsHB270T+hN+zWuhPcqmKS+O6KZ4tdZhPZ5AOProoH9IUR2gBbQzJN
IgrkhNyAUtS4/bDSnCG9JFqCXIv0b7EXCXI3PYLb1BlyvM1CFFvTRALKIi0wcWW4VdA8+/Z3bYbu
Fdwpl24cQfPpGiPQMbPXPgrUi9Z41a2DEwyKmEMwpUiV5JupwtM0RebJFIj5/Z40u8L0RjL6DHR+
egqaOYkzgdqkpg8SlcanKPTQwkSIPZd5SIbCxpTkmy+mnshjRKPlNkni6rGryMSKksam3jfGuStW
P6QFgMVuqIlkFlG4josgeW3DgFSHuIrHHMca4Y1GgQlaGT1mL+5y5ChG/dSG0Jd63whgmqrsJVY4
1ZLGg3SdyapBXiQxto6l/+xZZbfnFCIfezvFNk9Jfx7ybroLEhVUjD9IHzftKXoiSV6caVMoyCYJ
s2Sus6qWcFwm5DlOHjzWTj1BcrWze+aTKHaHymNsR9yK+znsfaT4QQcS0gRQiZ6uI7YoVRpwl0CF
r5MXJa+17tTEYiHuWMQd6VqkKNI0nfyU01miDzTPZCVfbV9FL6FFP3xFr7h6F2NELGgUBzsSGnDP
mE2i77wRYQ0FMSG6DPGbp7RIxlfDiB3wVIwgoKNPPqb4sr8MRjeh9LPhfEibf9n0i/qSWii810jh
3H3RedgAAWJi3JbNzFWwfD45iFXI1kXf3zperWGNIHURBnPUX3y9pCUrGr9mK23zbAXgiv1tzFRH
rDkb7mUynegcYq94o6jAFjYFPQ8LlmEGNr75mhizWU3hS1v6mTRBeAn7WwWd8hbMabsFKw/hbGg0
JveJu6f3TtjOWCQn0HnOJ9/D1aIhPNiGJOX4zLDJkafWSXEJEzz12jNgsNa05ABU6S2dn8zWLqGT
Bp+yJCYS20uDgz/GoMYGlsSdY/XqOA4K80eEIBrdBkrzhRFLJgdOWBZMidz6zRtKD3hnOpRr6tLu
fox0lxOd3R0diVCQPKXkUpdjnS2HPALfpIypPei6LLYtDoC1R4tgl4fgTSRe43VUV6hGZOfGTDMy
d+u6MjoSb9nuQhwIdAFVWT9JRlQ3fdOiRSyAvWJ4Qus5IWAWCJvWEyllC9Ou/L1NQ+kTerLqVbhD
fomgNB6qzNL2gxLhtijyKVhYKQpiWZLaMCrBx9rBJHuawA89BJzpvrs+UQquLuh9t55ifdG/jU71
SLrU0pvEwG3gFGrljXm70gzSx6bCKW6o0edyQRcYjgNj36KQXWAM1vHPBGQrV162cYfI4J+B7VCm
PfNDlnadg7nkTA593od9J6anxOnHvRHiBq+7LNxyDMTR0+lItxwMrMIVhLlliX6iDuhva2y9e9EP
yOuiYAa4tc5rV08x+B2zO1hpZiOu0RBYECBzSUcgTk3mN6dQpubXXHjhJgJ+9+KVbXbRAdktoZ7B
K3RVXq0zDjuLJkBVbNl2fdBdTI9kPRdPggzZ/cgUiZlISlNWuVn11aUtuLBEP1XcFSnPHKTJDXa3
HsuFm6xdGQ7LydeshU3IAnMhI9gCaAWjHyFmr7S+/4I8FnNoKYcTgp0QYVNjMklBI3HrNsBS0Rzq
AaaQ2qY5Wnid2DQRUel9V3j7AbHuPvGFtakrRdpDabhb/mmk1KZZiPuhI3MPdmerbQBfg+1tOCJv
u7pX39oxcjmxaT3c1DEq2J1ri1qiJugFJXBYjjthgtYl6SfEhiEMHzupPwBPjxQRi6uqyjRwksJ7
An0V2rC1Bv8pt+voc28Xcidtt/tWtW15r7dT+pbQOH8F2hJQdveGmd64bV0eHUREBynr7MavDP2M
AAREFPpqZzFAWX4aZW/cVNAPEKYXcnwgZ8LamcLO9jGCi+KIbxAHxJDAdolo37/CaXBOIWb9hTYh
KOtUJdZiIg2agDR7Z8JjATLpKa7EZF5MBfIcDCpIrtqsVmnWqK0eeAH6BFU8NY7tvaYoNwgrZma7
qiiZtlWPIUcaRCKyz01ExBrNikPWG8MUZNe02KHQEQ4Al4ETOBHY/UlzWvnQpxjFuih3Zu2NXLvQ
Y5c8mlTBSJDQMxoMxJZ21eL4UKpR94hh7XfD0uVNqc9LOlHFW91rpieMFPmm4UC4yyoAaa2BIMDC
EPxUxHS8FqSSU+mEkfiiDW3f0qiIhscIieMrA11IAy4UgjuaFzH+294cT8jHjV2ejtmGr52JxFBN
t35G9WvnWroTyKa5bVF5lVk4fJaJ7b9XjS5vuYLp0qJBu0sSo93jrrMuTqOjx2AMRGKyW3quXMYB
9Uzow5xZS2iu+PGm8N13RL+3J+K3oUY6cgOWAqV0EZZbK0fIE8RWQf0ZaHOAHNMmwG3Pdu0Sf0nV
dcp6vNQYLtqVE2bGGUJkcS6YI34Tk+Yfew1QUOqGqmESR8HoDcF0HBJkwZgNgnMS2DzxihxNJLGk
ExVJWp7I7ku/aToxFZOw22IzRQ5p4pNPP2RVxbYkojJFZi9JNleE2L9MaRjeub4B/zQMw/fIIG4S
gxO1Y8OOkxQYGnIznCdrfUFcKUfQmyTM7MfSdYHo9VjcBm9ksCsbRenpw9Z5wuxZHEaywQ6Bk+pf
uddTlk7TKW5Tjg83Pql770PRpDd1IWCiy4SevO6o6iA7mJO4Q8fXqrEYT9M2W/uRQ8pdNwxn0l/1
HZRtLGDSoNUludy3mVFpj66ZRN+JGuKsavvECpGC8hlwa7+stSa5wyemvbW+3j5FhtlZSLgt0sHp
Ro2M62gUgkMZtaMmIO8SZtKOD6pK8rdg6tSz5U3UrBgvAuz0tjEefGrEA3li+Xaqs+EOaB3GTd3P
8N+nbqwtWD+md98tkg2y5enFNN3yRP4I8l9sba9W3BtwXQozPHQq6E+Wo5imilJ++Z9XlP+2XPyx
DP3nufiWPTTVt2/N6bX4X1BYzuKPf19ZbqrX7P3nynL+Ax+lpfs7KhLXdC3zo0aUTFk+SktN/Y5u
gD4kubyKnruQDGj+qC2V+J3aUSegXQnalJZNxfdHbTmXncqxLfR0UkjGrv+jiGAxa3x+mOGatomk
cu4II2tVdLF+GQLFJQm2EKL0RZL2466Tg7X2GtjI1f+LS0K4IskAs7sHlt2hz758tLscdHgLe8Ki
MowIB5Cj+4sfruIfdfCPde+fvzZlYmBh1GbYls5V/GW+rKda0dR5zb2bFrB42jZbKa+5lMGo3+Ug
kPNwpHCKehltQcTYwAs7jfW80pbu6LSrTm+cVdOqGNWbFH/TQ54/t58vHGJgRyAINt35P/sX1VqO
jZtZL8QgRGOcGWuJlXnOBPIyB+zoZ87LwW0kXUKzCgirfoFqPtbUKqPrOUPJ2uq1SMCIa04qbip1
8DgAP+VeiPVFlJCpSoyOXl37+wFz2hLSAyzaZI63IdF5myDjtDV0/xJg6laDJg5gwVlbVMv6QhQu
MDkW6uuLC6hlE0oGIxqf9d9chDkr+5eL4AoUZLqBvFHa0pmlfT+MjWTOObzxgZJ//NOkaJAFsRr6
KX8J7Bx9SB9ilzIfrxhHJxJHgvmcvd7Drr5+N2mth6dm7suBows2rOX3f30Pqbk18tP9bRkmj4nA
iueiU7B4MH/8CsPW4khbAYUYmTNi7ZhnFz78VL/Ad5oblbkpbGdFSkPDpUX5lCYCRv0cb52omNCl
ZBSLcp4BRlOZrqZaNiv2zfGIIkXBXEvf3AouqTlczCqEJTWbLBQgIQmB596VwZa+xXgMIhD48eTX
5x5/xtLFLRTVib4MDOxJdTTFt1deni4IGClsMNItamYfJcSNGJiSyES84YrGaZR1Z6Cza0Y8Ia5e
AwXnrGciBSvYmVCrFkVkrGoiex9lO03nv7mUf7rj0TK5XEnLZNFitZov9Q8ftjkgLIMlTe8lqL5e
E8RrRUh4jYg/n0YAe4W6eJnILlU1izLB3Z+LuP6ul15/bhlZkspKdCTGn4wugntf6Hl1Si33C38W
EjL9qROq6jdkMvVJDDVCh45UEUivFhApUzshDFv96+PoJZfIJaV0ncwT6cHAaWlV7Y1paufE629k
EBL3UK2TSRERCvrFdrzHbB5TTfYol209wjtAFw0i0Gg2jlOGm5gsHFon97ZV3XXdMDfcU2g9yDis
ISxugzr76iZ4651BHHzV+jd/c32Jjf/pZp3lBdLQmctbNvgNqVu/TOdSh/bEQF2+EH00IRu1QNo3
7u0wQO+NaVVrcyJUOpINlTv1ypvTorTp1ovh4/nNTZibOjnLsCTHQnxxUnepvG5u3b1XthmevCA1
lmYOcQtf8ZputH1KasNctEIzVl0h3iqaPks151pZgfE9mB/kyfA+D/SnbXtqj5OAIBeQwR5TFqON
wXKOnKm6oVAiJmQalyjwCEgW4oYTqHGE/vgYzCm4c/bWNIdwEcbVRTpdAO0L4FJrV+QGwt0qeuIw
vPUJ8oKkQOJYsFbMfmGhprdtsVaoKhlczcbF6t4mEgxiXbGiL3s057QwlN6TWd8HhIgVc5rYOJXz
iDUha1pC0nLekijiI0se4pm654GvwCOocXZ1XDSkFYlldVw92OIBBlAGygAqWSKQBGFuWyojuktJ
PcvH+zpttu3EslvHYjinwXeY4ubzLFq2OWXSJlbHiXknmOGIQAQ6/UWXyX1PnBazLdWcwMIMmyCR
TIHyOrvLspMxq+9VfAay0kwXb/aVM6Z28SR2VrEWGV8Eq4BYaVo4a3MdLLxqNNaCYJ+LoftbzGKv
fQpNs67GcxyPxjkqOMtfXxCvVFw/m9ASI9/ZXTp9MtziYCMxRyhtmAcTn/IKDro/h6uRe+MGxRm9
VrSVpVA3Iq9djIjZRSnhbPtWhVvVFt7FceDFQLisX8iB/B4kjvO1R6MiYCWSf3ZbayI4X1/cxjO3
w8hV9nHYQTb1brrUm8eCGRpP/gI61VeT2VW+mxO9CWPf/GbGL0Xuk8hlEHMfk5z+tfBw1bht/iVU
db/Qktx89lJ6AI6p+gfQ6yuAbBYGz6y+1dGrDJlISQ5DYe/T0L6xvQM8Afsx0LvPZlsMt1fdLhzX
RTJJciCG7kJMbfsYEu5mWGSvxmWxCfECbkpEL9tS89Hh2u5zPfb21qymal2UQXCZ2O9dt1F3dAmm
c4d89WoZoPtBFiVi65XFuJbl09m7He7qlOP2MgkJnpkc4pbIxzQeqoaoi4B76Mn0/NcBPM0XrzTu
cuKXEQupeulrnXvIs1aszab6fn1XU5Koj18o4e1kvXmY9ABGZY6f9vDxYmi3H5Y0Wm9k5c7PeBkW
c05Vdtfm4cWIySfxjZboPVPvFmUWuC+udwu6xF3rRePNRfchB3R1Bm9nIW/Ie2IYs3EjAShwYw9+
sQz/L03n1d02smbRX4S1kMMrAAYxSCKV/YJl2RZyLBRQwK+fjZ6Zh+vbbrdtiSSqvnDOPtM8RJ6t
+5f//cEB8ZAh2SsiObUelFY5Eqn0/z/gOy6PU0snE/S8OQhbmPSX82cigHcXfClRDggTwUSfXEo7
sxBKE9zsmYjjs0y/MZwBD4ZE98GsZAKKy37PjZuWj/+YOcPwyMtbg9vmyat79+yUiBxZRV6M3jB/
u9O+Vdn0nW+2UXNcEVzbPACHYaOvd53tnOxCIJXjZ01G6th/SGNpkf9VTOLmW2iNisnBRbTARO7t
s8jH8QGTCQCpciGd2VnhIUh4txBUfgRAjDcKnBaXqvPR5tkLgn0VNZu3CMKWEZnMQoCGuxRoui7F
oR7G8QQgcjwZ/rQc9bqOG00wWnDW+Q6h1Y9TbAIHWnStChC2jPM/ZLjfubnFRFtUK4ZDHpFm6tWp
9/ngJV1t3lLRIK4YxjtEYQYBwyFQ+CNLOGZiDO5V2t2ZC5MSH7SsLVJ9fB6WjJc3MROCRZvglI/A
2zr0aJ5dGCeD9RuhyfWflkv4oorEfCBmdKe3J7I86NIDOYUV0WifuEGbCPP//wnfvTllNzQFy6/9
YI3NK/NrfYciUNuN20/LuqR0X33vDorh3yR59+p1PRi1SjF82uw6uwVzNz9IzzMPRttX79YYAJSr
ZXv5z5QxSBIEUy/oDza8nHhSFoXFbDMnL/IswOsD2hgAC/iQkUrPzUkvY927cxn+HRHZkgE62NPd
9Jb2NNgMbu21nu7E09eXNKg+JseV91aT8u4hksAdQqaaxgJ586L0iBKwzS8lc1bAIhvx17LPsALx
bmVc14EkUQGfON5ubfvH/37+3z/5QIIJPCt3qpXpczXnOdQ6vrVElNVlsD8Gq59+k1k/7nx/3qD8
LGEGE4qpTXRVXqKDo3iJyVoxj/8J9Hg6ggOyw4YASnQDnQU1R3EZIVuBkZdUAJ/B/EF3dJctr4/a
cwWP6Vdg1HiOWW+tiLjcYTissn7vk8a7wbX3bkCEnO2m+/vf96mnHfYCdAQeF0nkCSwZ/2XME3tV
x3afHQwThFE/d9Zb1nY0kQ0zqgS2ezCf0B/1+7yqZpg4fnOZlpFDHwQ08XrtxUTIfegX4or/M3El
fQ+dKmd0hmwv2ePPCyItY2Zfu1b/QozoYgId0ZzGj5ddzdnOBHfIebSz13VoL1xp070g7uhQ+1AG
isK/dSqBYK7PuFWJisBSy3icJfvj0OndDTnFmXhjeclrbOxFCpccWRJxzZY5vS1N559ssLr70Xfw
WiCVCKVvVY/e6jlhp0HvzsblJaBdwHAhYLk3/0ZCAD5Km/Q0E/Xq82B2DL9qXRA/kuVxo9K/ZKwN
+//+83ogDDN1t+pDzN8S0MOl783+JS+NXy0ouEuwxeAinttjrXMAUxvtHiX/Ddd4E8sZlsmqt5G0
n6CjqKeeaKwcH3rDrdIttfizFuZfa2arZjkz/F7b3nAHDllnEyqhAcup0flXkm+Jzy65umhAKryV
8PVhVxSghjtzLsMRSUnDxvu8dmwi1rY5VNZwt7lIT5Qo86MpUPWPU3nRg84gFKsIs44Vryqh6OQv
ZDIXmf3LVvifZ9Pn78wpEbt1zPeT/2TNpB+03uaxa4K4qGtYKgGlKcKiGQDZ2zJOVzG1N2EAjFQz
Uk6M33us2i3AG/ATRupgp9T5+/MST70wX9zCerf41J957fDh7l2iqVDbjOfeXvITNuiw2HtTpx+Q
7F0thsA77FpAp9bpO+DPSdNpF9Q+W8MM8zbhZzvFjH8E7DuZ4dwl2pWNx45FDsREWU8Xd/CKXT6q
ZbdiYnR9CmYQdDGx94zUNx+ANzaoRoiDmvtkr4SDoVpjEyQDRf7DPZfw+sxAo4htNMo0Uzt3lq8O
bcvUXg991n63ymOMiNMb3j09jCVfFDIYPls/WgEBdYJGomcXAxYjyruaToE0jGDtuQXKSQv1Zfml
l3pxt+oDeUrYS+4MAbwT62gzMlu+FJnNt34Ve9VZ3XksSSM3E//k5lvNph8CBPthNjdPtCLchgNk
r+Hc5zpgUSceaOfjxmR6n6vkxW204Kitxj7tWkzigfzlNMxDoeewE0k3IXv+qCjMUIeTOG3jew+a
OO/Y8ZN3uR5V9XeFR6ilmX5prPWVEW177Ft/itXEGTYqRdhLdZHgoETNx9LDOgqmXLk4DuZXQwrk
78GXx90SDnmH4NizfRi37UcBFT+aAi1neE4ZUxLdMw+/BgydfA+Eterii86aU3KGzpKLmsn28o+B
KVk/sx6xfXsHwTFHRZEPZ6BjV6n7NzSlWmxaSXckROqalsGVTIU34gXSeG6dBIgdccuG5+yg+f1I
DhEIqhOaYjwy4WJ8NZY5YoQpPvNFs3lPHLlfSFO18LfvYc8DukDx1LvEjtKbTjgg52dR/pldbE5B
VT8t5bemF/6Buk691I3+S38jdsw6ImKoomxtoiYQ1l7PWEN1/Xq5JpMZsx4FeemBgbMbwiMd1V78
BVwf1uRv31+Owu03cIbwYzdPnZNih8Y+eGFiQwsFdaPqnHI/ZT1xA6N1J0bsZJXZSKrKpjTpGofj
cnyYQYdFEJQIQq0a/bEo/aswulcHmh4rNAtVhuxPFXkU0NPEzhoUFKxp2VUQjMCsLec0HdXF46jX
XWIfbda+87L8K/ISV49DJi/7O0Kmay6RYDgLCwk6MQBhYWntA1O+t7y2nxdFYOgk2U41bfCvWBAA
LL2z10WdHppXzySADvX2r7QFW9r3mYtoj+M0xdcmBZKrhUyJboFjBRX9qK8zrCo3deOUFrNacWCV
fLdJRW6xJfxLUJPHuhrFEE8OicvucKpBIx7qrnhrtCR4CRBDIz8Rd41IF5gjMKd9Eq1I8AxF6lsE
kjK2Q2we6hivHraeCOAOxBrd480veEhKDdqJoe1nn2TjdeUjHHAchZaRQIbi8nbT5F5MoPndHqic
w7JxmDj/M8ASB0i1v5u0AebkIWJw+vpcCStl5DKvUCmbH8DRRHnrTnseFVDckiULacXcBtY5Se3k
1nTujaJKN7X2t2/7N0UHZ7bVx9p6t0KQPG4pB3aSNzSHxaca8fEao2dpCEtiEFuLCor4TDO1OusB
CTXDwNG4ZFP/B34QVyMNFZ/JBcCObKMmQTThsdeHvSjLKw7MeUcZZJGpHfu17CiWK3XMRvWnxxjI
gdA/lF4q4hXMeSz8R6eo7TCdmr+64dxJi8AsuwXJuighYr+tmQvxlUfYqmzK71hZYL75hIhoDHhZ
M9wJRtteWvS1EeRlUrNx4k7bPCIB4xWXREDmbcaf5CInUU1/NQCqH9eyPCMMtB8QS7KxZnN4RLIF
qcIxQ3tIG+ItnC+GAi04wV8Ci84BaRGx6inhbKZXQ9QKHsgRrKPZZpnXrPWRSPTyjrl218mP0k3J
Fp5bzHarc/MTyuSUOi5SZuPEvpnQ3zrkqXW9wdloOFE5Q6deMoGDbRtEmOhfcRXyGtSiZvBtIIk0
YfVVLWdpk9nkiXnwD7V5iWZfofzOq0NW/5el18C3Rh4m9YH3YMk/B7K5p6n7HhOCyqRmwsjEzEoU
bLDvqNCVWuuNdw8mYv6atLhMnX9LXveoY8Bhoovwq4d2IO46cV+8NaOFmQsVGZPxYFtEbXSuT+jw
jLjB+ajMMo8cBAAR/pNDoVO/AgaL5j6fQn8JiJ4q0PgyWLhD/rilBUo3vzQI+HI5EsymcGKg3RTM
BIPJ4pravYowYIyhPzNid3quIoDNbPMUyLMWiVMK8WGH/+OhhNcXdS0WDup7NtOkYMRG5+70Br6P
uyTZ0STJ2WAK6LoECG7rhhwy/amY0MY4WQXFy9sPYh0iv0KPouP1jOcMKcc6hoY+d9dBHEwDWPJc
86rj5I9pCgR5HoGLFYKkUw5SooLbvVMyDbZZXY7QbnbeJlsNuOC7htdOQhO1fFo0spfjpfNyOI4r
V4qJdYEVfKxbqHIHg8qolOaycyhrSYwKU7/z90Y1OJynQK6mfJpistjQizdoP3x7IkNwOttm9avJ
BVrgRuMrcOAlV72NK62N64mdg+++jIth75E5Sh443MRJFpliJYJtO9AYmttkgM2WP0WI6Inx+XCd
7FtHpwhabHwlpfBllP07Frgt7AfmFE0S6uHNwLt6xhFToqaZKVdDcrW5H/Z+oo7+OKMuaEBELk7T
7gpH/zYZfcX9YACIdbeyTmfMndolavVkT3FKpL0baNdyW7uv1EFhU/nAH3y0TTMGdSfHSaVy8Iuc
Dhz+Kb2WUoxO/RVbGlaeEacPCsP+4hfmm5YlHuD0FTwZarRrrVvElTQktmgSwpnnaacp44xDRsoz
tMizUISaIesy+QY9LUos7tQ6T3cknOKHLA1iPHR+jza9WUExnrKU58pZjd1siDIWm6yX7GLqWTfy
+P1HgXkxL2cwuWYxndqEMBTAB+ZF4JcWOqmWgWNNLHP429dWW3eOWncwf4AwzYwDodR3M7BAObbQ
jDn45pWbcIQJB7h+33WqY667wYZHl1Y2i+1u+er9+VnvmK4AHyR3tnFuYlFPGe7B3CFVqdNMBE77
aUm0Q2VmXtiV9hXl/pklgcORVoqDj5k5dOyctCU2U/v/EgkZ4+9oZ18D7GDM07hL+Cj1vXZgmTbE
+GvbiH5PoDFvaS4G+E4DwOFTUxHrOpLkF4mBsHmjW5szfAJiYVIOwGEOjulqD0c8RCBgChkbiUcr
ZpLbgyDEj4m2CPZVqkJ9KLBYjP1Xz/tzJZruoXSyh0Rr2kOuZeZVlSsKRuJYB0HUjdF/jQr8kzGS
yNrBOHowtoQZzTjRRi7v1mCDpu/wOaFvPCSSA1hMGKFoL/Nj6UDxtgUeRPCjnpYaj6DKH9pgmcLB
XYkGM6pnJB0lhoBQivEndSFyji5SVTONpTN/a87wSHMQ65ChWv8xwB0SZ2Q4CFRju8En4RGrslpa
/HfXTNpAx7rfHnqQUO3dmfzdFX9A5v1RC//Kqmpkd0CzJGkoCyc1AnPZO3+oxu4lvScX+1S5/xJx
zNgMfHV8wIVl7/x0ehcOcU9OCju+7kcqBb7JXjWvejUaIIo8gOpLHyl9NbiUva9iKZG1GvTHTvFP
1sV9wbJngA9JmscucXbwlBkrB0Q4kMw4dcwm3T/dbH+LyWBtmRYkRyU4ovXmvvzxFM9TXakPA1lZ
RMnwOgraFgLJTKzaEV080UzYLArqMvR2fJtlYPzNbMU80XhlBMbnjnN8qns09EkTzQT47TKXL7JY
MvDpXEJj78bLIo1ogrEOBu/Ql/obsB3m+/r2YORPNhbOpjslSQvurUKRaBXV6+iNT1p9K5KOynaG
jj0GG17cn5yHpNdfEOq+Vx6kTeiHjwOev2jwYaW5BW2F1Ag+0W1hx2ky/in78R25GuNfADAbrJhz
ZXohPnO4OjhUM0O6e8tzLC6SiR0KWR57qVVmNDntaRY4N9Ba/wS5a2wDlzXUvdibAXOzUBOD0ll/
leyHbXh9itIvnKd0N+L3JC7V/qbWIeU7+2adtLNm337y/iCCZNLijvZDxlg+Jtl9h4gZ/+ZAXap5
2/1aPEqq2IdiZgfXcLuQXJRw2pP+HFYBAaV53f4b1+TBVeKq6WpfzM77yPycr6cjntoC9lOWic9R
nUBZdUg8qNv0EYVZu9M5wG5dn8CgeV70Vl6rVIL/5veOi7nnu8VV3ZJXmfe/5kSLl9kXT7ow8RHa
1b9ZZ5ygl78T2lOKc/XZ0Z+incG/1LCn3yXCro8zs/I4QHFajLm6Dmmd4WKlKW+tlbW8uZxrVOwf
CbxMzxLUYImWnzBZf9jzdA68pQuhsOR72Mjihq7+vkBY2m+i3KiA8hOOrGAvYnrjLk+PovX3UDZL
b/weRf7mKru8682GQ0/Ld6In5sNqvjd+gRovWypqVYxMgDyGqMoQhs6LyvceKhBOCfme9bSvybQ8
Mc3OD2v22x6Yp8oBX/2SDWhBkW9BQjyYCY4fFsZ8yEzRXyzXimun3vnTzs1RtuuFiVSYxIIqDdwY
D+sLtmhOrI5ILV5v/8Xzqr+EC+ygia6fRZWcQfbjnZ/PfnsyiX8L9REsnll8KkTt+Ti8gGfQY9Mo
gS332rO90TWFpAy3l+QuTEm0RdvcW5MFQCBAJWAdGHhKN3rzfMqUOtgGyQeDsBgRtG0NWHLDYq8z
nSAZzKhHipgwvopv0K4jXvpT4G6Kf2N+nDw42/LNa1sgIuXq4DP0OTzTgMmCT7E0jRiQUnDL/Yjy
npGKL1FdsDKOe45fO+l+b3vGxP60SPw6msDqwyUV+9XWPnoPpWtpVluZCBQqCH5GUj6P9aK9mY33
WMkpPbN0n5H70yJgn3satKsl5amX+j4luaPvlB6Lwdt1ib9vauLt2fmF+J/suPbS10Qmn5WXbRUz
6WWMZTCPchKOczhonCwOlapu3OrJ+WztlbuotFUkRmL2pIMouCyo1BmfJYGzX4yBWMVbQpbrriBr
BXXzel9ahs/UsV+uR+3PVxxEU9LwQtzb0qpCFD2ftmBu6V6hPsAq6IlfHS2mWGtzJNN1judlA0Oh
1TNH/wNq1p+qH4hY7pATCHEQjI5IFTPFluSAebCIVb5BkpKCzgI+cKjm8jxNxaubiDs1KREm2hj2
upPsR/Z1+6nbNVv/ZJWQWk1zooqzWKjOkDhgNwCJhYwRBgPyBxMHagyJgZ2nLQHaBhWEt9HGOkxw
dihLa35Ku4bpGAE1JUwFFmjMZBoOXbUW5cUSxWPb9DlUDw9ry2SFSnV9zLI3LBmthglc2qgNbWIZ
EXCSS1/hs16CD9xzN4+U1mPLSIKxhCwYzLYUmQUe82Amu9swXxBApKda28S/Vfoa0IzFjuOiGVgG
IG8s+YyRqA0w9Q95ZU0hUu+B59eOJl14Md8mOAaOefCF6qCBzoxLwaRx9lv1jMr0kKrkvnoYOq2+
JtAIylDFuDow8vVD20MGrWNmfobIvIh25C4075drjj8cDVioBVC4iZFWGNTGZ8VcOXJGsoOK4oyc
t7nCs7Byk1GS/rp4xgHXNbcS0IK9X8mvap0uTtUnT/MS1sUSXBiENlxVaxK3XFd2Sdx4sp7yb7Or
jEPntD/uZBZcaHqyA/h4kxyJYiOYBR402XHcWhdXf8h8qlc2opivWRi7Zc65WSM/Xo+Vk/9gsmuB
5zKCS4yZGBpOJ3TpkcpG97h2QtG58vD3NYhXa+0kXQe7lOR5NgluHNiXeS1jtMZFElClK9mnYiNT
EZwws+3znX48VWt5FktV71w+Dicl1aldbWKD7TyBEgoXZ3EPngf9zCDabs3M31IDCpuD1krcxIiY
+BFXG7uTeOgbvpJl/IMCbmIuETiMfeVbxpPhwC4N0WKaV9OqLlncls4volHa96zun3tRkxNl6Pah
YHC5JY4EsbQm1Cs6YFCVsyL0OGhKz3xMW2Orjb8cS2sepudkLIvDsmnU1TiA7UltLmp34t1wscjY
6Kk627NYMCn+sEZ7TPXgqXQwq1tAO+kld3AXkFxlPy2bJbAEjAyAK4thtF/IdDt7+Fr++3+1gk7m
o4PWfPgAFUwnZndjOLI+0qZ6PAGrdA9BU704WXEjadqjZGI7ypZlN/sd2u8A38h6XhnJ+7XPUqwt
0FoUrNIlspwhKAV9UOsCQMjLk6hJA66as5wn6Iq6il2WqDy8xX4FpgZZ+bfTTjOOJ4p2AqfIgUgh
On6WIE41bMp09P0EM5Pm0XDTP1knuAM1tUtc5Ac5914sB3AsbLGTMCCbbZ90Np/ImkLF/kfLHQuD
CT6jEJytvftZoOhHN4jKY5Sr86TS6uDavOh6nuyDwWFo5r7AWzIj14Oqven4grERR11yky9bSJ2v
vRKwWUH3bacdnLOMtDRc6l01/OsqEpoUIcB5ylYRUwVpG/6nMQJeMkqgGtKfwGq2iCAKYOA++96H
4bUrs+6K4+6hrMjGqyQcOz5NHCa/p6p59hXe3WaaabYGevnS5WljhLkLHJ6UUpD4JBvlHjCjXtGF
aZfZ/8T4ml5MQhUgbqTknvXyqcJjdQncv7VoAK4N4ncavGQtrA9kpf6pGlz96uj1+zrwucxJskef
kU2PdpDesoEJh9Cl/lmY9bvmYKzuuvaAe6KNumfMkszI25ns3aT9WzZx1rsfQkOSgvDesn3nZHbr
WS+d4oLFJs3kd0oibrwkCOByyKAxYIu/wAiLgCzL1HU7GvPpzP1zqRp3JKics3oz9DiL/TNkfvaQ
VSj+2XpE5ERGmpNPj43jHFWP8TGV8/OgA2Px3HqFt6KR9zgk507Ow4ONTDqoUABYzlODefL3UjIi
81PqKbh66U0FhxyPEnLzVj+VAwFMGT7tnaUUPDLvbHrBqZYGNkcTYYQtPtyG2fHajpG2jo+I4PaI
sa19I3OiNdJeZyaNq2eCphJD2Vj3ug0Wr/T15mYg0UH13RAu4s7gBFttP2i0HWVlZTs7C7CGc5ST
V7rGW5qFEF4fygaSSeN/kcWdncfFe7AwiEWdmRH5ULQ7Ajx/qiJ/NpYMyA4SNr0Xx2Jlz9bCq5QD
tgnGZ1Y4KsxWq+n0D+zrEdKvihfRRxHXpvtxOHel+sVx5UdTZd6agHQevSxLWO+OFZc9iA8hyscS
r/j2P+kUx9nJK/paygBLZ9y7ObCKgppWjIS4Lqq8FLWJhbFskli8LYX7CpXoezFSEbrSuVpM8mJk
TqilmBFHBNmgbSrFynA/VJ5PtpSzvJEvtwys5sgEYC7uE/foE7WE5LAqtO/GIP2yy1w2sbR0WR9Q
FSyEtWSsLsocRUTlgU1K1C3Txmf2xubB7Ivf+Up8BWMnRjQp01qT3TMwjtaWVyHLPLb0HvFJxeTU
1b+VKp7xw+vxTMeHsJh2ULcgrBZLDuNdXlebOjQNhkdd0896IU8eKK9YC8z6QpThI0qpu5Wlh7Yk
qsV110/JG91mOokQn97Wyw472WuAjjXLuzbulMeINobY2FrVUZTv47g+9lUPKoyZFP7SNw1MhMze
OSZECL90N7JCPOG4h+g5AgJVOodVLv1ohslgB6dKsbYFbsY1tlxHo/si4+hC8mW3Y+H3uk5Fc7L7
4by5lR7c0vsL7xs9nEGhWzMrD6fag69k2QJlmPzAqECn2nP/ki6RRe2gkOQl6GtSi4gw4HVUqhoG
TrBwSCuRF2v23XEulQdQfllBtyWdPLaiPuplx5mEbOtI/xslaM3CTMHTnF2kPfoCGJUtCfbOvH12
9OroD8FvijMCK9wuYEtSIzai6ArTnnvAWPVuX9seaz1tr9m6Gw/NsoaS1NuKhIdjPqAvHIKvud+0
Z9vkFOV3s7PpniSiPLDQbCkpElDtSe4pLIz4Iw+uQgaZrQF1I/cYEoKTxRiJcaN2xs/0kaaEvOlB
Spnq+Q8kTDI+QQeTO6Q/kXrykBMS0ADBpr+gPquDMUNr6Ryt7OgTURzXvfanzTwVtmZ3UIVzZrgD
bELjRutR1Yfz3D4ZjD0TePyRbCHlFwwHzrmfv/PmN0y/iP8yJ/s+O25oNAoqZm3YkYP0gfYjThJO
3qKtYNcrMopZjiYxy/CoUD1xp3POQ0rYTz1fyXJkMrL+q3Pjynm8xD3iTJ6BX6XwPkYyQcjFgLst
6S1Ho4Dq3eNBmWsqwOzFx90a+13zx68dcjxsO54ES6d+QYhUWo+9VtwmIK37YM5ZO9pMISttLQ+M
eGpd+0lE4z4zkTV6wBmsSyuNQnpkImxMwB6JX8QH9ejr8E5r8sXAXPCrGcgwSDvDYcE3ZgJQjU2I
7DTb5qVw5iIGlrKng3s1av/3Kqt/rGCKcISPi4KkilFxn+ijbBxyFvactPnbD+4rzCJ2yBYfQJae
hyz7HdhIEXKps8mv/JFjKJXHwrV2vsFYbq27J8bgANr6w4C9kvCEBKFrqcbdP2mZe3zo9mF0DbYV
vrQjSQJOaDJFZPfDMCLQibmBnYIrlcfV7knv1RmpuUm3Q37OHTolEUQibMe5eHPTedh5Gad3z3Zd
m5NbYRqorbbi1Pa/B0tdsq1dDVBQ7zy5Hlt9OBPa8pP3lrcX87iHNS0IoMgwQUdIXP42sgVhMX1R
mCFRmud42iCIaSOYpvU3VRTf6TYr4DoCoouiKU6Gns1L8Gjm9K3Iftj7lGu9C0DRMvmHWseYUU/s
Zu8MjMcJzN1JC0h4M9poFEyYsfb0kQx5skOv3YYl/HMIh82xstqzyilLaxZIowduH6I2xB2i/Ep3
vre6J3fdOBBjJvsvgEld2C2aCq1gvGh4J3BSXTONNNNyct97luSsyD7L7MccVXqcZ670KfsmrwcI
qYe5wvKSPzyIziHJifULqkELO5QuobaUP31HknXWuofanp5aogWR3Z61Sq/3uJTvXBkcdOX2dtlG
7HbWnwXCN/Z0HugJBbqyFWqPB23ads9yfavHTMINnPEkZ9nngkGUbCcyUzJjx5b+NprZP5lp5xUP
C0oU76chgG/ggyDHDXkFgADtP+284nKIWftC4NmGyHrzx25uw3ttk8E7vg2zfnFnZhwKxzYC9vQ3
K705yNDRFvLXMgaUqoowGhtMLeL3QMSA8tho4ITEz0+QrQVVlpUlI6hdmvg8NIPzO8goNbEjHYvF
JUxay6/1NhAfm8LYb75o3iX1U05QKO2k/PTJUj7uvZUv2FFDQKPkh23Qf4O/+BJDqh0aS1FedMGu
APuGcd39Llke7Sd3/VghkUaKKZdWo4AdFKjYqTF+SzU+JUgRjcEbHpwO1RVjoI4pWPaeyGFvoHyK
NZ5PkbB+kYt6lxNrNKwlYndH3fzZGEkQVo5X7nuFds9TW0SFbp+YxeePeaHdSYCEL8jruQYy+fhv
Hy605cUYFalDtRcaBVA9XQ7/2P6/86pBskF/E7kU0PxaUYSO3ibYGmojitR7ZwVPQWE8Zh5AmCZg
fNd0zkNrGSZLQT6AVqtXh9WloWXF28UcuyctZclF3WpSzLSsA0hcq9cpezDL4r0p+URkARy53Ldl
qFOZHARfD8VhFlWL+xlUWhnBJKL21F+bof07cYHHaerfBpM2XQbz+3bUhsvVt8ptGeFwK7Lbsbzx
w7S7bGf44zO5RsJv7+bIfE3WDWhpiWR4kn/XgaZrNav20HPUXNu+Pa+rp+FdtlXcWZKLlRTdpJUK
JPhj4ac/bjp8My28zxIkeMo8NR4sILtabWnH/qpbxTYaTsp4IbqehW+x8xSypHKEB0Iux7djvM6t
y83tiRsbLRnVcr6Dz3FsN8Xs7hJHpUKk2LR3Jf7IZCZFzVPPpoAf5Y8JsKgcCBOK66bMeFT0Kq68
dVdqH3XTvPit4TF1Xul7Fp7+pD8X64JGxtrZHt8B9vhh1/cXeAab2BIIYSnGI4nL52CgKO4s82h2
/YysjJ5SABIKA1KDkRI86wvSGtbPJ53Xfq3dk+6qdB80OVN2g5mv1fdvYrC+UYFxtBJtES4DUUd4
uU5YVftdEnCu5UUdswpidKqRlKxEq0V13l8m1HKgtuSDFkCXqohv9wfjBjI1i4I6Kw46fQjIDnlI
Kf8jmbowtxVzCyJ3QhhLzw3ae3tLyLYDna4i6N8YwDMzXXmsJ/e7H3v6CTUgy+uNV5wCVBkFruuy
uGPJuhPvvFK/D0wR19cED/XUYTQ2FdMTXEpXeLdpOCXUF2vLqKEv089+zdz9rFZwy8V7W+7Yj1YP
+HkOK1u38+CbJ91g5ObiU6BW4XJ1/f5cj0W8aCu5rQqeAQaqPBJy7WLTq4Zz2yCPldr01CHr3yMa
5/gDddZTPTn68mryvugY97cSBqxU2qSPmx669VC+Dn3wtPoaRQz34EQHtWRv9HPyKGyLsDtgLwQ/
M8lv5Ldhre5h9sERqAVZ/EQVytVe6eiugXnj6fd/9anMo0JrGHuXrRNpHnKAwoCRxpzphC/7Stwl
A2t29z1xxXORfUOpgLu6NVaDOT5DsSQylPVkmKxmE9eCrdXYXTxLfZmemo8Sn9uUjstD4/SffVI/
utjy4TITU0SIVSS9xbh29iT3vlZgJCSwtFgqyCfojjGpDL+6TdmPxjcC4EXEjQMlri1klPmkfAaA
flZQU2vzblvNvJ8KXmisBs8uzNVD6U0itpq/AncP9qX6zfHXFwE2JjJ9/uJVH6KOJg5Bo/cwLfOR
Dvp1tM2XlUi1aC0pdNpx/BiX4KDy4Snv8XNwJeyS2XjPnOlj6qEhUtqFKtW6h95lvzSRdOJl3rtn
1j+ZvX4xI88iYCWPVTsT2FpEnBSAcIDBRD4fyFBTvAmQERA7GVFC0RbpM4VsP5ySQX44njNdUUUE
EWwOFfreFAFTxWK/WjugFDPKKAEYRuT3Ce0wv77s/EqnTsUj6lNChIstYyBETFGoDijJ1AeVFIYx
LrIu5TaddMTbBca5Q6MWZJLGD4s3jqmc/HlhfygDAoVrFYik5ruRM+xkXNRcais4zsGjNrDjciXu
O/07q5qbW9rp/3B1Xk1yMtGW/UVEkJgEXst7114vhFoGbxIPv/4uSnPnm5gXoqvUUreqisyT5+y9
Nn1muowdMIpqrMalxshw7RcF5uxU+5C4m6D/Ft9eSHltuvE5JGVFFSa5hjRTdvbA6H8i9m1gM6aF
5EFMUR5FvnXufWT2TQU82M9I4vMklYbkAwS/AmqNWHQ1R9XWnkO2cczTJ5WCThbWwAYpEeXqVO4A
Js05YEyf0JgskcH8MsGoxS0faZBLdBmPtBZDMgP5Cz3S05WjKJSLOpAwMdm1cRWSW0fC9LJ0e6r3
HgmEmdBzn2rwh7K7Mb2JFj69u6XreRtPM+bMWHL8/PbXgId1k2vlt5nBC0z/kvSSwHYS4bLyQ7D+
hMGvYyds6etTOs3lc6ZxVtIGJhltHB3c0mMOlo70fa1f2FiIeq6HM1xXKvUge2Nww2DJWTdNgjiR
KLC+voSNTRWoL8tsuGBOSe/wEu5jHlsHs4xfOu0yeMPDaUECKi0CjDiSRJ77W84M5IYV0WePuGU/
JBW0FSivycTHtAr1DXoL56gXsb8drVpbFLOkRzM/EiPMt5Sb2zKHBNthvmOmTEgbWHz7AukBiWoS
vnUy8VhX6cnY70SZhICbWK8JBVu6ATFNfjxcI6SdLEbld4dCswm4HQl7rHyElbaMd/AfupWFTXFh
ZcTMulH2yEKbWXCMlS10fsSpubOSbKQRhNxrdCcojma3bIfh2ym3vnS7Y5AGh55m+vzZf1hREN3p
BHH/uft8OEUSfIwTVxvfo2HTxu/DFNVrt19ALyCBunVP5oC4Cu7JvuuQ2TC0XIdh157crN6CCYq3
Dk42hKbO0oXEu7BEGrwE6MlHOa50P1y5tPppvofZYSzeoqnVGPURnJOH6jQiAhRtSIZd9TRsX0tf
5FvyEHgd9CP6nnwN0quhz5eso9qnAp1oxw5ltg+tfMf3cIiMyQosHJM+zawuhvlnwRNms4/hmCiq
9VkWAxxxHguUXXtPQhSzDFPnaekcxjUQRkhG+sIEUD7ixUFcYVC7CnMBu+dHjv5naWnyC9OLh2h8
8P46dma+N4zXzBgIez/a27RFPhBN41lro1umW3R3qkhfcBteh9aGhAuItoPusfGc4CVLE7knbnhZ
FebPJHJpNwhd2wjLUkiOon2GVxTGydoYmmIFLQWlc58rj/uuVQuNM0aib7IgPmhNdEsnL2J3jOd5
JW+YK3mhsYOJS1H+1Hv7d2piWo5pkWq+lR75ndBW2ka+I5905JCPIcWlETBAuTBKEjhFu829/JfC
rb4fKjgslnh2MH/hnHg0VHibmq11qVNg21r7s3RWUzfP1isHFmwxCAJ2NLTDAwWyoEcCzOiVORo+
/XmWqcbqu8qAWxke2hJTUZ2YWUqie1wuxfjtGhy6IrxRC4UqgWnC+GWXFYnYaaVo4CUHvy0Rmtj6
zmbTJjaBFi1N8DU0qWoZT8wZ44LyzE4j/5hRaWLJRwIcaqtCgLi0PTqwiAnBS/aCeESYPR5ZgusQ
9P2GGLTNVLMzlI3CrkSyFGMzmSwLhx9mUlIZ6E0NvfjJT7OCmLpkSjjMDjvdq3HojIQHhvy0hTCj
M96WtETTaCTGb2IAocX6B4gzDz5r01Y3bwXdPvpLgG3RUPSbsg3f2kr+DRN1Q4ChDzEiea2rLlDu
WUUsNhMEpt5wVD1niKjCiGStw5qxhgwTnblOc9Zr46vs+PAAWDpOcXsSfnsaNaMiNkK3aEBTiiVN
9SkKF5i2F51pKTvoptqRPR1l4/AqqPWWyPkh/rjqYTBu2Prw6vF0WK+48/7EphXuLXxTnIWNLVkt
3YZmKu7DnqhFsNBHj/b/DsfDl4Z0DDmRa8RkflJoEO6j1noSJpdAMLIdkvAmtMC2dlqOtaWaXaOQ
zeTCk3RVEiBe11yy1SSBB36p4H0lxvned3hFZuYwIQg5zaPwgNqErPLWR8BrqXvvQ21BmXQvrObs
D6M6ln5DGqNXjq+tpTSm+/RHGNUe2GLVTvM1PCXohCBQHUFrFQcv15ggBcaU49BrvIADa2bDr4z/
ZIkT7W1vGuYTZbIzbeQFedM9OPVUyAL6fIlrPvqhEpCdU2+RuoA5/ZKQ82UxFs/TE5/ldO8m1S90
gcF+tIeT7XvajRnGdykHLDXzo87ulji7vWORlPq5jrxg09HZ9hms7BoM7bBqEU3aJdKsijZOiOB2
TQcEhWISj+tu0vJDQ3yFgZIzSHdI4r0NU4xx+V8GxfOrTujBoer883/PVxpxahjx01185pRVvyiJ
xWdCwb9sEb4IRDgPa0BJlOjDtu6Ih180RrCln0yWR+j5+7Spwq3yqB5QoWNRBQmxyoTR3hAUki4c
8X04j5i4JPHP2rONNSW/WGs0SRfYbVxcipG/I06IVFx32ENIWHE/Z9+o/lnrEMAlWi5fx2xCL2/O
5+/asV+N3PtRwYOn/jGmdzNlYKCLJLpYeTm956xufZQ1j6h35BvpX08pH+PN6G6C5Xj+lQLQ/6kH
ZktfthofMA22BlDEg2OjQhRVbr79Pw/Z9i6act6r1ujuoKLMQOQPe74g6Cj2iH2+dYQSBCpZF193
i6M5gowPBmRqwjvCeg1I9mmcS2eaQDEGf5Ojwjz6OemeiaG/ZslkykWYuXPMHFr8yUnPXmOR9yzs
o5h8+8gdzws7sO5GqeMc/7tAJXOPoH4RdTnRtMYzQY/StYCr96X1yJNWXoQjd57KjGWeVf0uknn6
VuJuT/zBfAy9nr4BVLlYSW9ePTcNL9Lo3tXIGy/1VuyqRhseNiSWe+5/ABcaHvUIvtbKhnozGrFz
1owCSy9mjrpzH6Wd+SWVvv9bcPe6VpodLPAy+2RK7IWj3HQzyTkIxHb9Hej7iEpTh8xOdbKL5xS/
MmYjdKvsA4PZoeg8e5tg9FhlYSS+IszisIlJBcotB4GwJzz0dTWzq6i+p6b768nQQKA323zfoqTA
qAqkwMFITOt/9JBcEtWU71Qo4l3bWP8nj+8ZKvDfQ8EIYBFFZDzRDNtpvechhUKJ7GXdmzeGwdn1
mHbZSB9WrVXbyPf0ZIM1QkdMI/t3Q1URmuhW7aXVrMO2bI+ZaavzfxcCtxZarub/b74XrinQiPzv
JZjlqb2nnyt0w/v8aZFHGVtzNIJmIC2TpLt5pvSMoUn7pjmhWVq3SEsuSdTO/93yKANGjgu9wEhk
eyjGkUal4Ulm9Q5LerADIG4fNIKk3fXzyw6gaYafdll7ACNEXxCDEBhsEDY4lrqs72OK/C4vx+zw
TPDSpP8NRajcCssVR7efxDHWPo0ScsIaKpr/xsauLbiXmzsHNnQscc96gaSqPNnjcfRzgKQazVl9
IDSiIMoPyDi9s4mZg2C3eU4SZixthlt5o6cleUZJ+wdE9NnJLHmHZ/1ZGORt09LRH3NM5UzhXWfD
pG0N++LgH3rnPwe12x76k00vN4utD5G0+n3qUuwSWovuWNE5dXPSvvuQ5D5s4wwXRkaFvrEBljju
OywElA0hx5isLGYXyx7UD3K7QVjXsszdnZFRiWfY+pZOnqG/m1+H5yXQkeC0atjUlk75MZuFO0Oe
UdQbe1iv8+pIj5bs7fghxFQvU/wqm6T5+rdYpLgHpgEeOpTXdyYw9AlmCoxCUbDSp7JbPt95fSK9
sIvJXQcWjMAfK5E6Mruq6p1RifcEZxLDLzO7MWi01jm3JBWRVKsEgtmd+ew51uJw7Q7hcNTx3Sz7
ueNaM55FauId0fqSU2Xgep3inPRbQ8cinLQPBOQhIjM7eKCYA5YYsIF7U3YuQk2QKexERw1VRd86
RPVV21JeZCWq+79LX5TXyAHsBrYACYC69fRAbnE16fSzI29bT9OXLKW5a2yfZF1KPzplzi2b82J7
ve1RDE/laeqByXtq2Melmb7zRoEcNbRwgycg26VKHHrT1N9XVtbYxyBS08It/Pg0FJVCrmh9JWVP
g5BIJOZO8hUca/dWOhU5uhN1ZWOZHyKq8AqypVq53W1BChQv5GW8zpOFqNHadyeh3dt3ZNlgB/k0
B1Ou6rpM93YTv0fmVFzUaLxUoo8uKR+iYA43mFLrFtOu3ZM2gl8q6ZMPixqL/O063yCTWwbTlB7N
yU05iLrYeiHsoDTnIWnXpED2zc4azGUBbGXfT5yBkLuzahd4ZNq8w0Q1GqsEUO+tUBY94b6uaN6q
atuiBL+kiDwvmEj4XVr9NwiriXRXpoWSI8KKkXl2qsISXZJTG4RYAJdKUje40dbDUUqjazvZo/1a
RYNcui62rWzMkpPSMm9bRQ6lUjYcCXbnjAJAEotNM14S9x3zYn/OdVtbpj0y0SzRxIm7sPbC90Yv
tDOFaPdqai2H6vLeja6xpmFUXIQMbUw9Y5/sSBIRy+fHXqRTy3Ct+WlrBLZY8e++pfi1aUyXiC6g
++CVMxBCsk6E2OSymINuEZ/VjHTAh2oc/y0+CfiFFi37g8bhK01XWol+X6PGCYurJVCdF4R4oAAb
f0gkH4YJaLSajxJDCydqorQ78NEkXwu7lWAe0+/DLNFvudb8FimyrDIwxamKCoINhsp+MVRCpnk3
C7PANlhYVx1l4/bwhuQANiC/TfFM2kVhg9IfowHk2L8OhGCcGgy7Rj3Pzi3EiF2VmY/OwHYEexC/
0BweF/bmPpLp04ZMI68jCkC6OnSYwqaMzz1MtPAL+wjrf4HGZIGFzFg931jf7R6m3uODnwPbfDma
W8yTGVUaUY8s2IRHzxziLmy1U0goyrw40AbV6/E0WFRgsfSRTNTlr9pgkw84BDxXqJa1cEMF/NcQ
kbcKYxdcyeTgNWhcfy9CqKY4jiaK4h4DxFhjxA6jL7Js+5cC9OPstXb2DueTpd6ZAuYDFy2L55Ew
KzTZtIiSrm7tceBi6dM8M8UpLuyVSFP9MKR0yEuoakMIuELQEnwu/mM4JUu75j5wU6QWhKaK4/My
GCPnby/LacJ4lMmJiJjTV5q9Da3+Ew0H5rAqZA3xbOhIYYOW2TXEIWSUuB7lAON8vgyNWx8aWp22
D52Bc7QzHuK5pZeY8UXSu5MaNVHAZOjKRl8vBl1WhzLOPlMYZWfcJfkhR+uzqE2pc5OG4D8d1bHJ
oqCwcftt07qeLmMxl9F9cAP2422LQFj/zj41N+lbDvxiNjW+Azewz52Q9T2fdoTGksQ9LzlDWB/s
tlHrXKRXf/SbvW32NAbDarjofYyemKVo2zSuuwVijr5j7h7TDmMU42fJqk3EuGuD8qTQAzyQgGvL
ku/aBiY69CrP5TZXcKRDio+6i5uTN8ies1j6krHwrDA09e8UNGqTVlNId0rC0unGE2YXDUh0bW8w
gDiPzmWBmJL5TG9HHDblHOdlRFsjlavG73ZW1YWP3Kd+qHEXF7GznFRUnerKCjcmMvXbv998iPof
w7wCIt+9TbZBjfnModTCENDOXOJpyINVjMkNaP2w0udbRmDk2KXzQzPtwu2oRWqJ1MQ/8oVCs56s
KpXHYC9QNQu7bqn4CthlNfEURUNTMNINZBoAP2WJ6Bvnc3Ji7BnvYU5/EOE3bofQNQ8xUScn/kWO
v6q0LrqTQq5PG7IBp+zdxSm3wy2YcvQHg+OOKOdLfwrOMQQvT6bksX31U+tc7YL+hU6nMsCod33e
c45RilXsNM6ZYPb8EOrGWxUbh14b9I8eQdWmIXIUE211tehUG1KC+aIqXTzTBSX5LSvyxmcVL14R
6OYQRIMf2USMl+2l044oKu5UblgagvFAfjlf1eFpkN+zF2iSQXTF9SVvgrL0JhNUfSqHDesLZD7/
+zTyOMBMYNcIVOIYP9jrOKmyQ0v0z6I37WI16tpWj6R5kQ2DMU4K5i7uPPMmarUZOZyd6aJtaxWX
p3jmlswJkUenaneAuSl5YFus8q5KwOsFCVjgcM9ytprMUb7qReceMf3IZUQf+2vsnBV73Trzcnkn
iNnYtg1mgUrOQbdj5IPtbtXRmKru5sZFtnep5ReiC7rb86KEeQ707I+eTncrc5h5U1x6Yril/uQf
uxEov2ujtPHG8gi79ljEdn6s4ta727LfPDeDflIKuPd8l7WF9Qnb7ErUtXURTZK8KtvhzQgMd4UW
2NrC/0yInLbt1QAACl3zCJ2oapcuKPbjv+Slgbt6wvt0LErByNyrKf6g5yGXNPJHXEzaF91PZha2
DLYyJ9HZzzBTqSqenVRVcHlepCmCSxNY46FKqj1DV7Ipywq6S9zD/YzMAbGGEWt37jxqicR/eAKJ
nmjR+hbOpBgY4pmOlZhWWuBpa62LkodpvaYA41B4S/ZDaEENU9KtUbg0U0qVUEInlji2MHGZr7FX
VzSdRsDNPgG+mtw4LNqLcP5M44EF3AACYy0pO6qgqg9TNKSnYb7INv1iURjYcqLkWDqF2njlhLkb
HcbrSNXQ2i0jUgK4N2XfejtsN3dZC//YGpwALaTXhxrv6SKaf5I5i/CUo8h6srOjbbbhS4TbfKmM
LNx1XQfIBvHUFskQylzdwcdOq2njgABC+mqmt15aly5I7bUdeuOm8uv05gl5eYKgkm5oN1Gnj8eo
RbRVRJazbRJmAjKtYaxV+btqVR/sbbt00VV0JG00aXFEJBasOm/qlxpnp0XZNt2mpHOaF0Z2yTK7
u2N7gn0PGgbpkHH2I/tOi6d+MSd6GVGc/qH07b8SvEm9lqYA8Tx2VkBKGrGFR1p2ivhK7288mtWp
CZWD44K5FfPdaZ/7KM2ySoQrMbrqZtW6s9XxZx5ImQV2MQYmnXcg5XGeXXPfdldabADsghK+eP7q
LQ1t2pRpuHo+xGDDipaH9HkbpBUIkJKVnXMwbCW2Jn6nM55j2u2GtyrIiTwmwinwT5tIYaWGdto3
4aY6vnlh2QX9oIAtdhk2WwJQ61vXQBQzA5weZeO9mxZlRcNpbyUm4ghWs6J+aRqVPFGuyZNt+tF+
CLMXqYpd4nvRbcpF8Gr2IRtQHWtbkSIZLMRUHfWwUZswtJnHu3LV6kb0iYoUMAUCzcs4aD9jSSxr
Ztv5rXfC7XNB1cBOJkL2NCDuZRDoR+lMCblf8ozUfe6nzv/LCNOJzZ6y0gTCkKk169cnXUml+94b
rAukJOuEFgzOBAEYZ8uImO17TItRpTZqvFkyMa+J++XbGtVL1S8dQ5O7NGovQmR0rBp+BgZChi6c
XmipmOaB/KoyiyXoSL3FZHHX244p6NzV4tSyoGOiXUTbvHiln7Bg2p+1hMZvh7iO+Rc7BuV7zrU+
ca7zQcvIq+VEowD3i0ewmDuH2aPV6neCueVxMFw2NdZpmsngGs3pB6lwOOpnDFRreLfS1INj5tvh
QaaU6kEt90aQ/lFttyKRA500CNl6TVxIx8C28K6GH8VkH+oAODj6VkYHmMEiFclDlYMwvpgR5tHh
yW0jeeNLTRWTQtzY61q5zQni6HuIAfISzxdZy+tgVflBwRMxg35rOql95QboQQzNjUx8fNlB1ZKW
o5K/a4Ok9SHpw5fxu8XOsUlzvlMDu38Usl07HXtMCYdzbIT2rojdofU8BcxBxbtPusANSFL0sTTp
Nx9VZZCMiehgk8Wgs55W5HzMSbNjXUvznw50j0agrVzWInKv/z3MFJELFmimf+SzRO+8bckYFydP
6m9Duczbpnwj27Rn/KKN6xZIC2+oVS8tvXG3hsfmWyfIkou5oOgSFYAiiHG9RuWbHkwHLYxRhaXk
X9bRBYN/RDgal2SkIJBJaR7xJGtviIMWmX7TyJT5BtjKCDao/xgJ3sROI/NcFANtNmsbEs9CjHcY
QRHA9rfyc7yZUvPUutBA8i/akob7NLbdwf+j+qI7VKppPplQc6+6n06N8bRM/ezFI/lC6iHn8Cqf
ANx7FspvVe1svavuab4aHDGfU8iDLXST98uLHm7GkN+pu9ck6YgO1oDZKSQBbmjXh9YlMLNUxIpx
7Ao2gQUezpetf0AUjhnHgWpoatVnFbTd3kdfdY04HJOw4UFPG6zpmET+XzpVaMbnOMyQRZPFGP2Z
6EIX7VCbX7ThYPe6AssCaFnTUmZDVMMk+VrGydJgemRC/swdNT3sCM6/YVlXgbJfQMX99yjFIGuK
tNjo0Ak+p/xBC9X5ym2dZuqQ9htzqJ2vlt4Q7En7jX4aNlXrAwxety5Gx3zJYqiGGuPzIxQDMLDM
PNso/TK1Ue0rTDyrnPU9h/LzouGDWj2/imIGhc+velp++HP7tdUgU47tyLg/L1ZUoRh0UDHNT7WD
m17muWwlXYaUqjlSLGaPJpv0W8SO3cY1QFN2cKrlagQ40OnoxObL5AEYoBfdLKkp7r3M9A3U/9nc
OBRIdLDku2gGTkiMnBnRz6itD719Fk4ktwecCJreZP6r9efCHU5iQtBpGZRDQ7vncBofrbmaUD3H
Hq9KXiXEoy8YJB/4jDWKARAVkUibczJSfffM53cp2OmNrVCwm1BSsEI4fxQWm1tHKV0Gv2k9Rvfn
hbGttQvnX8jJTe+m/x0cLJ+RFnR328STGNKxv6Na5nQ5V2XJAF+lEMMiDuLsV4IWlh57nVwVZoIV
59pffSHL104juIU29rJPfQ96mJQbvI03G+WZk3YtouZiNenen6HO8hORyOXHymopphCsug/Z8CKW
A0iHYr5JikTdOV4F311HPVbBgUKfUG8du8zeVMzkHsWBQEYdISoEV6FPzXoYNEwLNXmX9BktCDDT
nDgdgC9oRuQfaQdusEM5uIa8ap+GEv154qjPBHfb0gz/VKiZjxUVgl1X91zH//usg7uivkBD5gCg
tZ6FeKuUbJQcuHT3J7ZlZLsOqlN6b/66G/T4qAYvRk3vIDTuWaW7MjtScxwZCW1gxHr7cD66iiks
/mXc1hESF5/Ke01k6aFL+/HT0vMGDJjHuIPiItEgNdeTPrL3o9ObLA/hOcbyAxYsg5//R1eAQvrB
q15t1JKQTbKjITINFvdaqqBfpDp6gHEsxKuDOWkdN7XYPB92Rg5DrRIvYLjgIbpM04lYcr9V2V0j
syve+7qstrXmIsOumvg1JDjCrIV9qRObVAdRW5dsxN2Uo6nZFROSvVVbDCkxgfqZWTDOkLkvqoq6
vs8gGc6NPKfZQX0fDJkeYBMBJoscviVotF2X8XZmWnsyvGEELEgvNEsb+6cej9/Up+rRoGr2pvrK
clfuAHhmSInL+lo7LDDaFJVbMiA4bllkBNVRbL5ZNQcyYMi4EEc6z/3kvseaeW4nmf2qoWYFlrEJ
Wkt/ULeLB2IKZP46ymvLY6LgwBi4V8Usg1Re8lMU7bZTFI26yfTBrZLp1FmkkE3zy5o5w7FzgQyZ
SOiQw7bGpjTVN7YQnIFFsGfpcQ8hY95VMDndi07fpsLE+8EQFwGLwCIf1LFxpMWSrSfcuLeh/OMy
AlvCCek/KAJgUzuOsrbuwBscFUW7aY0iOgM4is6uXzAp/e+x2cYvFU2L3fOp/55/flWEDTMVDayS
l/n9BpiNjbtJny7/XZwa0LYj/d+xFjS75/Oh7AaGBOKPbjSJthtpQh8H1MvHUdbG3m8t8YBB2r21
PysDhSAOApyaVTPeeKWZ1rl6umBVq65+DjLJa7zoswOPtApCK9kLLzChYtc7TF87faC0gIhCnI3v
n9kcxs+OQSh1hgA+VngvRAzdJ8P8TcI2Phm9td6MmA0+6uvdnKVE153zKpJ8a98OzqZgbsvthmqu
JvHw9GxKKB3ux4gn5qFMrbkn/la8w6duf5Wj6JZGTDdByCI9IqXg4yDhQnb06p6XXh/gbCCw5QV/
oy2w94rWOzvzRev0Ul8NtfGXz6UFdt8o9NW/P8Ehva17HSP4//1ucF8TuICJMqSry9vgTL9peBj7
56PnRfmB2LEdluw0hSixQ6HlquRwlKIqVpaJ65Isdgv5QGUeaJvf68S3rs+nnpe0CAU3P7id/+8P
HL95E1JdqxL0tjtnDmtzBHHYph/upNpDp3cWoazk8pCb+LePR/WFe4nu/xTIvbKz7Gsk8Jf5ZWFJ
sScN7kaxSmfYMaxHbXacvidhvaOY4ROm6eVbRNTdVLmboi3HH70k5RWrNoNteH172HSbZ7zt1Bfs
0f5Its9cXcf5EZU0MYCBeWhShd6xSbVFOpKVh1OUJZ1e1W/LDTmBGTkJrSMyCThyf+FYzca7qoBu
Y1Yfuq7vtQB4Vi2KF4gs9dIseQRylKE3oCZG6BOWMeLGrVsSB0ulm38H+UHrn6Op4cTk/uICpL5E
mmzFxG3HXXwwDaTTml4dnNl9zEjLQ0eYzmsqGlWHNkIVfnGs0LHk27SDrdZBFWCiBPFXGTw0jKBT
tdHib5NJ8M6MXEB3TMYRraxCB5KqjHGfe5SbLpo5htsYOkpgiqBZiqNu1je/b5A01WG5LEa01Q03
SNH7MzEQSbCtmYtRecOCIbK5RC2ZwFmY7Wl06ZC9N3fpK4bh81/MQX7SokjWRPz8yufup9UiymfE
v2xFBbeDg+Fa1dRsYcgZuQ9+D/S/berMJf5gpjRAiqsuVxccVzCNae/53nU0tRggpuvudZnsIwtk
CQPQ8pDa5taFqbJ0KwWiZDjRw+yuGea1IrbUQpVTgzHVMdARZuF6sjlat8jRPFEDxMTwImMKKHay
n4FP24bw1wYpxGz9tMYvcvWsRa6L8jyWSJUDq+l2DXbktMcWSgPyMNRWdp8alouIeS4hlKdxtsB7
1pySS0JSm59UUPfLhjp9MZkmFIyIPZL+22ok6dUncYSaGsBuEdxazfROOgEjpdsCVOk45UclTm2q
GTqW+rCIWmy8xIOxYBX7WOjbYiD4xHJrgtRsHaxPNCgWfExdNjT6ZZOpH7oOQCLtFKAXo/TXvlXy
HbQ2NXGJnKRchgEaVolKepCm9UPTu6Xv1fGynmLgwaLeZyg5SAbEodmZt5DZ7ZsbSnwXY0uvDem6
6SBatBv/hlaY5vdMFJ18bZZesaNxCNqQ7OXtVWdc6cGkW4aRCw0k/94nhXPfKW1VcaZZueQMYPQC
vzalQEBG3/0Kq2zZWGaz7ifL2UXlKgz/+PjGHz6Ey74to/3UwgqwXP7LDfbAA4mLFcMzsUhn2Tde
GbvBPgWEdtXlTnLqITJWQUO7FNORGltwL4EzAG5l/DwuqmKoUE8kD+gGTK6y7jcYux9AOEYQimaz
KdVwJfLqVWAQTWeOpUCZtRqd4cu1QsiIiePOKueDaydvCPasNcQz1qKOwpVUOw5Ra8Owf0s0EStP
TpQ0w8aaErExu7qZh6TJSs7Zs0ZbWljJso1udv7BV4gmU4BxTPrALYIgZNQ3UcSZ2VuiMTrOzeAL
hyqtxuIPeSxEq/dGeyXCcetY0BKnsvmD49x+L1koC8/cTpP/EWeYRauRQaWNEfMwRMaX5mCjK6R9
CyKRYZrDgK2F1p/IcXilQ+2HR6N0kw/tzgm7ewlVmLI43ZB+Gi4PwvGSq8cJqZy8k+DY/8MMm23c
xM5aQFMAFcXnzVJ/arf7Q9xauyQzpF12AZkY5ai2oAV+hk7+PdjpDAKZwUhQ15chaq5zMd8Krm6K
tQ1PFtFLV+2BAX9MbMsdIRPr1nkt6R9czRgCf2CAWoBivzHCwjpFkY9wuhoAqJBYwwbAUmWUkG1M
eF8KnbYccUToZIEu6oLMiN4iyaBb1rL8JhrmEpmyvEFWp2ccAziiqwEoskp+1zPYRzJHpIsr1EpU
DhJse09mLdGUvbyOuXUqBTJ4ZkQ314BTbnlTtG8MGc3y7tmvTMkBFBSlQXduyaZaJDHSb73LHiTo
4Hn3yx+dQocxKkyg/tSpVWgY66nKrQP0Q0TP8TEHPT6reS6Dk9+8tonWpQyOiRJ/NVo/67wvd6Sc
aYdqdP2D5NajqTNNKwz8PZ2dirKj6BF+t6iRAa+Tv5vHoL+8o2rcCE26/sEn6UNFcAvRzm1cCQfF
qoXDrdbn23nQUdeiWhUGKj6rQJGm2fBE2uw3zDVYhdEyVwFmapLhIu+9LgHKkm78kijNOzT+VVU4
rfGJlEtUpaiQbCYYXgJycOida6og0oxBjwaOdWdj3rSavYMeU/CoPLSSBgN56j1jb9ZausdkiIs/
rE56mntE9BXRmuA4tBePNiABArL6eTK410Q1xmdt0P4OaXMtcZ9tS534iLEXf8s8/6Dzgi7KT/6W
bfeWV9NnNRkXM8TLjkWntJA/UxHOpFMT7o3HITuBZFypr6EBTdPq/acapXMQNd60nucx1sK1TakY
J8G9Exbj4e5NBYP4Rs93mcP94ZDWHpdrp4/EkVvrBaAPp4y05pA1YiiAEId4fhuPWn+IkYS55Jzu
wU+fpNNfJOr/AzoFuOB+dMi8IVyNAU6TRlP5oY2idkPI88NIcKMOI+cMX2WXpJcbjAy/p0C/NV15
FUFhnN06Oagq2MkoFx/uLA9BppMil45+eF7ELxVpq5g/e+n9IKdpxbKOZs6ghbsotCjeDKavX4zx
bRQj4tLwZDv6/7B3Zrtxa9mW/ZWLfC66yM0euJlABclgRCjUWrZsvxCSLLPve359DYZP3ZTCTutm
vRVQwIFx3DKCzebaa805JuLEkjVYqFiUhIZeBH66JN/hw8O7jht6N8XFkw3HJ5F609O73JFlQbdZ
lJ1vCSqPWhplJ5hD9GWd7vW4my+1iv17AQ7KaEj665GMDGX+QotwuBo6tK0aGQo0sBx7teMjsnTh
s94uBvEXi5ncDpjAgum4dE9FRYhEbmjbNpf9Kgu/BXL1vdAn1ExgEWi9w4VQkquC1NUdA4VNKvmS
1NPglcLME/gviEcdbwdJfIZSl1jlk0iqb/E0PFeTjrIGS86WZu2ImHm+HBsQsWZW/cCR9yNRi1vc
UDgRmAnsrImKcOhsxvt2XB2UqakO1EyMkC9r/C+byobwozbkCyBE1LcWs4r7ahIPCnThNfy1ceku
ZwHg7SItAyzPyx3iWhzUabFLY8Ck0WDdJhmiaLu0QTIBo/CENSIC01GQ6VrvdNW0zwe6s6ZCPkxA
IXhHQmcJcwee5URGObZyRle3sQIOoad96uh6eNE1rbYfpcE3WtMxGms5NnmKuqqxjWu9onu7XEeI
ZL8Po3SLAdwbSQD71LFyNSuAUhj33NbtVY3Mfsmg/BqDtR1/dKHSeUID6tChIilRCneDXe0rgVlF
m6JjAhv/SGSvb2KPXfBrXdoUV5suHci3qIxtoxP8ClHp0Qor5brKA/kafHdnSeHOhiF5UIp0i5qK
0mdePkcLhNFGS79h+ZE+akrb7UPELpspMB46xnZuGih3NBAMxGh6tkNpohM+a4FTIBLH5CnZMaiF
blxBJgnUabzOcbWSrKse2C7/j2hkMKSlK0KlK7ZgLcd9jRc1CUn1mWW6YDDmYkztEg0RfUSoTkxM
HlZXWP3Ue6OsLgYTGtakuqh7hIqcd1KupyJKdkVs7tlLb8vMZrjCKHMXpqQolMudkQZs5DV6jvP2
z/lZinGenmWpwoCkZCum0CHfrb//Kp8M4ZUJfg+DdrOQNGP1gHOiVDM9i0Qdpl/oSkzeiIgGw8Jr
OdWom1EIFL31Ucz6E7HblohVhmYoT9J4uvrzpxO/ZHtZqi5zAEXFDmkwgn376UDFsPeZOz4dWalO
mkzQ+sMsuO31LeZCTmVrkqqay16eavOdonYoG+IHXYkuee1I27aCqkf37Yh1QAHNwkpSCDrLubQj
/kN+WPDx4EWu3gkl05Q1IK/M5rAs9t///je6buSbGpYwTYM4Y5M22tvP3bQG6J+sB713GpjAoU2v
8HujP7Nn44hOK79jcXrESlrsFiqsn5oYeDnwwSSN5CDcc5up00f6cM28lebGOIyW3R6aafBQI6X3
mkjvQ3vOtyG6YYZW/ZZVvEfvmMt3WBzlux5jl9TCoFswa5NiARlBri0gjdnnQdaHY18kI17iVsB+
0CNX70CCYlYCBqkRZ1CW4AUCKz4i+M4vwnKZ3BoXBYWS6vVBXd50vdJ+5ARogLtIgJAqQF9tUjEL
V+hQZnIRX8RwDx30c8StL2PMkj3BpOmSmFURWtuuBcsFQw7vU11ZFldXh8pWY0Nnr9VdDAVkojRW
1gEv3E1y5D0QbKwNIrUPIYZAiLMgbfk3BD4nIflJqbaXi1FGvhbNoRNlWrdFT18f9EqCwb/+cPop
GPXPCTrG7T9/KYuKaEvv7DOsBuZiXUobjZdE6p3+yOnvn/6qGRnkGJAbowVLdE3gbETTGguwEP1x
aSosGCVbUwVMt2vNBeNNxkysAeKZtHPrBsH/pl6biaQzWx/pDhHuoQA7F+x+0qGbgaTzQ9bCneh1
lPkY2K5Ora9KUee9MiAlCWlkeJNUZJTgPVEksaCrUOLNPf1gKMYn9Miaj1cq8XDzlJBWanNnt9Jz
mww5PmRIH4RelofTT7U0vp4Zx1itPB2WPL/rO73e0auljypdLR25WIsqLgcbKSgEsS8KteB+jlSI
7UpF3jr8aWdqZ+NWNBXSDYukB7ATwfH0Q1FnQCrMFqypFknHXC6pieWO5BjqrNtmrNRPMUBFW0qW
j0tRCASFi3BDaiklCs1voS1GfFsgUNSQjB4xMWrq6tExYpJrMjrezDhR+M9cC3vRbkR1mVq2dd2J
Urtp5ysz1aSt3nf2wZoQFIxNB7hWNSa21Lp6II0GynvVzMebibvyiEe5QeWsh/AD2qbbMgIJ+s1i
xtqxY18mrcNSrF7Z4aTD5GVLB4ZwZyksrggUqxkfNi9AR8kyNfMOT0bliHpUDpNq4yUVs3RHt4Sx
KN1QhxZlQqOaOIWiViYnXZ+Tbn06Co9w8WxHkl/5MFRFugkZb6lNXt1pYAXhZCxEKawgASZK9lHH
AOGNLOckatWQ8ckYA6wrf7EUwBfaILBnwbG+yULcAmVRmm5krHuYOIPW15oI2RZSok1zag4Cu+2G
5IU2b6HLNhZG6gR9BePY+DBb4feWNwTqlPm4LBpKXlj1QtQEZRjlvrOSZi/sitKc7tdOmuP2Kg5a
vKQlSrKgtpmYrL+WsN6QX4b1pGkttiqU0ChArbrmukrqhSnZVwTNpXzaKjqioXgO9HRimH1J0aAd
A01HvpoVX5nD6xdmMIbQjhoMgWmbe42GJXJm7xmsibBqpbE9kYvWi0nh8qe8QIAhKS+oKeYv0YpL
t8tcgy04MsCBEdzqE1Zj1OA5Uip0npYd/cC1K3bMLat9DkXSHVlunHaWYHqOcnWTqEu4wzJ7YWZ2
e63GjU6xWqWf+ohHROoOpZZnR8SFyXZoLflKMmlzWI2dHVQTFa9WjpcqLnAsqSqhLmUC2WY+pFaS
fO1XgPOc9iYxBgpdDfQO2NHRcoigfzr5gAh8JeFceiBuYIJRdbBmREHwY/X+M2rfCxpu9s7OJ9OP
5e7HEA35bZxN9VWhyOamU9X+CgWj5s2dGh/1MZ13gxi+lgOdj2HELDyZk5tjzJwDo31oiy+xhmQ3
VNljNGNWUp9AwMyGq07v1+mKVPrYNYZry7APQaRcxkSoXAeBJu3nwmoIFIk2cqBSO0DNuqKWYiK3
sOtQxkLC/9YM27zs1xO6jioJjueVV7j0/43vFWyhYzJCjerCcDw06w8aHTSnH4TuQTPhDWrWyo5h
W36/QOfemWw4yAaiVFQD0EyZgDEEGnMfk4/hSrQLnqRhB2KnuKBXU/u5HixOOKNWoseP0jrPLzXO
wkM+BgBNg2A6MKgVPxN//yfx3OFLefPzxd/+4z9fx3Wf/fQf92XOf+ex3a//xj/+ezHg/kt59Zi/
tOf/1PppnstqbmLalhz9r0/nPnaPb36C+y7u5lsajvPdS9tn3elz8z3WP/nf/c3/eDn9K/dz9fL3
vz2XfQFt6O4l5Kkiwvv0W2sdRBbuvw4A/1/F97JpHs/+/M/8b+WDSbMH27us2aZOqCgRyT/zv5UP
mqC6IhzctIWtWuKf8d+a+IAFylRkfstk6RMcHvlfF/39b/yWRiG5/kMKv64I/W//51u/uXr/vJpv
Ira1NVL2TXlnCFMRmmpCDlBkdAhvyzuB7bHTgIPgvDmi4ywvC1AWMAFUzQdaRie+Bb7axAXwXRmG
DELfco/CwkT2dxswWByYH+2SVniSbhw0HZ9cUKPbbOD8MU1hacgkb9bIpAjDC0uqqwt57Ld2yI5D
G9GOVWzM1Xxc0Y6s9NO6BUUffhknLGzhQpFnazZMDnasudx8A6n6RIZbUuufcWvfBlWGTUPFP5zZ
ABmseNew0SrXzTDe02DUE5Q24J/KdcPM3OV7g00ThYZfsKNeZwKA855pK/HW9GX23fK6ASf15XZY
t+QBe3MqRsmp2a2P667dUPorPCg0dKEslzhqS3b4+rrVH9ZNf1rTQBXsK5q1IWCvrQECPjqf0z66
Bn2DdG0gBHQSZjoKKbHdvgZ8dTdZ811Gjg2DuaNKFwK8JruqcfUOGtIFMlM/yD5llSxfhQu001xh
VhHoPRbs79Pa5SCW1m2mEC5IAllzjbLEiQrEWLtQZHXX4MunO9UTiEP0Yxe0B85J6tB2Dj22cZ9j
676B/++iZ0g2TLB9E508aV+Ehi3ljfIJU8yPAN5OMUIcrJMeo/889Q6UrR89eLYpmct9Y0uAmfsJ
rbXQSRs0x51dCvykC4YKUyE1j+S/wzKwqT49Z/9/OXpnOcIL96cFad82jy/Z6/Xo9Bd+rkiq/sGw
NMG6Y7AsseH7rxVJ1T4I+Bts+AiJ1k2Wp7/9R4GGgWVHVT8IW1ZNi4aYrhvG+pf+WpGE/WElDQlb
YQUxDJsd4r+xIsFoPFuRdJn+mbH+x2be4ohvVyTsNGmN/xTesdqUGhAFmpyTNKV3iSHJX8ahWJa9
1NkTL2H81AsWI5vKMjCTxwo7qOIrNb4KXsR2f8NixaaZteiKSE64DdE87EWlDzu95QGf05zWBXSn
depio0RCGAoUXDdaok8N+lDoS8uLEMlw5WHfCL4CQkKqEy2Mo9wsr2sYWWrH0heUUl1uh7SrdoyG
26+9BQ7eIyJ4cAtVhVYm49Ny7ZotUor+cDcmY3RThvhvhhQIS1xX1VdFGPm2kCOqWnnuHmNmwUS1
0OyiTLawgwkrlA/DSGaV1vV645dU+jBF84l07wlwPn9WknVnsWyNVTpnOQMKY1btZQAKmwnxUva9
L6HLuIakLhjRGcE4vFTtOgrtVbXKvUpqlhu5j4JyH7R2oez4FirpE8bJAGqimrsZ1AKJU1IhD2HG
p6mxz8ghzPZKTScPwgW8ghkf2KHtYiKMAznGpFT1t006KPibSoJ8FrWtrswEyTzbZ7v4IhYr+Dpm
TQtQKaMc3OCHKD17lk1ObpHON22nTLbTgTFe235t+h3Jasy3bbL22BpqSwwXJ7rasKGQXFLIwdhG
uY44Lee1nDMfRxhGQvVi3OUEIF+TrIHfIomiq6RBWWNIo/mQCUZlZjjI21YW9n3SFSbwrGl+GcAF
cycRC3GE9hu7IQHUuGoTJFJMPHJyqwzxtQt1+0jfrrnDuQQCxtTm5N4GTrAtkPKgVk0S7esUD0zI
Q+2FMaB8R6xy7lsSjptWSCRI2213G8mWaBmrSJNPNQfUJZlFd5Q6Kf4o2/HXTpJngpEUlH693L+A
lP6udGp5KU+1fhuoUXRfa7he8ZGRCTdnJVgkPPlIS3gP2+oEOiaHv98FurIp57pymhwjELvx7zyE
BZBp8FLhNCQb2CjjRtM6fA7Y+UNCuzcj2nanoX52m9EkZqyJHpLB/N6vEbgAMi7afsBD2UZXcRZA
alJxKieMTmZduh+yhBTMzqo2PAdgfoeaMaCV6a6ckISW1msgRhEZm7o3eUdY9O51VbU29JIgctXL
AzL0xq0IwcMpbD1FYcXjil/H6Wc66tLSPqXJ8kxnLeWRWgAet6F5q63QCoLW7ssWa3Jl3/MYksYi
i6+J3pK/0i+oi7iuXqWs0HIBbcfW5bXryr8rjbSaIV7BhUZmjSSQ/VporT278Em00kvTs7mAzLoK
L5DE17Tp7xdSd2Hkxp/wqUxe2yTdbmgR4PU9vGb6jMUW1R3SwSk1jx2elU3ZgSa25STfFflowkeh
mdYMKiNUAHOXBL11DnnGNYa9oLrQsxHAszkpbEVqyelkwiojlV6YiI1rUeOyMQiofuhle7xGB4St
MY2/RHHCvrCCCTuYOcj2GZ2gmrYk9iwg58yYypIeVbR4iIqIYgnH6jlp+r7dEIFAYGgA9+Y7pGKW
SLVovLQfMNKF+GnUErwMmpqrKEDVFmjxuBNLuDxnWsMyFaO+nLuEBIiwbI9p1/1YgGi6MG2Sy6kA
/Zn3Yb41DB2nGbDvA5PW2VNbGFGWvJZ7BG36xlzNV62R9ru8M7LLXrVItFzvEcbKZvDdqiTkLpi4
Y6SJjf4gmNcDVwzByw9R0jJ8kWmMyNEnmCxrjmVq7ghmMHv4QKRMSK3OkMqUew99pYXGT/+xKKAe
pYjPm2UwDvLC+pjnmJRQ8840s2bJxqYUIoLByDRC8qCDEXmKiIyHfJjSCzHa4YUOi8zJFbiwqYp7
TJhV/Am6Ug3+JQNuG2bmBv5kvUfbxNW2Gl4eyBh5rsjREFIef6sS8pF7cN2zrwVJhJYrmKId7pis
szeA7dSK7gJK82d1oLZ1SkUvGRaGMaQwQUvrJeZyeMZgYlviXUa+KVL7HNIXuTUEMqqz6igo7jft
LBpnwqT4ELeVjDScpB0hYpjNmZbO9yN8W8sjySXaaDmGW5r5Gtkf5pBDlmYosiF92Xi2OTCQVpGh
1EjYeKrX6ihChcPQ4nDycJkOWPpwt9cVEOoaBA09DwIM4RRMZZ5GB9o9RQINKBRx6RPxC2OtGdH1
YUg2seUjPLbv8lot8h2pMnr0GdqUxuokhl5W8IHTozYcucM47BoVJqTVKQydZ8gHrJRwJBIvKfQk
dV6VT3/tm97uk34tSqhuhG0pmqwaoA3OihL8WoFI1cbhRnPlx+YanNal9JIe8z3Teq/wA7H78yHX
Muf1xkznOGwAVdU2LJ3t2VkZhK5PVaRBReJgty0gZ4Y+rQ3rWuYJ+FlFv9nTv/l255tAXdY1y1Js
1TBldf2/t9+u6USnmyNKAs03v6jutMsuyn1/LbnBe+fxfArCkUxFsw2TjBR9nSm8PRIT0ClRJVA3
AGi21XbahfveRQDm8HZ1+82fT6Hy6znUTZ3NtZBlQ0Zsd3YOg0kbtdnEMK356haAtR9eKDvTWw7D
AYO2Y+zGC+u9b7h+g7fX7e0xz+Y88mij57Q4pvUNJQ9vgE16G7iQgBiCuhR7rvmzJfOvr579zhHZ
Gryee5EfoTPcImBs2Crb+ILcHk9xa4eI1afO07bAzHbxXnE6B2hH8s4pPp8Ordfz9RmmUfH62KWk
Lm3Y8G3lXL1MW33f5J/fuYi/uTnfHGL9+q/GekE0YB1AHMpFnFyyAX1rP27bfXZo33nilN9dOkNR
dVVftzo0K94eaUgakeBSIIzJmz2FARCseb/y4hsoUBtOn0Mn4p3b5XfX7vUhz75cqJtLB6JxcuYD
xpQd0+qtsa38976a+N11enUcYz3Jr04iGtCoKRmiOwTweNKmdUDfUZPj0/VG0McONE+frrqjOnFP
mMUm80s343VIN2Xzf/VYslW0TcUCTWHJZ196USepn2XiSnDUbPHqeuNjsU19+xs2bz5BviW3qX/n
4v5uKXh1TOXsBKS5PPXidEwgL4LrWaBUBbaxfedu/fUeArBJCWNqJgNf1V5//9WJVmo1nPtAm/lu
6pbSmtzEp9R5plkDNdjD9JV27zyCv8y9dfntIc9aeGMOQiRkoeOQeo/5gVqNC5y4KBE30q3+bWZ0
w8B5M+/qd07qbxbYt4c+W2Cj1u7wE54OjY3fK33Cv9ovgycfG5/p54PmZ5fK/s+n+Ncr+faYZwus
pee2SDWOGZtfbPLLAC3371zF9Z94u4ZzCEQEmmHC8ea1//Yiam0yTuEKT7Nlt7+SAGou9VWaXv75
i/z6TK5HoQODHMACdX128rJe70YaxLOTSw+T+RF71Z///d+dKMHXUIgjU2T7tNy9uhVbok1MYNKz
k3Vr8twtKQNuFr1zC7x3kLObj31vrZNAR98xwI9GAlSAvF6qv/35qyi/1g1MvoWpC8EFMWTl7IpU
SWm1CZg0Z/a7L82+99e3m7gmy26fHCzvz0f73eXXNfruCmh2+vBn30lZpD6UQnRjXQmf1cQ/PUoP
yxLxQlfv/3yotf3/y632+lhnN4EcdDB4Opjc+CN2OMp81Z8oTeivuO8+rb9bm14f6+zJWcIh1pSa
Y2HBdhjoFtRf8KaA3KNKchDOvfNy++1Ve33As8oEx2OjdNr65W6hVXvhAbe8rzjr13v/aO9dtbO3
txXOLc4sDlYsKMUV7VNnZgzfp0Mw2u98sfVuO18fDEU3LVPVWe3lsxtkzmfM9CKWWXHzKyxQO4J9
jp1vvrPSrU3dX49jsqNhPmRSop/d9eTloJQfG8hCLkGJTuTUPnPcaI9nztf9xVMXVtn+IfIS/53b
8ncnk3cYDVgGTSpd37crYDoteANN7LlIMGj212ibNwzHHcsNW49dZfAMdWUbeIhd3tsjrCfvl5P7
6tBn11E0YTEFqzM4B5EpPZvje4/cewc4O6sd5PuQ1FBS/xyCKqgonezjsFNu0U85irbRjpH3bo3+
axFrQFr5r/N5Xn8FCtK5OjudT+FQf12iJPUBXl+8t3b99pmzFKRmqqUytD6/cpNWQ7eAk+4UR+FA
cr6UPPIknNkFLn+I3nmF/aZkZlP96mhnFwtRThwSMLEuX8MRGN6TRhKt27r1PgDzD5d9Y76nSPv1
9rBlBZyBiixNpsZ6e2cWI+QeyWLAVjEgq/pH7DfvPN2/uT/eHOFsmcwDE2XnwhFCumipfTeOX955
un6zEL85wtnTNdC/TA3Cm9mxEQvkpUBtHChXruQ3fvFJ//pXxf1vjcn+eyP56+ql+Ng1Ly/d5WP1
/8Bc3uB9+q8H825cPOaPzfPj61HY+lf+ms2LD4y6GMGbJrgUxeDm/Tmatz7QLZC5RCy5gmV+fcj+
GoTp5geqEESmgsmUAXWVa/vXIEzXPlAtCIVZP+hyYiPtf2cQdlrc/7kOMkcje1W3NV4wfA7W4fUm
elW+qehyNU3jJpHIxzmg8f1MdKq6A34LcqgYlF0tLY9DkcFLCDDsj1noCOUerIO5azAFd5kRHDq5
vG5BfTlQBJxizMG1k2++1cz0oi9sKN0NWHBwlZd6TF/TwFghEBKjxKQ1u+traOICt8vwFNn4H+rU
Ogx2MXpkJuZeED6oMIa2bU83b15iuEBz4w9z/KwWn4lRMQju2gqrRittN4Uz2OVFisgfG4YBo1jF
MJoNS4DFDflW3FiAPIW5uLZt+Mw0ggO5tCiy4D6wUVu1osG8rUn8eOkR42zgN220pPuSWr11oc1X
dgyCT0mkK1sBKJVnC3EpS995Q6I9zytpMl1uCvszqs/7DAMAdnk2f2pcdf68rPFQSfAiVraeKpGP
hYpxr+PFRxzq6CYeMcxoQNVTVu1O3Ly6HW9+Xs3XnTftrK6VZboMqoa0lmGauaps315kqV3DIhZQ
qH1lXYRNHO37vN108ILCbI1nIo/oqivT0uuNizzSGnL7yLG2cSXockWyemkyLJjqC2WuiYZCyrYh
6EndxbP6LSmCL8DVyRvpCh2Fgpi9og3u+qrsvMTqbpUFtg0yq86DmAN9o/hBprZ2tCvpG+FW5CYH
+o2xtIaDn9m4hKPvVK29DWBslKWJDS97gFTWvLP2mmcvSh5Hhsk0etl6UVyBW3h7QrpyxjQgZyST
FIhEkPh2ro5mGGuK9ESyJhdLHV4sZpeOzZzPmWeZLn08D86yZtRbXUwfWe9ctasEd6UknJy8YcsE
o7eG5GDZZgqW9e7SRfPGLkKolnrv9hbqU1WBWk4ENwg8OwMdS4yPRXZRiUt0/UHLSU8dtZQHJB2I
AzEf8GfZnj72oTOHwIWFNudHHazcuD6TRjw3+9Eg9g0iYg0nRo5dy/RTAyJDPyxYECMuapLfLGZk
enGYLFsNj4EA17jFvXMkNSr1W+wq7lzWDNvU5mPUYJCA7rhmi0yAOLsUtWTjjyReMvhq9iH6na/G
0EDUqZv6nYpwVSO9LstOF4YJvwoQ1lopZGdvRU0K+Xyohh0Mvct2NMnt6Or7qCW9pMqlmLiRVsF0
nUUXldru9Z4sC5NAFRM8lh9GsmfCUnFDe2TrloWX44pxIQvmhsQARiYWlIGA2BnGuBozCjQJ72zp
ThvEf66m5unjs3mkkqUMIyDgrP8jDDIlEKfWRJBxdQRW9A2gOOYbTCaZKmDBroMFTfB6KxnSMl2R
EIAO2951UcX6FuQ3dZ0Mbjuk+zlJffzsFI5h1+0NeXin7D+VaG8/K21VdrkYGdh9Eg399hmAqgJ5
BWKyE2QjT7+MnJMmL0NBmnFyZn4edUz5YYv5VBhM1E1rZ4oa9Bu5WUpS3gdRjdZGXrZ4dRAdLRLB
GjErNZ4g1xKknah6xKivoHbX9RZfS5RG7qKQVkXuOO4xBsSkayzV1yyoBj82mKUjKNmXebWmfJYD
o2tfpojejmDRNiO4qLRLbX8Ynro5/xbW8E0IOLtT1oVUUYuPAwltyLf70FOz8VLWI+balvnZMFZI
hjC6nVQW3wGSrLyA3ldIbHLJ+sw3f15qz3fa3AG8nNfersF5NX/ZtHU25osAla1jGhVW4BapqGau
uG2kl32dMYCuxOBWgVTtVLv/gci6s//9u5DZEXo7PogwEd2dvdPtrgtLuyRGuEnn6apvQVvoan0V
AD2ArT5gJ4wWZKrho7CAVWcqSS/GZMbYT/MnK9cTD9/WFz1ruUfX5yrOTV/CLC6V8bs7lrVyP7sJ
VU6TLrB9WBpztbc3IT6upQ+DGCzExHUMKjzWySK8WUc8thh9c2gjBLPWBu9rXg+ems6ksgL/yog5
O11aS2VNs0xCw6EEMgF037me66vx/ANCt9XWNwU4gPP2VqwRycZ0h1b2+tnqIELJq6M0DCQ63Bg/
Efr17kC81hberRNFPYRVXRUHFJm8ESAjIma0702reMny+GuVYdp+5xOebaLXO85Uhb6ul3hLfhk/
DWPbV1mcISQAokfWSvpjTGNyoeNpExBBo2Yw3buGJKlCZqu0MOgnzZl4pywIfVV6CeAXeuaEo0WM
8ztPwyrlOj97XFyeBFWjPWifdKGvqkvDQt6OUrh3lLK+5FMSLlpYrScPtUcOkk5xOSJvaMdNqcpI
qBvIAyo5E2rQAcqSlHpXgUPGcp5cyYL1YM5M1W0jw94aySdivy8GFQ2O0JfPfz6n4jdX3dK42uw5
LUIVz5umEK1LNCoNr//yftJt5Io9S1vVK/eBnscboxeHbm3ZKlDTS9WvLH078uQjIWVKLMQ0OI1V
ZW6SRV9Qrk43pjkG4GuRi9iE99Vme6FofU05fZGtr+pObXNGzKoTpe/cHfZZ54+7g8reQh9P7WwL
eFdvH7BFMUe8uNwdVqLsAUvhkyha2weOQZB0+UxhvDcQYvk12/k1cMQ/rRCNLshPWH8dSD1WylC/
GfvoCyokxlMRyzCCiO/SSsRp1g2AqEasxAFFnpV1LTy/aYNYI980ax6EMoDFkDRfmqrnjq3ORl5T
zI3AfAbxQ2Vfsn5nlnaUJdC/RneNxgE70FpLZWH9rPVhREpgsjWnxHYGGS449u/7YG4JkQ+UFNt3
q7lNWb302gk52LpxmnauKOT70+NHvvIGj1C6N9egZhnlnJvMvGPiTBUEgKWYNQiT3+bj8jmwrW0j
Q+JUtXDZzmsFklXhdgmwdg1SeUuMLQnwereVotx0JEkAdwz0b8RxKXcxARpf2zAA2Fgnl2HMupnp
XNUkGOBR9qT7wt0+XexmwltaLXxZW21ABiBHULVGvPPorVLJs0fPECwNqlBZGixFPXsJcOqTRDSk
Zaopg3AZC8JRqW24e4ZyzF/CIbyrwRpdoUV50kctOogpIL6KrD1VJdC+bTtPB6KGbwUol7zcq6m9
bFMTYULHeYtFcKsr9pdkfZ3kMpcx5RtQvY1uPcvflSGFWZzYl7PWsKrrsDLrVRE1YNMApjHD2oCc
sqxv96ECgmCxPyxtQV57YMFKm8Fs//mB1n9T7RgUZQrbZlNX2ITrb58DUlM1LZjSnqS/fnZxYdXO
6WrYFvZaQ9ceIy28XqRgpwCYukjGisgAFD3kvHDDJf11FhaPP19PRCmTO51/b7PdaReHVYQafLk0
hpS+SophupPAjGrm/DxJUGSmZU31lftwC5jMI0jQdJX0U6l3fGeJbM1qCj+e7muioCN/lJfvoc4W
DEEGJSPjPPAG11KM6jM1dCg1i2cQL8oXoJFjT4+G1VX+jEVok8jRQSsk/0TzTpLQ5KLP2wCyGWZP
InAwWxGLYRDwLAiLpiiTIre1xltZnd1RZ+lVimLck5BWe6fLKmMc3jRw9y7DVHsy+6rfSIJhyDgp
ZKltmUBigsniI9V640uj5clatierEnp9bu+aOR+vKlRvWGldsoSeEpH1hzg13MFC6Qc/l5DmAuSv
xpLowJ3XD1lbfkylWncXIxv9NoSIW1szeUADYiSYMIpIn6KEck7J1xsHORFBBtK3nMy9C0klL0Ua
eNe1KZj61M5orBU/FBxLblpNMxqz9i5qqRVQSj7CgngWVLdyMxh+TYzCdslsIsGGsfOCqHugCP80
pvSjJ6HQJIgJWYSI8Gkgd9NTyyID91DAeIFVEOqEbkXSCH8cfDp6PugZxOGyP5bvUVGxUdY6oii4
90+LUSGwiRezjzs3OJz2l9MStVuTXouO2Ewaps8xjsVB4O6MqpJX5mpcYMmSBilxs1L7crI2CZtV
9lT+lKkle11HB3bVB0YFjJIZFtCGFz5saJ4o5MKdx9BiY/eNuT3d8qfnVSqwWyMFvFnWFdEMtFts
ctZ2aWNCUyNYonmckNWdENIxUvKQreq2EolQYAY7z15X+XndPyEKQcDYaP6pUiStlKtjUUimuTdR
njqW8VQyefKI2m5ddpZwZOLv4cLGmhRV2bHkalevHxOa9p2cEVdMbJZXrHuAtCmf+kxDFVnkfBqD
BQJKpt1SYJGbwdeXrXhDfb0yLHo2KrLcuilexKQujvaQyHB1Us4B2fbu6VGyFvUTxVDqqJAcr2nr
PveG+U2plHwTSwlGrGbwtIjHoKcqxp5rXMxFD3pT79RPYiIPvkQ42uR86JjLeVewL7+uc9WvCSZD
2ZrfAZKsb5LpGc0mGSIxm05NJg1FX1pyfVD0zjrQAgO68ryoLl888zQ1/ZJrBRFG6+B3IAdpglfk
NDpZm8mS+H0RhdsoRgR5qtgnpV0wOuvQbrrhQorq66IlUVBKKu5ubKPDzN5nvj41tswpK3wbxi32
71E5Bk1ACmKrPM0xTQaJGGgvtyBNJjEc7tN1lYYuOkoJItrTbUmsQOhqhL9sALHTDrGtNcECgl8X
RvdmvNqHV33yRCU8daHhsChyPBzbvKLD2e2nFalAI4X+CQiX0/2SR+ujAptID6LJy8AMu+SVeqR4
PIeypP38jn0FRBYST9zaltfH4SWCuJtC6MrR7ivgAj2Pv16OsPGL5dZclu/9LDQyFvkDdKQkT50g
ChIKFQThyhWQuYARD3rS98mGROnetzVk3Iyz2MZusbcHh1HpuatV4veM6LuGqNmX2V0Rctw+UVlx
Z5b8SU26MNNgWwEvO0hWc+iXyjzYFV7XUxtmyMGgJWJsr3OTkaOWh7dmhagX3yxbUlPaEli81bt2
2ZGwQijtQHGjol/oiWasWwtDXs9lgTanuwMi0RnWpTetiTVI21jvM7k5KpP6UQXFxx/EMN18PHV+
8HaRWEEOYpP/b8LOYsluZFvDT6QIMUw3U4GLXOWJwiimlJSCp79fpu+gj/vE8aA7Gu1dW1JqrR+X
Ydei0rx3QiBKc9wUCuupOAUNM0OY39h82/byhTKM8DiQznocMjLXZ9zingxOSbt+EDe2XgZBcqlv
IpSMunQ4WEb/M6yDp2ziYxBQe0SVTFycP1iHeKw+Z372pS/dvT7Omj68c+2Sn18NBdlqnRObsEv8
IXu91Osj4DfyQXjeSsbtECQtilq6YvQTXXMO0B+L7Crl+a6tUdB1WH3XSBAV5T0qUU4ycnjyY2Tx
YjDs0vqmlNDHeQW75XWpDzt9OLZ07xRtGJDMKh/0GmxXXkYfqvOOeZ1GcuupGUPeDQWXwiJRsynj
+9lzi50GaPSJ4XKMcPpM4pyhgtd7HA2225KF5dBbpNZ5Tfg9V3MftYMvlWQVGRjxzYEbTp8kXcZs
H8Qz600Vu3u3q51NV4Gnde24j/PgyOM+7iph0L3KzV06/IxjIN9mn/xp/VT+vsDqcdVnprTFwWyt
YKu/0IEgLLLE3ENKjJl+G+jDOfW51xPrKRZRRu/HMOw7tpJz4TMBVMe0EfKSRxRg9vNa057dX8nf
pevALL7oL1lPyCjOh/2cJxgzrPnLQBG0WlP0mD8vzkNvTsWxmkpE4sPcsvCYp9BgxTTznKcu7UBz
W56qnFj5reEzdrc9p5wTBjtKVLM+rwkQKvwN1u7xEJSBz0w4ii3vDvLtm7syoqChDKsbfXg3zubg
0R6sE2lg28xzT5STjDv9VQIZkEDWL9Xen4LTZFflNsGyHAjmsZCBK90Q1fwbXJYDfvJwrJu/wQN/
sHhqvVLMDeQkJIoFj/OfY2VRxkMQRnLYGnFpv+DdewdoA4flBTb6hL8nBNxtpyQyaeqh1qPEuUwr
Vr7NQjwfE1Whe/Jb/rK9apXZf2IW+DpR2UKqB0zCfwpt096JxwgzzFYC/W4twJezwwZySDIipnsw
6V1Eljil5QKeJ9sTMDEf/ve8/V8Wfx9zFZJYhLjIi//UFJBi7Hk5/ugt8WHxJS/j6xwsv9zS/TQt
y75cKXfW3Ik+Dzgn5tMq34aW+3QlGnBjD8avMQzOxOWdE3d8GyJ2pppuzEtHRZyY/PwpWMe/Eab/
Riv40HjWUA7zuUNF4f2TCxsJhVi6hOOU+A4CcP2JeKBFADql7dGwpiOio/BGKhuGSJJtS4/laoTm
KDAF/YWgsP6Ni0F4A4JbsPkoMxT/98+P0i/htLjUnBHDBgHNS848jYWMyNqm64KCHwLdW5NGmbB+
jI24OvHkk2JvtrdqzO6UlfsuzAYa6/plizOgIh5eIjww56f/fZ01SPzHrRa6Lv7gyOEqI2b7z8/Z
ZLhOxiwF4Anm7LgKRhDRELDQl/3vbdeO+ys3yrOR5MAjPvb+SVISYBhxfzBFOx6noFUR66YFGcER
PqcgD8HMtDh2ztYO1/HQl6zc/ur/PvX6riIB3pueho4Dw23d751/JZqC8T0Jh70+fbvQGzZTYf2G
I1rqqhysBHsEH2DBhG26CEMPUcMxVDQUWdbhS1vZxW7FOgpzSJ6Vk3kXalPo/gAxS97Jffc3MUke
F6wIV+I6O0IgwQIiWe1pd9j7hXjTb/asLSjcSlmcw5BYPUEVtlVT9OFhV1UnaGuNO4s2hI01l0ep
Nin9j2tyNFmg/0Km/Bmqow6n0HNhmEEHSQSKFHL4D/QtHqesTiMujub0UGsQsquQGmfKmZ+ZTVXi
6xSc5+obOQVXa+SYmjBF7mmn/GLn2V9oyD91nOrzKEM5q7bt2qb75w4O11YVoISwaPPq7aJmNnYs
ceeVReWQy3jYCLuGax7JTyad1ffEz34RjJwBJeCksk0u1owuDdu/HOL/hXTicyGjhQzBOw9g9p/f
Uxf43UxgJvUDbe/uieBA29q4m2Y0CUSMjZrqMwf/JCOH6bbdMSGTOmywfSd9WR1jesq2TuK8NiIc
1K8gD+FnGF22JAGQlS2kzfVREVwTuV6rlkHifz+CYDp8vP98BsEqCVDCWoGcEAHXHx+/b1q8TWRl
Vnm8IXRj3C1qnQ+tI5EhmMwa511jfmAeOWls7teMLu6DKPOnSXTRsffd8WzVwxeKUYZtZtS7ti2X
u1jFiVUyS44lSRsZ1SebeVqbz4XDeslv8FEmjokjz/e3w0qXX50vh6lo/M+U1OX3wH9EVjIIhXnV
71ZP/BoBnmgbY9zKlYuxXD6XObucviFlVvl8U7QkRqTtw48/VYZ9IdRl2fo9a37V0eSiZla8fLum
e22IoTh6CzOKnpJso86OLgWcnvPaQe3eapscYtdsXnBl/VwtPHRDPo2buGPA9oyBx0AhCG7WUYZc
rbfQoSEB4Fl1QvT0CM7NASGoOFcM2lvy/1/Ln3pnnmOaXOg1Imcno1fZDvauP4W3IJhPDaYdPdbD
8juEw7YfWUsuqJpaLReHhjewvxeGEV5Ysd7FUjyF/Vw9hOxDOxJ2vnaQQQcIrh9ENoXHLg3QQ6zh
gWSlD0xK9V9eL86/+G/fV1EQimbl9eJEf6DCfuoTP+1S7+jkAodcNh+qIvZBgIJ10wZgY2G+fnas
GLttkZBaRe6QojJU8uqJJhuMwY6Lx45ljCy6PbWjP8hPYYwNoYXDiC3LTM6Tgd0RsEDvNnp7qxPq
+OrK3knknBvTXV9kBRv6l+cBT/C/HojAcWw8Rqhk0FWHamj7x7nnt1hkjdDGldaYbxagVsT4SlQS
tW8EZ4039ndsLGEEwRgN3zKzpzYIR/H9mynJXgiyL2ZcZHsKThso8+FkW1b+MPTBTm8pjulS31QR
VcsiN5vDXrOeuZl/MVeJoXTBazT5oKfdcM4KOCutfuFZ8gYKLPWLTog7ayUhz2+uGsejHyLz13JX
U0qzG/MTJW3MQQp+ro3V2EUtjIlCafKx73cMG2dylcPjNBSXvIZpdHoTSi+pz5OwfjWke2+qxoX0
8eRPvaI62NZ2yYi12ZDJY01G0O9xvp3G4pAn0xNlUA8auK9d+7qGyUDD9nyDimcfUwt3xv2+s/vk
abBfNSUrAvM+y9ockIhPpL8WNySdN0TbQ7JlcZ7ycdqPyVDup8XYiNa+x4dHwbi/izK3OuSD9UF0
w0dF/Q8puAnBoPrtmLNm9xbhtZhEGVjMfRjUWOvBg3b6C9DD5ApLPrNZkFwLsE2x+7itI/GZ3CXa
uIc7Px+MQxokdwG75A3nazQb0aecwiXpWpsBoz99FeueOHJ84upbLX0kDqvaXpz0gW3EupmIOaq2
ozYsJrm8LVivGvUkUyJ7yVb7xmZawQwYYJPLIaO4eVPRxH1ChdN/1p/T9dorjgVcdSlJtYZ6fZBj
le7JDnXp156yvUaO7c5A0ju1Lo1HTbkhcr4l6GP4gtgw2VkeZiTLnbudP4v1kIh13IV0i6MgCb5I
FzCq6Sk0bJJsb3p0g/E1UkWA7YSeEqp/JwJ8iixhqEFA05Iz9SnxcnGm0/XVDER8LRlcG+JSSUwE
PugRdtRFx0Y2J59sFuktpmzzaK9sxrgdk98KnhDbeDctOJKt2TwMSBJ8E6MJ7QT3FGvY5yyU9fOa
tvvWOdmTaz7ZTkJYalEcugHsa7XArRX1bKWUtGzGaC0PwgGPzlzJGwa3zqYU4dVzl+iWROtpJVhr
28QUHwpWp5REMrKr+53nk6/NPrnRu60nDaRKdIBtW1MU2wK1wFZvh8ZYzbtR0p8sVd5r1FtnX7B2
ZCukz0bMA+/phohj/URii0XvRW7YjlQIxA5MaKHhPS/0z8pVbPUxBc6C+qVNVez3sDUpGzvpe0Cv
uorbq6OWxJPWCQhe60gu6yNeoAr0MpbxMCwFHq+qo6gVyyWYdJkruyUXdmYwJgJg+X+BUThlW+73
UmQf+vY0w/q9CPKS2AFe6gHdlhKTACV586lwc6AFNTXbtTiU0oyYcx+n0ox2g23a+0yQieXgLhha
92AmRJJWxrqBjqOyRBFpg9K7QXecLBFhCh745BORVI09TvdBRE5623+SzYWvjfhdnCq4trr1QPo5
fSU+Ql8mDHReGNoJb/UonN1QGFj+RhfJmYgvnay3KTXb+4BiX64FY3NOBgZMRQS0kw9Mf6txhgU4
6DUwfmQGbneGgjuapubE9rqNMPF2O6TzhAElYAoTa9pwuWbiW78EAwW84dZV24JXcyxHAg4WHBA5
OcofJ4KFpApX0wUagsyrBo35PFQnzHAbO5/nnZTs4UqcgWAH8svHWM5OQZhGRvNQ9YseLZcELRP0
u17iUw55U3ST3MBiW9s+Syva7fj+x8JEtlXZL5Fn9BRytuueUuwShiP87LcFkGtvEX1Kas5G+U7A
D+nCVi8Pjat0igedVtD1uu5fG0faYNoN1XgZsXa9WorT5d5b6OFM5uCF0Nfv3upTkzooGNweGlCs
Te7AofFSDBB49UQqwL6288xeGL4UZgB2Q1S1CgLezJumb6JLW5jfysoQm6JPg8s6glrESYWLU42E
bTw+0czjH8gfI6Mw78G6KohbgtwUI7hbWKl25JBfaFNtYbNCpXIrrK09PNA9R2cCrWB7Yr5PLFri
7E5D+dxUUCCKNmhx3uDjjh8cNb+5iF/3fpbeYwrPMPPvqcP96CETfr/x0rnLzhEK8xYn1kxcOW/x
jLe1t0KExc0j7sk4eFyKHzRLpFRH+/PjGPRPtJ+/FuO8biuyrXb5TFKnZqeLOb7Iymrvu/Yj8U15
0vedjMHNG/mjLpUf3pbOla4MWuiUtrPlJLensd4NCpPMs66BzNqYJs0S96NN++TsBhUXVa1VekTq
reltcuzmN+mgj27SNYZtJAkvjkAzFAfV+uu0b82CyjlovNbrLS6zUWw6m/k2T7Ovca2uVBYTHcXl
MAy6REyHtryseBTLe17SxWX7SUOjw3pzcucS0FG4QQv7QxP3k7G8JF37mlfcYfrtTFXXRIB7zvrb
0Z/rRZQ3+kHxSo8wkdVjDI6IYOGOYo+7qW6Iu5bmxZ2q7rxEZXsGUA6I9rRLVnoVrkLtX0TCo35Q
fVn/Wnyb/gaFLFsjM1OVIn2xY2dBXkLgkwMsV8bi0xj9krXJPZEwoSxz9N7F9n2/MOrkEX1CdGaR
AhIzlwtd/ecqWhXK8pNbRu9FQjOZ3bxqrki/w/WP1c6kXNqq3cFbnXpfNeDdFfkLu9wok52eoOQ8
t+d6YMPu6FU8WD2iYWNIaPPgyKMGyz/FS0iHkyyp20pd0+B8ZuswAqhWu/zCNZbXNTiSIjHtw1lO
hwxYYc1RBOc13m7VKi5L6zO10fGlZFI85EwQG33Z0myqTkMCGNLxjlOobOw5+yYcsCsIn7LTGjFL
MRyFgomnZtnRYRyf9HkSRFw5fdqxlAW7DPhrKzK+HuYVPTroNUefaVPpke3uEJeQYyI6ipN+yqIH
gdzx2OQFqSFWSYXRqzH3/vd5mg/lEpEXkTL4QE9oFEVDA5ooaqmC3MiJQ1P4zoZQ9J+eTRD/jJQR
USj5W7/ZpeXbEuCIIBt63C8uF2EWjjyafNhNYIL6eRb7n1PF57zmPbRGtCr4MByaQDdbaCyyRVvA
s+hqela/MOzFL2mNbrJumpCJQ77LURb7IAC/JFOmedA/tE8Yvw58nxdikhq05K7eARWN03i85MkO
3UphvKX6xm/akxfYX1MeLIXLhyGZRYyvJwpylLCR5xBB7dcmNb5nddeee5J16EeGNxqrzNrLKT0V
Dh0y8TIc7Pmh81HE6+fcEPyvrEIVy5F46syRFBQ1vjZLQXHuu+s335qqowoWh9FF/5vU7R+6LPB3
ibTMHbvL0X5LkNbdlFwoz0xC1XaxUrxQLfoJPpsmsaYCe5e0vUaSbHYVZ65+Nc0WZk306Ng21TOK
Oa1640ihFX1z2O52SVz/HGBkiEGyCH4ByzEn/2VarItdFh5LcvNC9eklA5rfrTbfWaqAaLMIzj5H
SZo1E7nq2Ul2pHWPqO0O+taIRPMjyKix/v+rCO9lTq/5WmXbQjFrSLXVKt6+FM2vvpi6TauUMrO1
/BrTxT7PHi/ywJx+UDyYbSLeLMcW6pna0fbZmvP7Ysg4eA3ytMyVHzJMoI78hqCk4lR3A/eVGtOL
ciRVc5lPsyLsNMynv1v666qNN1GH06X7Xk00k+V9awabSDhEeUq1pyenQskc1UnaFuFw0P9/tI7X
gf4RAFVeRUkgv3W+9fU38dKjAAo8cyMJYyX7bs444AqBOyAlUEfxz3kR/fCq/iPH733mLLV2wh5/
6kfSMdpvgT9RSz2tyUaMPrkusgdooRxJ1WXG1Uz3BCIxyalxHMJpL62CQrC2/+xETPjeaL8uTP7s
a+F3TZ0gmy02vl0fXDh3w2MK0ziBPiGcMbx1IJQXzmRJBH5OiR6fr1BNyaFBalJNEhS645oEJDVo
LEOBRH8djmkQv+gRM1Ozgx5GW9jqKzInwO8vOThSaBSnRo0ZtF3A1ib9Zdl41rBsu4C+I3/5bLZN
A5BSvE1jEJ6lmH7oldAP2gcq7aFA+zC+RIQr7ETvoxlJ6p3qGIrByvZNRiSRKZVkg1smVBI5MeVP
ZcVKQ0IQyVZQb2Rnv+cErpMQTACt55cppWnuJy3eziriEhwbVHUId5pMzMhQm5FY9hPwjdunh2wl
xKdAyv5bWCwUulKugg6DYbgmU4hyp6aOOR+IFwzswxiG2TGMnWGX9hKtkE3AVjuOu1za/QMVAt/7
EMjamSiAzLL+PA7jPjH8gtR/yyHAd3oO4qRn7UczNPt3S4XgpheSS2bGz7bVyvMsotdsBGb2XGKI
GAPwr/0yXP4HY5qPPqaCa2YfydRt9i1If8fr6uTymccUuZBnZc0BKSFSwTrc6F/YqtiIkmwOdxYK
yZ0jAQ30DDBmpBWRHJtu+jF5DRekfHE4gijkAXUrzgTYSW/aNnfyd/2MrGRjI2q1XvWg1Brjd5K3
5TmUJ3uBRDAGtZPUeX7qiupZj02rR7isoNoqmjhHYjW1e0tFwLN8mEb2Q5sGbg/m7Mkl1dJfw6+l
yhg2VO5wcowadLMbk2GLZkt6YjrDrRBb+iVyeEOcuLtvTYKK3/EMd6N76M2WR2yh9F3omqp94/AC
sgDJdtKfjT3pBJCrZP8fyB5mkQzbT730QvQXJCHNpZ1fvYELLYqXLAay7CkLQsZHJ2I8o6EYwHzt
cODsoTdp2y3I13Kx8hgodUaO5+eWkOdXjGImT4yPjGb2UX/N0h6YZoX/fWl8dY/BZfdiZULlx9uv
jnzRc2PTVs9IUhI4L3q9nNifDwQOXcrJfXHdrP3chNGwq8pq362LpJx+lhfD8AgY6xrvoNeX1l64
nBzbO1GENbaVMlY7ucVvhDoG6w/aaHiko0xCY+erlvmxQ9DdzGgbyOo6egKrFtXKnaLJJ6XhWWPq
W60Kx20c1tZVRDlB9S59AWAWESmnofPmieyCUyR9yj1xIxp0vPMXF1E7J1Mps44E+S58WHrvqyfJ
eQOYcu88gknTKk8fg9XqyQDjbVpMNrlXjA9JGJ6bZv3RD/mxDmN363FH0IHVWTvuXbJdg9y/pu18
EQgrKcyl07eyaW9dEjpEV4uVN/vpd7QK5WYJT782yzFd61tOrP15OFMx0e1sHyTYKLrHzmn4J4F1
mGJbbpwwhqU25mifyOWBOLL+MFHl0ZTFt0npxq2cxPwInnpZlpfC6nADIUi+EHbDMX7nWKI4TOHk
neo4YhOouJ/dvgZTI77+wegpGOAApcNkaq5cYLkb8KRh7/NwThvltQJFmJ0Im5dvpmDlzTMb/7ST
xN7vrZSb2KA3g/Vy+DS5ArRPiImrES0bi/T5Q5X5vPL66RwskXhrRYb01k/3dryGJ4+9i+Ah7zOE
WlV8LqNieF+7iFwVzdbH5qFbCIaLbLK2iPZDzzPOx8FBjkgiFqc7GXKG0RWHoK2/aA8d6pv9uKQV
VJARMuoBQ7n4Ko5mTiNEk77HqB0+VQr4DCvxGlifvNKlvWudULjEw/ps2ivcQ3ErGOvvUsqqX4cO
EWHgGdeyMJNTNa7uy1pfkzVnoRciO5fE2T3z9iXYrZxprpfB19kY0k8y5ChAtRLSoDdkj5O1c3vU
46VJnLibchgXBQd7DsgD3yjjax0532t7LQ6JrPOrNKEIUwp0t9N8n0SjdS0CZaRRD3MOOujP6RGo
2ngprQGNmsNvvw7l49LU8dmum1sie3Esa6qlV6eSxxbkdjMndNkE9tKdcgQKG7nm4TYscEC76YDk
MX1qbFQAspju8tFESWuWw9OEfC7Iz46ZZrfKivKd6SMW4dS/sUjV+6UxTrQopg9UZ1L0go9mZ0ly
+Kc+Ix6R8o6T2QxEfxXV0Q2mHpvLZELWudsoRK8Ei+PfWofiumKxF5IQZx+TxBigbhxOoBUqnqAN
L14zfAR9Gb5UfUC7T+ctp7Cy020SrMtV+v6NUGHnYQE0eljb+DbQvM3bf7TuWEvk20R7UZKV4WOd
blMa5m9L20Q3OeXGtoqJJvABgo5NwRynQHKU+kV/GNNoQLZaBBf9J7/pDrbI5aks7OBCth3dGQWc
bzbn2dVQhawy78udrg9d80UyVU8ldVYFh0mfUCgAmqgv1uqE5alMSDksur46O0Yw3WhioZ8X28fE
/XCom7J6LkqccMYcyBMN0hxLi72efQMlCFSUegGUE5OLTay0G1/1vSPd7ouwZzSciWcdxGD+6CPq
HDMTzQh8u3+oAsuiy9ib7sMhn+/LMaVEXjnv/GSUh5l7YHRt4zHsaV+mYpno6DzFtRDHqj/bfG/h
LyOaOaiSrKz7VaSPU+cnZ4kXEy5baYn46KlL+UlIocQpzFZf3RrnPsv7R8Cjl2HhmiRJbj85E/JO
++uKcuZByztH0WanTtBCG8ZB/FbgPdrm1XOOR+K5d002k8nKj6s/cDbSTbGvy6oibz+kcYQNBZTO
onsztF/nvCEuviMpTUYL/h+xm5u4PTRJV24LNMEPoM5kxJnFBVx8TyXw0Rzt+BBmVbuhQJjC2MA8
D1Fc7oQnjEdpZoexFd/BiB0sE7TJLUF25zfGc9n4P9M8b+4WWfuf4MaAEMe7QMbrXVVLyrHabiJg
CEXNGvI8dK55pcDJvgAHeIeGfe8xoS9q6uPyVsMe3PRfNTWLJ8W7BZnbSgGkxT+TiQQ67Hrrzmsy
686uXkYYq2vu+dVNCgdNbT3zHzjd6m7SNFl3w2JxdrMP3FipD6gdEBH4rXmMgDCuRidYBlA7naRg
Fs9Jh03KaX4kerQf3OS8tEO899fvHkzy/VgYwxm267UZhXuz0MgcUlzOUTJ+bc01fyhlQJ7vVMlt
6lnBvRV59c4VXbANxjjeOeTo8QgG8w1edgr7J8aA4Wlti11g7M21HJ/nGX2XkSxnhEYQpx3i8L6p
gjs8QrRlhmFxctuW2vVsag6TkSht45zthRfLIwtG8cBdjSvNVYACDZYVOPA9IpH43qFWFDdsM5+7
ddgNflc+Eji5Yk0lgdU1UBLIxqM1PkiRgcMFt0X2rfJCoE9sDLD3I9tdjGlYObanGbcr0Z18b9Zd
N+PhqgknvR9IjiITklZx2VRbhMJshgkmAT1NTUkrN8N4xYwUsRLkbTXsGgv8syI4FQil3pWzT3rv
wkSMCQuVIXT4DtrYq2+1siz4FOXs9HSqyWeIwJduyr07dxnu1wjUDDEeUeuj+W3OW+fzhIeZ4NKs
M+2n1A/KbZ2F494Akt+D+d0ab5zvo654DNhk+tHKf/BmBpPYmwLhVqe0wBqxa9vlK23u4a3sVrIt
lSNx5IDfiujBjU3c5zXIg9IVwvAa0TYW7Yfr1u41rzIYOhbUZonpQazqr6qL1gd9Fn0VXrDUbyvq
0G5UEiorcc7I3tcnKnDPvA469jfQA73bLqbyxoCd4C7s3qGp8O3k1VlmSBKNFWG0VXnNtk1PhKfD
liVzcgb63WnSbTX8l35WTHxk9qeiXR4bnPHbOnx0PsWqQXK0f3rhs9O8ko40PuQEiGLJjCiujOMX
GQZ7W07n0XOqCx1tKPmzCK1EC7Q1LG6IXtNHQiuNz8iLSX6LE4AML3uCUEkfiKYmyFfBoQY/W+k1
EccEty3uZovVYLBw/lEGMPgzdjuO4HNVvCCtoc82eHNmu74LwnnP3jEfbXO6m8P6aDFrfepM6tpF
Wcb7RprhJmqS5Ga4Yo9X8sGJ+vbs9MVDR8vn0TTlz2Il3TNOXRwa8DCwfvRYm9Z1RqVIE2gab9OW
Ii0gwvcqLIZDNhJxNqbZTKhofa2TMbvpP3kG70FrZm+QBTQb6tfDaKCtFpZLx2CMDViU5jXxHfOK
VY45tPV+QmsNlxH4xRB4aWcsZvtgQJUf9157oS7qLbTK5NGuW9TSM66McR6zY1UvKx0tC0nKxmQ8
GozO5WsxVMXeps/u9Bcu3f83lc4xZ7qo4kipQuH1R4pNbgO1meh9txrRsaYCF3ql+nfR+S6eeY7j
5l7wXz32hUMdd9NuuS2ejMzNAJ7X4JzEOU2Y5YROSqZoNyQBqjD2REEE9YslcKQS9i2enJQqt7Us
6q3eI2MhaZac22d9kvi5+bUM5Uc987bKXDM8WVaPTj3tDNWNQOOq6EwSictftFTDr7rjcKktsr6l
iiXjsJHb0kL+lsnsFJdj/2CM74wr6GJXJjw/bFYQR8c4FtQPE11mfYjEoEfSYEqDa9kkLYBtK2C2
Kssqzxp007YPhnhb+vYrmnvZW18sN012Wu6CXZR5sfYeG6IqsZDgwgha59NHmd5h4YkvrRNendYr
OXjc/lgaWL8B3d7I84TDxz+0CKFA05SfdmVoRIo2kjxRTBzuKUG52EMAES1nPGa2/BCYXjaMdtPe
xwCH03rFTJHw8p9p+/RL9yGoe0hQUV7Qf+f8BVhPzBR4MNrtsOzRb0RXreToQ/tnVi7v+m8iuj6d
xv2pgew6j19G5X1Rkkz0m2iKjDne6QEkVvoe9OZox6gfVbLhpAB68UdKY3MFCfjNh9dFj8Ui0tPU
qh654JX3sYUvik6swlkgmFIBOc9e4IPk1+3obHteq5WSQ2dF/eFZC5i9whdCriXVXdYudKx5DxD4
nCogk8b2Zj9V6WeZW0/TYs/4WezviSq41lIKGbTvkCkHYJaLPvMMAzlpQu2kyX5QePXL5NA0rOTZ
du0ap8Dtf3jG7P7laXL+pS8l+JZwAPDdyOeR+lPU2aWQFJmTTGQKyru2TReWijn7lBX5j9g2xpPp
fNEvD00BaOhEv8oyIBWSNCXFvcGEV8THPmJ9dxBzU/Tza47jb3MQhMe2ARVNvAfbaigDVSBp234t
a3lpVkuABaP+KwXvZBHJeAML1/5Fbmj/y3HIj+cEqIqQQjukJv2pBYWksNKeXtW+Xd6Kzm92tqBO
i5Sv5Oi2UnJzFvN28I4afNEwq9ZwBZXg4aSo9VwogKlIimcXKghH61F7n4YAywYi5i01Zt//csD9
S7/NZ3YDXeeoDL/BHxLJvqoiznukf6nhnYp4PVN6/oJvw90aUSlO7UrTN9KBzeIAMRrZGO2JwGwo
jxo5oVN2d2n8zav4Z9qVaZEHiXnSV6EMSMv/1JR3djnnAoJna5qVvxnM+7CFgwut+TFL+oiCFYhV
Edt4S5e1PbWmWs2c+IUsQdiRVfwl3xE92H+5sI5PLqLPF8W9q+/rf+iprGDo+xxoXqkbbfw19M+W
PDEXw/YvCLsSeK0hu6LNqLedZ9k7xCDmN52AoeVNKbIgbLEyOiQejPuUoswXtXzTtwG76F1pwQb3
wXtj1UTqYFbbecgPiNshcm4ifMLqKNrq2YTOlFB8KpQKyom/JSYj4pi110LMoDL1ivohXM0Hs2vO
tlX/zEUCFqSODf6ILxpGC+gVZXXvj1oQmTd1sVPO82XoHlqnix/mqtn0DpRrTfg79nmSjK20cjeL
nMId/BChKXho+6b4SrC9eZ2IBtoUdm28LFHwCqWBaWyN5anLp/5znU4fTTUNF42vjjalmxbYIHkx
oG+51x5z74l4ofF17pIfnhioCy3y5kq+LpJni8o3ZfF0A7vejNJqoXpb99L/jJLS2TrOJN/tsX8D
++M8L5+7ENs5uSl3rCS/ZoYP4QbDlXDvmjGEFc2Miu4qYB+r0llvcyXrWxetZyxpxoEmHqrI1yB5
dNkqmg4RcDPCvKjJkzAPAtlnZ18Lwau0Sbzj0iAAYBr47vbfRRiVdyJRcikzya8UwcykHwzVZiVx
/kTOD9C2yR4/2UcvUyEhfsTcviCyRsj5UNEN5FgyvRf+8piiYN/wN0hXkiTcpZkb7bqOtltN/qy1
MPaemyIkYiTHZWwP4fKbWzOFgzkkPCN53dJKeJztMMKwzghp5/m0V1Jz8EHtvbfZ/ye4tIuPD6JS
JAm/MzvYakMBedldgbxlowXQs7LJjbmUv51JODbOSKFQQVbUTTjVR9ojh9X8spZWTz1OnGRp7qbB
/WY1GXgNzMLM/AjCYtxcW3IMDvBnkX1z+r2UyQae1WUSggQiIph70v1N3SvJi9a+jKYkw4EXG+5E
Zycnv//c8cIYUb5tPSMarvZbUXWAokp+ksX4TfStrtcBrZUFLImOojbuClF/Fxa2Op8/RIR0oh+o
3PYy+5NcU0kjSxdtAqJgVLv424S+gn7m7l7/wsYa0X+cUSxH9Qx9MvYttOWxoNDxoIlj7M78NM64
EWJdH+mOiWzsWHBBH7SW+Fg7x27ThXj0pUmnJ+bM0n7E65Tfe233mIwjjRgplqrM8A4m5Me2MyxA
y3W9Wwsmo3r2vf0inJfObo4FUOMjXT030aNgaIfCPqhCkcMoutPkdcRLY2I+sx+cVIY/cAlNsTLG
cQrTrkWLme3SHJUgQSxt/1CO7kfu0kDswfwfO6NBLzCOb2nLbksLz/fKuR+7ZT2K/6PszJbjxrIs
+ytt9Y40zINZVz44AB/pzlmU+AITRQm4F/M8fH0vgNnVlWHVndVmGQ+RCkoU3R33nn32Xnto672V
IktVlIz5fcOE7DTzqV3FFJ3YISsjhWlq2lsyeTKcEgU0okvLtsVFKvHryihrzPFklpi2mrH/FYk8
v/RLcTV7cSpHRZxkduX6ezBrc3rIU7MP8yV+Zsk3ntZXf27NO9uojZNGCoLirE0xJfX/Rg9Ocl+i
x8fVehkHA8PCIVmea427okHQym0Lc69Lk8SkgyvVNaO3BrcXI9yd3QDPEGXEEi8iVOPgGdgNmnKg
Iie9i2u6//Q4fhwMgw5Y4osm7II80QhFa/N4V2rJN3UhuqlFIXIhEK2KxbdJY9hl6D82p++WQRtW
M4dBjvsJg/C6RiEptz28u2r8GHqD0ZHF4aZV11X9e1mqdyMvKHAuivgkK3G33UTryPqlKq2NCd9y
D8diwUKH7vpzu8jVKCuoLxYtS1t9GiYiOi+0cjnPmlp9ZegisboS8pTCyTUTObkr/EFzX8DiMVlX
yOiUHqh5r5COVptQC7W8ng5qjXuQSpKTGXenZHUm5eD2d3Y9EDQdpps+sdce4te+I6/SG71Nyova
0UQuYVotPNzXU+o/rCTbEeCOzqMc2dQMVKnRw7enoMjxt1v0Pxbw2rFRsGS161OJRakxQhez0Rm3
u9I2ePQd6r0asQV1PVz2EuvqpiBsF0W0tcOCfSBMipbXs/6t5FN7HNa0Z77exaVuQyHjCXgqjPI9
qtUp0Oz61ntSO3MZD+jVqwNp64gG60ayr6a71URcy7Q7VpKuliag8DHxtTi+5rPbnjtQF11XDLSI
qNQp92wxdbfx2zq7RCsnJfawtsJOo92oCSSlLaiD/Lg2HJxIWFCmccSuD5yaHPofm7mi9uarTeYm
2ML28dQ/p1Tc7ZKYcaVd4+UbKkHqSU6jEfdi1SCqlS3AKaRQeB3XH9emzdIztcdLiWDt0uS1XgN0
oEJnOkWdK5jGXZH14l7DBFSsYYKVy8g5u94hQJ59Ze71jtsIwyf31uJHbmKRzRRsmsDu2K6tpCtZ
mr4o0V4pzPtcetMOu6WCTV255rEp5Mespp6f6BiIxLQ8UVt6pItv3ftD7GC74bGTGLuWkp3coHmL
x7VaDA+qYohLJhuPLS3+K3UAexNlmk8SbbfIKQK64GSHbVtvUoVEb6A8daNGmL9jjdGbA0XRmIoM
YjJIyn9WZw0pgmXft5ZfmXEUjL3HMg/z8vaeseYKI8kS/+5sBCPnJY2KCuhL+Zmncc8PA6G+JumB
fSMB/F71r6Ay1Glwwp7O+EDgiFjvOnS92xit5/pSGL8aSrEfzEfveVEV7a5eo5+sZl40GXmH7TXe
Ds6spqvdkIp2mYU8VK3aYEFYLtVqgSvx8wa5m78ZtZ6Tk6rOuXtvoc1dLXe651IynjXN1IFn2flB
m5t4X+hyreTG3ISva0fbcnaudO1WkDMJqqQ9rheOYMt7R2721lZaEU5YsjCcdMe6oI2gIgtSqkb9
qI7lL0UWp/WfVUpisDTcc25QA8U/tZpOD2pU3DKOtWaJdfxgPBvAEPxQoqrYb04SyYgPhuSYjyA2
pvGEC9U70LOuU0c7IFRHRXTelvGWVO/Hwl34YdKSyDOSFfXvoqIIbEWqdDRA+0lnMM6apTyNsXwB
GN+fMLy9DC1XqbGCQTSbnz1l2/QFz7lfa+4qroUY/Cb60zF5QGC62LqKzrEtLFwxY85pyi2RvkVe
MATYqJ3OfrOutKNSUGrGpSy2xHmYl5ft63reebQbK8YJ0NtVRK5+TIrouF0rk5gmh85hf79k6JxZ
AosA+Q2qkargz8/5TLFMTvYN1VuB4xA6LU35GLmSm0PdhPQV1XtZJeJKcYx7iDzlZzxnKzCmg7pj
Ze4+tSSnu4MDbTO22Hi6EfywC0QKLWuhJqT5kOfL8cvZvbkDtzHazG2MWZgXLAFqTlWsx2ROypsR
12E+zXJPPJyzvJRcy7rksNlcJguxpuc9a7gBDyGk6nVVHk9YUOEWlMo/KJDUd4TDpClfXmUKnYlr
RPVBRDPaNce5NvR01K2QPx1+1fvUlcftLMPEf8i1FscLaUQQdsNOmqjWG9NjdtlDGK1C9RUxzfxU
1lxUuzo2AmvAn7m9OgUWNJFM7ddHt+t5ikgprtunmUca26kS0X/hGGK1tVpdyiYlYMF1c4QvEg4Z
d0WntU+LKy3ftBTcXRyGTVLQxN1rObVN70QCY583b3cgZHLdfr3tmFqWCm/lYpJSYamwxr7iA37n
IhhmPjvAzs49T7OusozD5hAUZkHZXFI84HzrLK+DOVAIij/N9zbRmzOxXm4CzIGZNH1HcN3c7lLY
MeqRhEM6JM9ISLuOb/0a21S496wEzNmwil3sTLo/ksbtSxcUSOukd8Raop1tZjkMqrxkTij3OH2T
b9JDLB46LttJFh0iM7pun6tNoxvUZsHPx9cUjhlfIRrGR329ZK/Xsu242PSgCYs6Y1t7BGG3okoa
9ufKKZt676hG+lf0ZZoJFNBfNd05QNStujJpS4uxUtdsCXKz/gkzQ5wVWjkkO7PHFBzn1Mc8V4X2
aS659aBbWEpKp33TUgIBcKF5cbzss0tZ6kbmZTv9Y3Ocg6Kvn8Rg02S/KKyqVu/s9pGoOS4OWsk5
5JSMauhmtus91KZztwGYtDyLd6YXXYc6ftqsUe5svTWZNe+S1b2GgwwOK4w2wzhv1KsJee8MzuR5
xEN+EtV0U1h6s71OfkpBEa86Hxr63W8Ubn8BMBaa1nZYKilj9VhRru/8TZMyEUzaNr0lbA55reUz
bLTskmrTnjgmVVq98ciy662N9IT7Kf642JvrMNIyRkRRPG3Rii3mIawZjBA9CiD4eM2MZUgCIwWk
ooJm8KuK5uDYduszikQBUrXgVNwPRIH2DWpNp9fTjW32y2SL+NJbDPRTOZw0per3SmpNp43WkJoR
YKs0ed1M25OpVYeocxzfNhuqIRfw/myXqyAaS2OPODvuksZCCFmtFiga5XHxjEc8USXDQDLyHViZ
r1SIsG00h50xYxmQpQMdZ92P9GLZ5Rw9ZgWDwYMq82VWTvQYk9yI6FwoLP1JcnwMsDCPzaAeBkZ4
muFws2GthUEBt9iAh6w5BYJLvyJ5k+FzoJ9XrkiL7bmixua1UM1LnGYK0ygf8JZKugBt4DJHwD4A
OLxR6un6xTxfN7bJdscsXKZuYYk1PcEiyVkeshXU1AuWRHB/X2ZzyLj7R5cN9JE2RBGm8lu9slH6
uX8W/TCF7iDKIFcq5DxhfDLyveYNP6NO41FuAQkORt1Mr8x3GkCH+qmKWgbVUf96DNgTtREWV89b
HpHTSGlx26dubh80uld3j+u975DE+sh2LCsvvUA+t/lws0XlMSAxD0zOeJ9ht/NbxDYYbbF5tKM1
37g6+TUcJftFPKQD55FIGdR1tH1RkYAAv8zeoZ1ePKkbh4I5qKcF9cv12/VGtk/WT3nRM4KP5+2j
s+nPhaxxiohfZcTwOJfyQsKqvDFe/Yto438lINPRRtUNqUYVvsJfaJlZ1vTe1KmchkUbEvLnWpL8
0tZVRgp19Fz604q12Q7/jVXHums9+PG48/8/GML7ka8UqRygcCG/KfSJHomuH/EjqbsImhKpEP2H
yDkb1XiwwwQ+KrJ4xoy1pPqu1SNWBlbzkM15emeq/zLJvDHp/inJjPIJpxAwkktbOBnxfw5uml0G
ZMbSJ7hbzneSVxjys+Wkju6L1DiooHPqe01FjnUX2M2Gmi44gszrtiKWHosIaANnpbAbFlSpeVZc
7j1Oo5Bxl+lpMtv9hHnrscVJSh4SBG2TZHuFdXXnnO0BN9ncWac5AR5I38Bpu0O49vSYc0CtfwYU
ndy9U5uLsHS29GhEwTrsxAwGep0/oT1qpy4vLhyaZZi4q0rKxKOyMQ761FaAa9u3xewxBZArt9ZN
rDrkXOceMidCbZhlESqKSuEhJPAsb/tDPZjcrOK+vqSFcYT1RCCi5OFeguMCFTnkF3gpd8XEehkB
jzPI7tPHqaXHNHV2W7BvANR3rlv7RZm9o47l/OjFdem3Ru/tthndxfBnRXgzvZ7uTvKUacKP32xm
NrBDG91NMGrFPTnK3BufRsKDGPcoS/WwWcdpeacnYxoa623H4NpT6Xq+myHj7IYGQxP54YHIohh2
rTtfk1HYWOBK60ZCDi8JPpNj71of5FJxPK/31UxWJHVBS2nYM/zC6WQwaz2IVTlx6pkH3ahKzF9F
tB/ghhIjt3Gu5U6oDly4YzNia5C1YTkaX8KgWBmM1ASPWmoGdTl9x7bwrxob9f9ipeMQgGDnYRq8
/dy/vmNzHkMC3fQL+IP0nCOxUVBM9xgXfTNK9lozYYDjW0lXEH2yWo63v62GaaRdpdMS/+JOdVoA
Z712Rwn9IVNnEsGNGq3txZ8Zo0IArKcO/9+7D+OvlV48+1y2DIwLK/QA6MlfctKc/wXTPvC0Da2W
OL0dRvPAndqjHZUATda69XNucrvpFeZADpDJZ5reLyWON/hsvPdJXvBGUy5N08V+NsWfypJBA7MI
VrpkwIltkcjKiCmAj3fIW9RPkZTOMXFO237AbUFy966wcWyDmDLMiXrslo/SchYVe+9awENTK8JG
X15tO3tXFqZbpgeslLZ63628MIxO67WLHGsmJ85a5TjXggpr811Xqgc3zr/rYzojkMevUnff3Rar
1YY57TueBBmXoYD3+iGtPM2vWhB6HaihPzYXVZJS2jOBwevKdqs9woMFL9SSf13Hq8I2ARDFDzE3
fJJpII3M2c6QyL+VNgtOqoJwutu/WUKi4M4/CRgW6GXAqdM3WY+MPact6LOJIjFsyjLFJ7uq0Puu
8hIMsY+2Nx23RahctSujesv4JIdWUzgkf8+6xy1oJeuhlpKlW3lVS0HqBVvf14gw1ekZlY98ybp6
kx1u2RFH+Aryi4WGYZl+6t3YGdxGVibqJkFWq+tlpTu2Ho+fQo5oBxW9tkunfBqj4VxKI3GCOPld
UtYr4+g0ZHgiuCBOt4WxQSMo+iWupzrU1hm/oWk1b0kKhXq7V1urJcapkarSFA11TZCP+BN3ZiWe
ti2z1FfMR6n62ug49ExLzAMj+iwrUEaTDT1YvCJOiXPmuqzghQjZXiQ4IYz50i0sfRGn9kZiP/bg
74/bANsae10vSeCtX15UUbHHHdskw/SQcACqcFAjld3FGidKc8n2PVv3RPq7K8fmgP+B47ZMzttX
106N4tQML0l1Ljp+B8C1u7lT7ZNX4IvBWb/gqj6wgkJYSaKcMgOTUUYIjfkA4r813EFsgSrpjCfc
kJy8axC0aoinsL59NFiqgA7JnuIFeWtrryCEb/i2kRPhrsgStHeak3p7PkDXrbFCovVw/VjAeTYA
N3jcfxUAyHWB7mj41b8+hizv4w531lK53K7Ym6cSH7XaT0HtgSXZElFNZyTAJqMf8QLvAZ8lLibV
IeETNSShGi251UtP4YP3Ah3hHyD7aIWxTZ2l+GZMiG67/dtmcpk5ovZKMeA8RQzAivA1qG5vgk3i
VMGTB1XWx7tt16UicJemWA1t628YodpYMc0Gq2JmqhHskqi7RR2P0sguul2qeA9TLEipO+NwbI38
qV5wgy5F9KrGjIZths2+taNr3OGnYZdD7ngoL0XZfijTjNHMdbYCdAR9l7itP6AKPSwJep9Rq8qL
M7SfSUP7cot3frsLeCopwh4azS2J2x/Cm8XXrb0S9kmdNP2psIpXWJ8JoKLaC+zV29YYJAwtGt6C
hOL50BrQOmOVIFWLl2rJ7fKQyLILnBqocD5017hITuXUWM9gTPaVXMXHysRnyfbwX3FjNgzGP9+2
PEM1PNOyDNNSLfUv2Jul0kfY77xfO+ARpPuQb9PZ1G6amtfBQCSeucJr9/m65ajk8p5gc3+xEdrg
vI3nsWaoigXClcWpHxO/edGgdSotcMclp/U+X6R6SQ3zl6NMIfN7eW5xkvIpxRZZmEfIUc1JoaBo
55kiCizCBAGFS7ih6NI4KnaPY6uwXhXlPRaC+nA1cYC1JHJfILMcKifG+5vfBjoY7jud60q6OOeu
ZGpxZlc7ihQAxqp4pYlpQmBwGr+KezOUOVuYVRnZftFc/Y7xkDbnqs+fxhGTYrK+7w3jtRqV7Csx
Q0runCmon22iyJVnmR1GWb6ZC2PaphE4OdkNJePbNRRfE/b7BovAVlBQXg5Pynpi27yEWzy4yqwo
bAj3OmU8H7bnCc2azWkT8Xs99Qvdu28ZhX0p1jqbiS1B6/ib36gGS4n5v/WNOW2CTWYZZydi8MyC
HJNTtIibbqFlbs93o2jzixV5y04v+1dPVsPFiX712mudcngIazAOCmo6CXh8PpB274v1UmeursrN
K0KNtl/pyC4dSl3TLm9TPNS+1lSEQ5R4T5/JdoHc2Iqgy/vLbCaP2/px26Aq1TCG9ImfoK19VGTz
/KKmYBsiJZuuKLtaM6p+z7YcMC2PorlPW19vtxBnh0+S/WRsEV4GFlOkeX+IzYbPXs9WdpPo4pF8
otuPJ51H/S2yq2VXJlF2aNRyvyTWA/tfpEeB8Iuwj7lEjDSKrClCXGJIsYZxV6vGuHPWzGU7DZ9T
I/ByxNpX5G7RJ9s3lmb1gyZ8MwI5IkrrT247bCIijDSj0ZdAYPbLOBnHSHdiEEUF0OPKTr+KyP6/
SrVeypz//bUni+rmX2U1NyJOur//93q3Dr/L28/8d/vX32r9bv7j92r/vv1y/LsMfnY//+lfwqIT
3fzY/27mp99tn3V//5985T/+y//uL/6P39vv8jJXv//9336VfdGtv1tM+Os/92etbaj/98qtnfhN
HrvpW/Hzr1/0Vbpl6H9zHBUDzVraAATIBYr11bqlG3/THBcby9roQC+Bwa+s253k3//NsvklzTFU
1QT8b3Ap/j+tW9rfdMsGlKSTZta2Qq7//Xd/+Hqm8mP7+ln849//cyGToxl/9dSYtD+5lo4ySvMh
y4q/DA64L+ha588JSqyu+RSW2XPCMHONegJKDgETYzTjo4vdG6hl8ehk+q9lxTeODlBdaaWIWpV2
mAaiFr3W6JdsoS5RJO+RASUkt3huVHhR3elZaVznYo3KkT31cxd1TO+2FbgecBaXZ4YxR7u8SOjF
EZe5xZFnt2ByFkv56A2ypjH9p1Bnp2UgRqp0B2+OHNRfblIqZbKkSPWQAgS0zop0TqkbfJxBIfg8
D7gRqtEakMeUWBDuAjdJIrd90z2Z7DMAK5HmfCtBCsLN6OqwqznSm3mO/FQ17434vcCVEHUx/CRn
+KwfFzQ6v0VdwxOiH6GvseEaCc8G1igRwUhR5H1NPrD7rC35Ojftw1h8jORYdqCQgCaz07P0NkzG
MtRUK9olhkZI2jsbnHsYlCfM1bjBl74dCPpmgadPZ8NkqTjk3zp2+Xu3Ne7K2mGpQYVqghw2AZP2
vXE5ozFVoSnnc1xqFP8sv1LEOOm5v0VUK8FQg/xJVDYJgdaBUxYRZKyqfFtfETzKf8zCYc0xLVz+
THFuYgghsTO+mzhEwaqGyvCt0JY/31WlWxEuHVod4zTI074c/2hQlv2pb+7Lqn1okCpA2DyMSUe7
d51Hoac0pOdCysXqQ732CxH+wHlTTZdvXDXasNBAqpIfC2ZHeVmmhuDjrq90biM9iY2ZaX9H/O2N
p+sTYZBL4kga5oFc+aDLXjgjjuChO6ackY5XxXiZ6F9zjfYuyedQ7a2fSZT2R1INZzFbLPWb4QJr
f/CriYWpI5UHY+K1gMQpwgryA3H30QMCT7JlQP1wr1HUPsRLcjMU3OzTfUnIB6O0oHlLUDUgSBMe
CMj8qgCHaCo6TySWD8WN77GAw5oZLYfEWv5RkRimeuihGEsJ68CZgrgeq1W3j4OpScLIQSSfEv50
XcO4YsaUc8QQbXLM6JG3Fs+YGXLJyP1ISd1d3H9z4dWEieBzlyXWDyNyv7OAbA+iVp0dcT/uktVP
TcXF20hOW0KIktMlRlgx49fGTfudLMSLlsDrcAX3BQKsd8LjBuXapLRjkLAhaWlskjJBSyEYBAdq
fTst/WObkNcjp+Hr7oibf/6mWSMzr5jMw+Jm2i4ZDwlD1C4jHBi2parvhgS3z6iKX7XVJRzZNBcM
qarvlZnA6pC6F89b9Iv9TjjHvBv6cToXmNAjbdBvrMBYsy2Kty9nNcBqZ9yr5bmU5GEMXaNNOjGC
XHXqR0xZnS3KhwalPTRJhrG9peG9g225aAUeEqRKqyLvJ7Os5KqZMFh21qM5cglaeAwkCuUe9Wy8
sLofD0oBqAsl/5ne1JZcGit5NHk8d+hnS2nB+Kj+pNRs3BezdjdJad/0tOWqab5ZnqOGQ9tfFGWO
L6ULpHCZxxe7cF+x9+WBWVofYlmss2shWZmKFaT6+H3z7Km0eFyw6zItuab0tWRULh1LkSNv2FMz
4JepRxp+Z0nctoM+yqUWDazPUnx1rR5YMdudVHmsvKqkEkvL772m3qPlywPXk4ML75BLDN+Q55AY
6ZY/Vq0tp0qbgtwuIC9HUJDr8dqAboNtTsNeRlWeryQdQ0MFxa7q07d6fesCyPhmzexHwXVDwy0u
LWt/2x0h2g2MMppjE0Ve+qPMx1ClNW9fW0lFJ3t3YNZ/Scx9q9rDQSnzu7J/tKKJfJffGSp0faoJ
R8/RfLzkFFKQlEaRaxbfTaI9+xWVcH1107XEOZaxe2nntYdi2sodJtdfKuO7u/JgwGJEh71r2fEl
lvmLamg16tfZ8XhyZyAgiP3ZvouHt4mZetVpeRtlwwMwR0eFaYGBhtHHIqvqCjNMmuVk4NXYWVpD
r+CI5m5k5UyS8J1iAiSrGL4M+Oy3pZzeZnz0jBjk2VES8Gi5waTXOh9pz/DVNs6gbzVv6ljxM4At
XUs6hZJCQkLiCVtpxjdWseISofpkbmJdOfxu5aBXT3P2UbgsmhOHhjRXx1sulHPOS4tPg10bM46d
k8D5qBwjPrQL9qRR1nwPCpyUuNb7k9OXaAvmfd1H9oOn2Z8iCwdjck4uL7Wj9Pk1j7yf7TLovllG
XsDIsEsTyaPB1Kv7XHANEHX6rW5bQGSoMZfaQAcuwQJ7c94H1seg9ymRCSUslmG+eJJ/yw9eJY1H
bSi+Z87k7GWPYdVrXDwB+Jfg0+7MZW79Xo5qGOUpXpjCOVhWCTip6o6IRUErGb89ReMJCKt5okLj
Iz8sMus+Uo8aDsFO9JAW+TOb7BILunkg2hRz9NrEbtySqpG2XQJDj++qoalO5bvCG+AysliPjSy/
rwkfEJtSj1M5g/H3hkcT8NQDk+bB8TLtEFv5wqo3+TWy/PU1xf0N5JblJO0hRlXpB/iwR32Fpzd6
8oMoFZXV1fTI+TbtaqOLQ5CTtI6oNNnQogdXx6UIpCV6EtnqnhO5PS8ap7BmOHcsJndqLZrASevT
pI2/K5lkzCRO97LUxtO4/oUsNcoPcdwQHC3be7Zi2rVw8GiyCv2OxSsoE6yEHCk7xEGx07LkzxI5
O3fM3gdduxsIb++oJIzhSJX0BQzlNYegNLnSPVM+5cBKJ8fQojgFgPCSoNajX65Ca0vWO8MlKgo4
wyhf+yJBDIv1T553P5pINcM2J9vcRGxCsEfrTmdjzKoxsmTfmD3NU13X1cWJ57MG4/E2ygQ/UImH
Wu1Az9FHaAZ93H7XVv5wKRAG8wH+qlI8QcccgslY6lOixgdNZOaDOwFH8pY84qcgwRgOuu7X08h/
3tJgURU6sMgyZy5Ga/NT6jX4zsDoiNs4GGiZNi5XS1HvI7qKdlSMNmiAmOwVLNUpGAHXJMCNp0qz
e9pT6RulmyrQQIYf8vWXidX+mQC/nLwZ/rVs9woUHMJvOQ0sujXtyZTVQWTAk1oY0M+a4gESnm3u
DYuzm2rVDmpmdwPIRGTNL8PQsLXA7gziANheP3Pe639yzaj5C9bMvupjMZF+1d0c86StLkE6pD97
Y1KogVWpq5XoxsKuBvjUSJQu9hBnLaYccpYgIKEkzyPjNFX3OMvyey5n9FERyPVVeVwKLQX2g+lr
ado7L1bD2loEHxB5VQ0aV4ZMkAq2Ld+pKaoUZgKFBUavm6fJGQMdG02WtmFf0ydZo9Pj1sjAFzpz
aOFRJdjU/WpjeBFUpvnElklOmpnwtZoMG2tNrMFd4vCfVn6GN5nl+TycluqFuCvNC85RH4p0bxRc
Bqdm2s8Ly0x7PWGyyfzDouVhTIu7uLHvPXIl1pDe2qj6GHszg2wa2P3PMXUQNxLEHKb/3eRYp8jL
HV6u7668LiKKjkLF6ofRlzdAXOLr58HaGiStxJoEh0PFQ69ropNiudwTp59LNOVHSygAIPG0Fh5/
ATMaQ8KV75kmhsv0Ys51FKyiQuj21qNdaWFFGoxojAnqScyPI+xPNsEYvoQ8Y1p/iuduplbCMhF6
2HLkYvxo4Ef5YMGJs3a0og1qAXQGBIFaTE0ougHcRK4FUec2QT1035sW/4ZRdPA1pQOpBKGJLth2
x8gInqE6JpN7IvaG42fuvf1I/vpKGhljClsUFhkyrh+KohQPeEkoP1vrOgauxjDTivNU6pTxxhpu
DAoXdCo2kGxc/SpiFPM2k/tucok2VFB3MZH7S6tAE/Dik5JY5LnwpmK36ldcGcijRWQBlTf3vbUY
e3UQobMg3Gp6ZB6qOB2DBozrgc3lrrEqDP2i8lVjxtkBsN9fBlpfozy5Le50J6ba9dl6WQR1u/4a
E8iCzbyfDbUNI/oWd6Ts3xvSX7soa3Alud5NHxTdb/SqQQyhJs5xlrvBneNDquW/LGc5TzlLETkK
GmkPRkb15kInEuCLOVA6ELjDnOLuMZVnYZVvEeuQkCg9npY+/ZDtRNqQN5DKqtZP2fkZHWOYHOpD
HzevuaUW+9gdyb9MeH1pfZDBUjp1wDiWVujWw1HSXFWYaXyI2pnbn6sRV4HbsdTj07IQhMc6uOtq
XfNlM9E16XVYpYmnjjheEN+5k/B2zItaOXYWye8JVTHs3O4lL9UJ2f/BxpR+5P5FOSH4WnaY4Fxe
LIaOwCQ3QA7Pu01T8ljZyHFJiyI1KMNNKPtBrBYhZnpssvULdYHtpcjP1hS/6ZTj+alrO+HKdsni
hMZpNcuDVM3uVfaZXJ+oWaXQhsA6VTuexRTr5kctsqEIGVQG5OLVqxJe8bb0R935xFAOdagcAI+Q
1aYI6YczdEEUL8/JMH/vojLGNnmdC3i1enpnuSoPzuUF19A3V86ND4DoyVU9pjuFN8+AUcg2Ko5e
GKe4Ib3U2sVwmXDo1W8tFFl0CuVgj/LQ9nTKznOJ6hnEsqJ8ktiFk2ITcS3HH9RRRftLPFy1pGtG
l/lL5KjGiclip4h8JfNCl7NQZmx13ZhMJ/ElzP3KQl2KEyTu/D1yCYDrGBdZyll85N2QrYJhayY4
IvNb7nXfbIdwgzIay5kL46nsARzWrrorFU1np+8Jkj3lz04qtBYSOQg842ROOTQGqSAO5xwp2vRa
LTO6cKnzAx3yN9tNn3jsfCeUl4yeirFkeMOkafG3EzjDBudcuvkvPkIMXOuixWAful7oj9t/Xcox
QtvgrQr6rfeFniI4YCS+ugPHXwZpzWdFyVfwPGM4py1RAo89Db2X3yktDNtJ9ZDIB1wyUmB3nxIG
EzHx7BglV8PF9WgtejFVBvIErNaOVcoVCQwQ4JDfIoG/OcrM72ovCNaX7afm1gizEhGoHavjWDTJ
vu0K/WimwzMPloM1mNZBzNWOfJz12BK9OJBjQvxQoJ+a/EmcBcPtt54PtzQe54cVSJpJBa8uoLEx
nuAly4siX4bI60JByGsnjdbaGaRrWkcp15bje9VmHEwy1wqqeCCZnpmPqleQRzDwufX5JzUZdEwI
cS4bPegUPLEJju5iiVYeT/1Y4jI+gx15bKOhCNU8fTTG/MEjLxrqHT+BkZNFJpoIx16Lw7riIabA
HyuyY1xjq8OFvcODAXlQNX5UqZcfFW5ue9WiHrfXvd+VjcmMFCUGG0pxiKQM2tkbPkXqubdF0Y4Y
y+NQmlcyzgy1hninMTLgayBJ9AWxomU36QJfYylfCOLXoJAYnubkCjPlFln6q1JQG0Wt5uvS6od+
wTsxpT0XIe7RfbVPkWwAaPFMUSW7VazOVxlNQZbrsa/GGvy1cQYBeOkkjI50zjK/UoqXuND+YLDd
R9CrKaI7cJG8NMz0Sz/84NORh4tZnwH2H9Kc9XnWQHomKIqO9tOZEde7lL4YrbMB7Vwq4MjpoNlh
I51vrt4cm9V/opF5muZ7RsOA3VKYzPgy4YqyKlwAcoP+Ze3PPGGGpTU8GlFk7k0JICV1TwB8wFka
PI/MjOAaEAG/Kk4le/4AWLBVkhxotB5SZhqwnWr19knaPZNqx5tzaYIhKe5m5bTkUBNM9LqpAcU0
UhKv1BoWILeExs8gLsxvUV6dXYTHo5O2b23nQWwc7foYFyu6PO4dPweWZEskMJmtNe+xZGRXM8iE
WLvR4dbDBvIEYor7yACb3My1/NEc2VDYZfzgClFSTOtcsj7P7keleczYz862Zl9Jlrc7nRv0xbZw
MNEwetEaxp4U5zVEKZG7GJxTXKXyrM1cJPntGtLeFp42vqdLP3m8lUEPdeSq/SlyQGpCsmPL23yw
KVlTLBxKGXRLB5jgs0UoA57lgje3Nsl0mLeh+18cnddu49gWRL+IAHN4lUQqy5YsOb0QDu3DnA7z
18/iPFxgcDHdY0sM+9SuWsUCrGoIiwBIwRORFLSQVkZ/yKfpKUnyZKXHdJjOWVieEWzFSmrEzb2Z
bsNRHb6cOnwGpKTQzmrkSMI5cZIe+EDKbIKB+Cuqi/6UtUd3BFymv1YVVmtpj4Dfav4WrJ1cDn2+
ZEk4pkwgAEE2IG/3ZxZK77nOJWrpypWlLjQAM3/WeC3yc7prC206SHQ+/I7WdM9AL0k7jrfTbO/S
UYKjyrki+lScXfXcjTPr3Ml7RVFu8AojvuGEXvPhRvtY186lTVGXmWDi4D24MhxIOTkeyDSTl9x0
HD/Gj8PHZD9p/JRzh8nQaUQNXjvmaF0MXzyRvYM3YSzvCbjrMiv8mbcE1GpeV7qknSEyKfCtaXnE
oegFTWKEm6IeebkmkoRuhEQobIpQx9kJWOP0hAz5Su1UMjdzOV0qRRyhVHFU4e7Yjq72Vfb5SfDj
bLjEXvjD4cajinaHecRdZ6ZFHEgZrf+53nbezp+KzC9qk7/UGBfPS1YzFxQwWF6nQuk2b33UowJ7
vbOqsSWllheoM91cVVd3PtLx0XEqeQEgd6/bh6o6bCIc5Vj2SryLcyjLiqETGw/JZ5S4JmOb9I/n
rdKqNFeVyIU/p19T3w6rNK50dvZTutZ5A68iqwpcGkGOsyYCfiF5VskJLNzreJswtviT0w2Ir2DV
Da86hyZGuVk/GIo2PYcQ7SYDHdIOx4NFPHGtzyToIk5t5PuAeRA9gIoZvboaqQsBqGbIZPccliYn
OmzTsiifPSaJNX6xam23FpBbl2k67rZYSywI1II0nIFYJoHVr2crvOojyJBrY7JMVNAKk2K0iBdA
H59JX+VCFYdK0X49OdwxNG3JPf9hGV7l4Tycgfx9kprON9UMcaD3js1yaO1rvn3AfWdyOv1hakbs
BvUtMdm65JHCUOp5YHpN5Ta1gqGz0WhpQ/MJpP5eFAt0E6DUqgBR5ucJUkgTY5wPm1TSbn6n1djb
q8az0EdGDEPfgyvgUTyisDVQfSnYnklTmzviI+mGlK9Lidsdtp66f7YmxmCOWU9RE99gbB57iqnX
udFfNA6966py3vOq/5OotyvsW/UGMZ2XGOqAOYG6NESKJ0/JCN3MSbLBVo90FkfxTqvwUBEM4PQ4
00DbFKDBBwJOPqfotZIufOlMPkZHI3vL+bbJjTMxyFscxnqgp9ZFbyi9gGdDwM+EasJJTw2qFM+p
rr9hv7g2PcUtRmUf3Kz8dInEERZZ/GCE/ILGcw/0mMc7A0hRXYJptIWFgoS1yi5nEFJFs2WUw2JW
tebOskMUVaaLyS1uDUsacsmGT4WI9KmT2PGU+5e1+rE3D7ENMi/ywsSfIyY33TB7AGN0F7uW+44I
xQFQA1BRu842HlTQEQa+gUjbejW/LjyKdrJ9K8W00xk/GJeVPf8dE0bV1vYOeNR6wBM8FzgoFjvL
FOAuh+RTaFl/hFRxsBloeCd6Pyz+sx0zz7kHDbvFKwKvyQZQM2Zc6VlMva5OBAtkURh41cIETBA3
FS3l/V+nUYAnfley1DoXUXtMRVztxYCDzW7VwNRS7dVrfztaADjw4ug0xEqJe4h2FtycpBdfMTnE
EXcElDk8L8XKMbNVSzLQ5DdUmWU4o7BWJ2v+m2g/svx23E85fTAvpfnFFm91WzjrxEWFK2TF+3OB
V3tKSor3zUnjryYk420YM5nDmEPsqCfWSVXnt0KwMYgN8utW8yshaK2s3KPpwhLYGBz7UXrc32oG
H61XWtRareJX55YuDZ5X0jCCBmKk16vpdjGGCRCv1CRohf3lyP6nsorP0aJGwun0d3s2kuBfO+hP
HUCTc+IZbC8Inq5HJbJRxfpq18Bp0uJ5uHrpe1Uk5VrRoISlVTbu9LjYTkJxDk4Jq7YiCKva+jfx
W2vFU8/YglsBzpJ+0pPRBPHgcPAYf92WoTm3jYUrg5HA0Zqe00Fl4PPhtZsPUX4eAdhS9vbGFccb
q3HaldckH8kXMg9MKOsqdO0H6Y7PwfycuuQN/tzKo8ZgFfHO00Z+vD7UDvYsoOnwiYiyzEj7zxg8
Z/elq6OgcOKXQs+Tk4xqcegAD609oVwQ0Nm9COLKWXqcaOZhgRL9ARQotpbElzjKmh+w1zYROKmt
U7fAi+TNSM1LYQGG6kn/ZXKq2Dt6fm5o7sHAEJ0VdcdzRfyhj98ZjY2gLFjNuCZPtrn3drJzDd4B
1Znf8aowIG863QjyAtoOvHcewkoawB1ujq3N4gvFlx7q4ocKqRXAwdM4hvWBeNgSenHRup76ykLA
T22f/iiAc8R1hr5kiCDZYpI/XedICx3Y6pbU7Vk37YJAaMuop5bNuY9JrtH+TUnMXHP+tL6zbIY/
2lcT5ErWuEXOY81Txls78nEMdM7a8CEDT+Y6SzGC+a4gKOhm9wKN9Q5p/dbq3q5YJA080vFaQUo5
8qEAzcHcpaBcHIFtwJgE61pK0JwjUKhS8hobY8riCA11dIZdQ12Aces5mjV2ll2cTD1nzv3/xJIE
R31o5+Ipxea+L6Py3HcM24nFW9LXOtq1+3oVkvB2ce3OxSdiywkyzNZsgQbwt3ZmehriV5tPsONo
gaMuyCIiL1H+HQ2EBGGERSMyIUuj8exICqSL0HeS9yx7JR+IVH2LOuPEzgCCxo0sJnj9Fa1dq67O
0RkqjOsWxLuIkYXuo2QJOsevqfiWBvcRA+/yJqzYxGps6XPKFpunsPgY8E4tqMMiveDhwEqavox8
qb1h73DjpFAd690c6QdFUx65AYweHlWtJHrQqeztYKKUK20ipJCyLl/xL0Ur6+L0WtAn9bOK0MWd
Bq9zsfvWyUfh2n9eATo1xZHE/0dvdTEgK8ryKot432btplPrM3E7ylDaeo2Ss52MmS3Gv1blDZiZ
MBez1dD/ehAt+gizH7sGVr8rw1ah8KlXOeJmk8RKWuteGs92YW0rrLKqKX6m6a82bD6JP1l8Zgha
iYdjQ5Tbsn9P+hPAgo0aoeyKlO4dXt8ZoqyufILyfrf0bCMhObGsRip71ZCnsVP4Y3rAHTH04HFH
faVUBhEEXCRFBmSvWaf0pKRDRBZG5UEaUhQE4YawnnTYTbh+RB96d6gw2kbunuv1eZzEK1W7W8+N
YVEmF1lxPFSQIlEkha8CzEg45DRvJuvKtngvvGHVsnyptWKvSgkRYFpBr+Ux8NctQXpKtPT+dYq4
xjH1Y3qXmn1gpRRYk/7KOo5UCoc+jT2PwHDVdzqB/jQAgRiUOEDLerxHevqmWQIiCuc+9BaKezTu
3QrpPnyG+mbgUM6NXSSMFshpt0J7oiCJ54s3XFvEHlN+NGwyIooUKnCnRs0BMDwa5rRlAOGJlqEB
aoEpLoTAeG9tLO1ht+6y0TmkoJKa61Rc0e2fjepCDYnvsa+s6qPX3w0qazTyM3q5K4wPa6hIxL27
NakRWLoOUS2lBiYwbzv7NtD0qzKNOPx8ioi2FrC7OT4Te31OWWlwiFh5iI6KGW5UAsplh6ALkaQs
yr2W/rTMXtzTgQlveWhWpKw2haO+dPgIdVTC9tBrnq9o7yqY2iWs4gwbSaIqhZ3ea9nJTkAUU8QQ
JwDIJz8ehpW2xIIxls7t37IqsFG4hSVXquwfDMBsIvk6YHE11s720mNJvlgmCx/vPJQEMqKfjgMJ
f+gO7htKSUpKpTjiOYn0D03jj7PJoPpZu3GIG+IMgyb2ecLmUdReK2qfjjl5TFOYL5J34r0Ilbta
p82lAlewmWXKjzXqZ4LcQWdo3l62GeVMsqh8vLUk8bt+uiKAUTdctqSS0+yU2EN8gVsQ7+uk3879
NwVfuvUZiq85l/+LBHMHns7bT1DZcbSvkwoCIN3YWnbUGyaJmvaRNYo3P+5YR7Cl1RMTExsFS7N8
qZmf8Tiy31LT9xKpaR2LhfMtVB7uLb5FM3KviieQ2We8RnY5+hXYP8pLQgg0pW+r3Z8D+nNAQA8g
bCirOSo3Ve0mh5qnSYelJirFUT4y7Igpqaex+TIKrnQP8JBR/3Q9qaeQa2XVKIIXk/4oGu0Y55Dm
ugTyezaEgc3jlpcMLwhjxlitTUEypl9KxUrWsBAH58mPEiIWQ/2egQINc7pB0mKf28p+0AG2RYvP
1s2POX7GOHk2gNg2WkqJ0SN7c2fr1kw2JkwN/3pBoU1Hj0CeOCvT5vSmsKxYqaHLSx0yIU8SZys9
b40/2NiwMAFQZ1zZ5u0Hg64QdCFAiFuQP/t4dN5GR+A3oNAMx9NZyUFsZjuMwDuOsN8VtT7EUVYO
rSulNh5xYAZdNB06z9rYYEQkQvGYyOPk5s+yGf/1BxaxYLLTVzuXgGrgOQ3YEEZsAUwGefTde4y6
XWxBfIg5apq0UDfOSILzMYLJsEgB48NARbb8VhvzldlDq/fMgglz2Q95ZxYFi/+JCW9k+aVvM8cN
RKRv+FoxlOOFqd46aMbONO4rWI5AUK/M5ReNw4NVfZstpo3J+aor7rf/Sc7dwAQXzehRxUebJ5jG
csK72oVo0LV0kiCvJwvXL7Br2yv2kdE+zDkKZotLixud+qBATYxfNf8q4/JLn+1vdTmPDg5iEu1S
S7wLZKukyU59H00sIA69r7mgNslVThbvYMDkRyfijqjD7tTFvXbGPsHeuwWuVWXmGyyhl7qG4Bp1
7TFr8GOU2XOcTt52BlQSO7C64MZEfQcLNdbe8qaRxyyKbEhg/pSif1KMhNdYBKokqKpq6btFtKSw
9ac8y7RXPNzPWnTXPcU+9Bnzot6xRIpmlnSZR3mBy0GMDgsXv7TkMICJf+5xTWUoB4HXWH5EM0o3
FDfZ7XOdmizSpepWuPOaZetm8q4jCqCSzvdElfwdtryZivFqEDc+EDRvT0VRnTMjrv2kDseVEnKb
NImVbEDFlYBwl4ryDVWQCs/PHP2GLtInO8YhNEz7QXPY/EPwACyhwvZa/tv18Eavw8Y1020YJ1dj
+jaIyEuQ3mPmrAweFYNDsMTJhyAj6TOO9r5u3uV7HN/U5pxhUhYKQQ+K5UFK26zWvDU7nak6UJMV
6O2bM+9kDyFrhL2jJlsXm5HoICl/JF0TCAawzKF3wWLNnMzbXvugsAg3FxPE58Ro2Jj2sEr08Wao
84KF3Sy2Npk5684dtwPSL4dI8KxwcvLKPnXY8GktnHZTpnss6KkGpgt3Kbn66dhIZM1ocDixs0Nd
ESacE0ZCKb8U3XnF+Y4XnfgbtXysnkV1GFmD++YkLgVBdLsYD4IGHq8Q92xOz0pZKqhzmXugQOdH
w5AJdoTCNY7Il6KWH1U4AdcprIvN/XZoHMj0em2NMBy8TU5ibsiSi+sYz1Nj3ci73kUItWnSzw4O
oKKcWXwDp9NDAkdd8lm65QH180Nn0gbzZkOZIoy6Nrm2XL5fkpfSnu/VrJKYyrZR9qx3zg4D1nk5
fIaXlGofeRopnijbANMAWhrvnvcsYtYnCjfFbmDSLjOM7a1kT8bLfNacF7N9JLQsClo0FUY9OXi7
ML43izGu+FO78CkVQAZsBSCvvs5TDq/aBCo19Htl9mfws605b6eq8O36RVUaQBnsizXzUfFWneL8
nKKW0TXD6FX+AK71UTgDz30u+yMFMk8xtQ9egjbffROpWy9haqrTNtrMsrOlhGl4b7nkMnGzleei
H7cqMRx1nFh9IXPMEe9V6D89i7yHpyogS4Hqo5DrpDm7qNnG/cSL83Wec1+lyop0WYP9s+wgvbzw
pFrBW2eTPm7UBdLEHxXd1lTE1jEWodzADRftJoaKJiK61kDpaAk94vXqYw71C6eyQEQZh01LD6oN
LdZpdpTF+FDKqB3o1g0+A85eTkATE1ZLv+n8GhcgDqohZsPBiN44D0FunsXSMnzhWy6ksSuoXkuc
dMXYCrGpea767EnYZ5R+9g/y5KrNDvezH832VrCurDKK2pyXHq48rkzfZl0bIr3lUc5aRNm29Uc8
sRfEHlrb/+iOooKkX7cFG7NZzTg4p/OBzZmfpaDwUh4q7shwmlvYczLzX6aMBzk+MR+jUhUnU3hw
MsDgJTFHtxmUsaSebtkQV9Ut88agG6pLmWg4gxM/LngyztpL2iUmno1+SdDgqCxaaxVHzVNCSz2x
9KWxrDLqjazxOnjnBFAbnks4zOfWnnxZpNzdmZ/DKoKAyqPD2Dol4Dxk6bQ8Rq4XpH2/aQpKBYb2
XDdvRPqe2h5fbVQvQmd00ObUH8Jm5yWALAYrnja66I5Jh5G8CgdqAxtIgiX+XV6cvxnZZBMCXGa5
99BQTpw04GR5Tw6kiAwTgi4OTKpjzzoHb1wWOg/CaWJlMRxHjcaP+ZXrmI4Mt3xOPYZVFydJXa3I
bW48PJZJE2JuEpuqWKqzdtxcrraEVZkuiuEvbvBXlxx5QydRTyXASk7RzAFFwrqO7no4lzCk3OYf
LQU/VTrfFI8rbYbgvq4cNh47K3H/iMWfEha5QaREr6FpFPiS6d1QnvowfZ+1co9dYT0mCAZKYh2G
UTY7U9bXqFdPVcSKnUtf9OSe7F7eJN4bX8QPu+fQJhzgO3JyaSDVDkpXWYGuYrUFeYwDUs/R9Tx6
iyFGtIQXXS99AZy+MAnfvP7Ty96diF0wXpPUQ/wbTjytA3JRdu3yXodYIFjipM17mjh+zXpSj17l
BGd91s940BYrmaM8d+wddnqkU6OkLhyeTsOHDfsNpTmUzTEX8g6JGftbU1IoU/8YXZcf5MDYOAGe
l6BjFoE6Sebv3qQGTsTUE7tWck1n9zdqX4kegt6wldsMlkZxvir1VJe4JjU2V9Mvpn6ueLKSNv1K
jVNvifu/6hIR2q0+tVTxU7Pemawg6J1mE/czOsYjy9OtRVgzcIeEAPW/IY4UnvotA6Z2cQTJRWow
wpRVneBDxy7Lou+MuE4tV+bttDT1Jw2W9+C8pJr4nvpjmoTqDo/YoYZX3iScKukl2eo9rXnxE3sg
FsJ4Hd1BnOZwcnakAJ8Vcozg3TtxVDSuVGqZZwLhYPd5hI3DziW67sjw0XiKuUn5m82C45kaKWcD
U02ngLAia4VyF1EfOkfvAnQNo76GYgrgu2o5lVm4sNrWXDMSoZREx6Fsj0Ux69BymmskLMgyVXXm
iEEeqrzVZoSjQY5Ez/Jd7qofVJFybNZ+spYXfkhYP4qbd/JPazVbQCza0Y1ot0qN2QeTQl22EPrL
2E27SJ22EMCCuMQRMIN8GuMjtmdqloyNg8cGv9RHMdVv4Ah80XbqRnGmjTVWd/CGe8PgGjO0n6Zt
t05rPPgfk09XBJqwfZaNG3Z6B8lmZ6XpmFtKu8R76dTf+tBnRyyxtxYQqUs3BKiSvavGn7PnWqsp
se5ex8U9/7o2sUFXaZ7I9DxpaWgSszee+VoBXaobcC+nGQNokLLBgCEq+KMLmBRqIse7Ekys0I4a
lS5W4p2aqProo3nCvlIdkUzuIsoQR52nNtcIothPFem5Ao9xaS7ya8WWgs0czQAMy/ScYwAZW+86
D0RvBvMWp9/4ATaJMyJbivR3NevttjDxfpZLkJ9Ssl67YAvGqSWNo3B5ulpQKLGHK0e7N655DljB
guES/6ZV45esChr1dcIm3VMv5eh8/RwY6cXVIc51ZvVSqs1trobLyIrZ5OBMD8fNhg2KLZQU0QZm
WNCaNEzE4w5KBpAwbZ3V4c1gGBur+aA035ik+v7u2TC87CFodNLYACRx9Xy5OQlADooGzbrGzAdo
vRkoQDmCsKEIdvtyVfVnozsl0A8NW2y8SKwcEHalEh0kAHGW1hZB9X+S0TJ89EK9eGLYSl4fKTRR
hyXeOqXCuY6tvWSpWxlUbNnhszEZp9bkem1UqPsUO/MmhKzvd3lFQRv/USd+EuQllRIkUy/9ZjDu
lUGxmmneIpzk0aju4+iR4Ihb8zSA8BEziVQqjgQCT2HxV7fWBYLmmiZSfPjmDZRp52tzuY+n1yw2
iUprznYqrJ2pfc8hyZRpQIuzoB4mBU+rKBDCtIPCsI6KHt37TC62UlaURR/dM0znoHLiqyKo9Uyu
qpt+JMwFfVS+6EP7TuELJSxzGVTdnF3niRjEGN6mJYyqzjs39O4iVWiERFYg6ulTS+qLlxAqE36f
GMZA8zqx8vUX2EEIe6H7Uek8D/t3DEeBx+ZAi5RtGbqBPVLzRl2KYssNvXzbriHVhPt3ntsvJ68p
pejbA3c1Ik9MhUhkHu2kD7CitZvaFccCRQ/s2mEyrfAYLj3ndtW+e60dxNgMZW5t0RRAe/Gv9A1z
R2sEg9eN71nnHrqWJhoTbsmCrigW7NG+ov0IkTY/KONjXiRT+eMRcAH5QYghOYUZ1r8qPea5daPE
6tDL7Ba9Rn189MK3aiw5n5FwEYStRq1Yjr4DR+pB/2k97AtEs/bNDOq1GDy/0yKSUPwz0zXpqtnq
KDrhkvKOVGtwPYc0lI/TmTGzxliNGY29nxMUHV3HwnEfXCNp+GxqTAcVni0furXfKZ6ycnSkqdZB
kLT0fatp24KMLvGIGF1uFr7n1C9OtGhhKX7I/neYTNoQsvk4Wd5BJj0XcGdQ/ex8T674yQFuGkqO
Q3OhA+h25WvYT/DPMjni/Jt7Fimj79EZ4JUslFzLRLzl4e46Jz4T9hvhy1hq1togU23i4EnT6F2j
UX432xn8LxaXYDG32kgneWak3T7K7AszHZ4ye43ddl0Ahc9zypT4CqpOKdaGwKGkg591NDH6TkVj
ENEU3zA47bH83XRze7Bae7y5Vf1w4vGRutgjCIAzIUScU3HDg6Ph3FaBKgnN+R5irHTscaOPWABt
w/rm+fFY+iit6nO0XR8679bMZRBD4IMGuq7QiUrigetJyb6xwav40QLDVSAd0T3uJhUvGckm2o1+
G5yAbNs+qDx5sogiu6HAnh1xm0wM495TwapZHyqEMuaUytRPhu3dQnBHTr4dxUt0yPP04GXeWZoE
nBgnQ729ThbqmWGtkGEela1fpvQuneElhEPjAnHRSkb9Plz3Q0WHpnrUWAPDGXlUw6NxNpU97oVr
PQ+WCDzgSq4y5ayw3J0Jr6HJtKdu1J4An20l9AxWv3VAFJnqm2/LPEelxiH1X+LG6zhrtqP+L80P
Ew5uG/oJBdPrZngo2AQa1k5D1q9tguAc02tO9jZUPriniELIUwU8sNhLTQhCDd5c454YzSPV848w
9046uxm11M+AcqkHqFlTRHXqu0l3qaHNFGH4KrKbPTh7JwUKMREBkOFvmWB1cLSN0bEfM9IXTv8Y
cuBQKrJblVS2AcAnJcHOZZvXDV4n9awt+AmCQv2VRtdDnYz/Vu4TgVF8YJP9piAPDU0JfQhrQ9pb
J8VpBtSy8kmqJKk5h5VWeVfN6jDJeDfW1outpVsAtUz/BoyPup4xdNu7toUh1NVwFXDS5JuMAB14
nmPijiEEmW+APbieM8xEUVsGrRZvLLrNZ4syJjc5ilwjOpW/igGBQtXTC/v9NzTTk02XIbCKxQPv
t616oxnAHyIkVE7cPHB2WpuxS7UlZhXwODmKD+9UwvFRwFH3LMKGVyeOMsP5iUB0sD9PX9Qw3Gb6
uCddtLOYdaTy5cRcTTyYuOAhU8lDZyPxDqwquDW04hWVkQs/u8fUka36ELQSxwnByWy0+kCTDlIv
TSLTd9ps9VnjKVdHPwg3EKkBT1YjJSicAWimt1bZIsq24V1q5bWvaaer5F+fzGfYe7cJ8yCmjG2l
K3eo95suUbZqFS81xEd9aU7XPgxBYKh2AVRrNM8ncKRd0ZN2dzVMmvU3juAvjBqB1bDcs4gDKHAc
EeuMG8qJ3lQHeuM+ZTbMqy6tX8aUl1nOajAdin/At2gdzf6Zbvnnjs2HGRJblJLueqaOUopLMrAG
kbcoAu7bsuCKiR2C7l+u+lAnk7RI57m262KE2ah8yy3lEGcD/lm+J+TeHKBlUerWakiUnUKeYJMU
Gl0AMQYHyV3jetqlFcPfFNrfBqsk2S9G6lJ9ofb70FDk1afhyXT099DsJLL49BEDu5pYAA5xA/QF
NxyWSNbbWyNpN7MBUJrXDSHv9cAbJkF4oxpi9N7ycjyQ8SOjy+E3mznCpuox1C3cbppDckyPrs5i
4MV72fAZGwbuE2wtQjjcV4jSrBNKIozTPWPii8p9SBdxKX51h+1weWh4Ogzx14wESvMcbHziBisV
wsKmdIEr6I3x69jI6paaFxv7xdMqdTMYzdoxeMQyxML63uD7P6ELvCILrhvA/sS2iI7p695FHlRo
D1PlVw1YvPV2OchKJcuAvg7rslKuzuBuEjfZ1tnksz66Afh54N94SWFBF1BBGd7wrRdBya6tMVuO
0o67qcr61qTpVVOmt3TvNkCbOlmfkzHZx84P6coDuJNbZUYZcHBWSiVva6G84IDZzSURsijqIata
cIbzZkvLy0cdcU2hMOysCaxqSMicrqtj7eyssvohtXIht4ZbJau+OFe9gNgq/VYsQ7Ul6ecKf5pG
7JIqvM7dr8ResBkKT2OwRrnyau5Mkl1e4T1k3J+nKFuPS2kZqWf8sXH4i5d4rXXzh5OGX2DOAwvg
7uIav5JNbsh6h+R8TAMLl2GcCTWd4sn95yBbkNPEOGuHHtV2rwXTcA2otLY8KBJu/SrtBAUvWevu
o1I/ushYNmHcnFzKwil30tPfddvCq87qVoG/31rjNRqsJwLyh9TDBkNbTtOxaDNRLEQb+eB5HiFU
+V5njUzoZTbLx2hhq5M66DURW1hwa+I7S9dJPbp3ncmHnLrzXrO4yHJuRTv+/2n6204/hZdj06+f
PRrTeVl96YkTRGnGEFpe3LiA2IGmnWOCrMSO0a3RFMxq3YOE2a1y0GuMbDq40n0I4xEqyZM3O/kq
x+fcsiW0ym+3YgeG/TPXZ84WWuCg5TBJD8FYn7xseDG1aNO7JdBu3o7ZsKH6ad3h/y308B5z1iBa
/OIm7ZlIOxEVyW1g4MVq6CelpBAPF3ZfTT3Nhrg0GV5HJWY4ImxtXGOd0cysUIRDOEHQRE3s+eRr
d7mSHgo7oVxYpp+q8hkjXddw+GMDaF54HIdhQYCRESeg4JFCFSYfeHO1G2xPhvO0jGEmRc44xT1n
fkNYpvaUYthk30V8ilNOPQgOa5WmYt6efsaTLXaKSxWxp3M7+R0rS7uLwy5F3mO+WUmHrF3ZL47L
3xBPp1x/recX8hBrlTViY2GDUJS70PmlLfOX/eWK7xwa1nL8ZCW2Zgxlu5FhyNaDqDHXauyuiJkQ
jGuxlmcqm++Y1TZPpbpL1q6jvSjGe2Xo95InG6aYTU3+JcuQbvUp2UfzIo9i0Mu7YMrcj9bjky66
G+nwoIzyTZgoYlOIhHZXIj/tJSsyFJmExSR7H7olUKan6qp2lU9F/SlCeQ47JtFKpjDSQTzG92xI
9rAi2f9Md6Kd3y19nAPG3WSMn2atvUJB452LUp8/L5wq2+xxKIy+sFzsPx4qOr44iG6DF+1rAokh
VgNrllxLDt55+N9BmuevFuERVn9IPeFZIZ8gKSvJEzLapjwMpXfrtaucn01L3w0dqHZ8VMq5g8yX
K+tm9BjPmsBZEAUUeZiYK4wGg2+2cHpcFqPN1tZqAsXOVwNU1EiucdU8LFpnuhmF2A7hPFYfAIpX
02JONasO/XM4QRA4MJ+kmwxcXjJmd7DVp87ubx1VNuWzles3qzV8V3U2zWIRj4jU63godb5nEH1d
3l3GBteDdVEMew+A5Ic1cwAwFafaiBRgvZp5dojr/rmuOA7NEC4qOA7NPyjyZBlYZORwyBOjCiiY
Xg2ZuMNsKo2BPDeHcmOkvRvSGy8SeD4s6b5K1V4pnNEMRz0xIbzEhCJXaJhfLgM0rWyejN9n+tu6
Cr23G4W3GIm/MEBqnNTA4PcXbLnROktsFFNyFtSC1VEB/AiCosoSYurpLgUpS7JMyug0qba6NS1q
vCozRjITt7lzztkISGdSPjQwuUozHMNQuyscQT0B/jenXoo03vTTNea7tKzTiEMuEbDTutR6rXUe
+1kDRoOdCOm+La8d+JQY4+3wWNgHUT0qXhVd2LCXKDalw5JbN449RaWtBPOembtmwkA5Dd7DaGOe
tvVxYtSISsMn7rGzlSBWsYOEwFUFRhU9PzVp/VebyptnsIVJGVTEcLDNeddx9EoFoKqYcYcuuDMP
63XrItmnYbuhsuDRhtGnmU/PFfqFwk0T6flTxguxlHC1vYr9Wb+PQhjMXEmrashYOYT2lSZBXklo
q0mJUFXP/YBrQ4Eb6GYhIgYemVF1t0LXdyOJFc66pNi1cQcV65rF9nXor4VG2COVHgJpdmp4MBqS
iDyFuiN2WHPgMixo8lGyL9KU7/MUAQ5YfjW0oqmYuaJs89PucuLM27yk/Cxj4wbfio3sVGno4aI4
y/+YO4/d2LU0S79KI8fFwqYnB9WDCAaD4Y28JoSkkOi959P3x8zuQqOA6nEDF5m49zidELn3b9b6
liQdLdK/ZJUUvnebXL8izr5sZaFAdId6Kp1IKNuKETVn1PydGzIB5DYZvBuk3etCPgIJdDPGnSlJ
Z5FhPWoyCNY42iAZWvItamaE9EBxp7rzfCKmFTMN12Ys4yyo7DOPCCllRcOOXv1UJaGS5YCKIA49
XwDuzxOdRTEg9YS1evBE1+DWKXVu4V+JafBCWtckIPY8lK2nNMzgawHX6S2u9QUXIk1MqRpmSW/Z
GN9aH8c8aiPMDeQT4F/7YeZJONSCy2HzuxzAmZadLGnbMQCWQu1Uju0e+8kefalnIR8I045HuLr6
1i+6NQbgqYNph6LSIsb8LbHaVdRhYCO/R8IcQa8q/uQJVb8fHetW42Ww6fsDT8hvlkYqF8KlLN4y
ykVZhDgqJRSTbXyyCDKD68iYvUI6QHic+hpXhkMFptevIb/1XBzj9CfzX8zYY73xG1Ey5UnxJKh7
o2jeBVm+jcfsIuZrPDV70O4PSVLXCE7XQ9e+A/ba4/BUJhQxea6DJVkymxeBYS5eQYJcoVmfkyR2
Rq18sappXXEJShLS8kD5DKaaaMzs2KkltLePoNmP+Dx9rrgc5zA2nBDOfTY9m5RKGfMjpvj9ljUJ
JWC/mnBw9IW0vkf43dG5rRlwbOyeiBDoX1GmHdqAlULT7CdU01af7yKZl4l1l+//krO9tTuwd/pD
4GnKgvuSxMfolEj7VYyZXpf3iTXfLLu/kimjGIUX+H9213HNAl+buXsbV+2/hvjLtJNNzWvFzAXS
PVItrBKxzO/3pPUf0kS8T914FSdMXXyqqQD8c5fD6sUg/0gv9YuUYORLvLipQU4gf5RT3lBNt2nu
7J2KmmQVDuLcRAIpc7bJBWeXlprDNR7xSqthtu/N3GGbdQQ6tzEJtRc1FrbozIcIyAHNkf3JAuOc
ja8iOQVcydJiCebNMJInAoGZdw90Jkyw1B4sVb8BUeDFw/NyCkbmilg9AlOk+GamDy54TBTj7E3D
X1bkW4lVb5/9VcqIPqAkbzp5VsurGeNo/YvYdyrqiFrlUOT3ltY7Ft+W4YE6WIfaU6uT9UomL3cj
Bcyz4d9iBObcTms4/o4Rvgwac6HpQs0Neratq8CtuYWQxSo14wG0jCohzm46CKqjEN9LnzffiAs/
gs7gZ9bWVomMJ+6bdXtrdPbnUYxvPi2ntzjv/xRDMVfYVjpHHq10bTG18NT0h84rIMscTwXTCHSt
7Nna9lPpY/1lGK0z1IJtj6XtaA6YB4dOnMOiuFVdQXBKUL3XfWg4gZ5Zr301PeQqGJEZ4xLzI0iS
Ml420DY7S78knQ7oGHoBPgw+W0VoH3M6/8aAZkKp5TckRs1vcCkxeQzJ/1KQdZg5qQC8vIYVyYx2
9HSXK7KxGxmQMVDpfwQm85UxicYzizs8ofKapc9s2yeXFSWCWSKcPaVsMtgKL8DzCbj6HjgAoVYU
5g+z6WL+rHtPqn6VBI7dbkB+ndkvCiLFKacdBoEK0HwtM77wbXOVi79Uee+m3GVaVgsaJiKy7F1t
gA1LXKgjevk1c/D3rFUmFLTUkTyQAFhB6cwuAipWwi3SzEJD2MjHHhiHQH/HnUi+jhJD4qguBnwJ
nyFkcRt4miUSGybdcmVlW7Ig4BBKS0CwI9kqaJwKFzMvhdKtHpgOXhoa+0r/RVOsxazusYUb/QtK
URudK4gJJZnXMxoJ7SXH4Gf4uzoHrBRAghg2DWjGtP6NkYdEc73FPLrW7b9a6giWxxKLZi4rWWU1
PLe/Yx6AvNwibNZC3nJYtCY1Ljo4IKHd0tEGHMfIfEb7Nx5OSvhC2iSXwr4MH219lSrL0azvcdjE
/VPCNBhPyZ6RUWwjAiSzMLMA4fvPfn0gLQGGgbYu5nu54PsrwQDmEAykLWA1rPe4V6DvnohfWnVE
FLTnbiaK77eSD/ZvP9HwynvelLUU74ryPStrJFgkHrPJK5r40NbnntmP373lyNCUCS4o6SlwaPPK
zXveLUaR9OqrCpqCL94A4q3M8qPGyylNIDOPNmW3FlVuy9xeD3uHYct60RLIbKoNWt3CuJcV8w2k
4xCymfkrwTn1z11JOKT8AfIAKMwq4I1nU4bH0OoQadO0KDGaIEj1X/98chhm+APOQlEQD03VYC2G
cs+oCOxjblO0GxOOO4bOgVFnW2Ccl++G/hk0ljNoWxv22JzwHnAh2fOFRgJMXqkeDXmrGbfkScON
WNUIdChA5ngP4Ahvwsydv467eCdxS7M8tDEfY75iRw4thx0jui4dnd9ezJi9+WgyrDUT7u1mRntg
EwcVK47JR5MU78Zi4PWf7ZHhL4O0gHoU9GhBwq2VfqYq7oaFZxreQvOYi+ZoNvRwFWeltA77j5ZP
WeOSUjikSv5/wKvXmbeAEI2pgPRlrjrR7CzERHn5hsyPmYvVnnsU5Jn+hVLAJ7NDhUpMLsMKUoRD
VJSbLMnuFXDjdB0NbmRsfarISvOakoUTGhiaRNBrWOwMHoZbO7z4gAlqOGpZ+ciLbpdiMxj0zxp2
s0RpqcdeMDeruUJsgnAUPQwElABCSQTm9ZEsDwyEbVLRk8LrWDFhq11H+pfJp1YqsUPuuqj5S833
HDwoOIO66bxOe+m5k8eYZ6b/Q6aJ0gQJLksm9kA5x1XMitTo0VqzqVRYo6pEAVRwp2Cfr4N2b/Yg
F9njzyPCKgLtUc1aOu01J0nEO1xhZ0hZME9UaZiKFIbSYYg7AnWbXTwXYf5cy8tzja0UIOxGlhNB
NDvyP7Y1vNeCLyGRnvMQpNAQJCzYrZDhldJ9t5IBEGSar4PCwLBwZuaXJcudsiPDUnnS4XmxjnAp
76IamGyJD6XycwhJiC2zTtVAOmHVyUHDFjY5NAMQ9pUfIjHQwrFz43ZhbUyZuiXODUsUf1G2BI6U
kjgdSdsqCK5alDv1IGxnZOQTBnm+QY89vJmsqpHX/BRpSd0uVaVTJHp0jjrx6j/5pdqx2ojFawDA
1UfS/9zRZh10s39SUSMTMbJaYCqxweTSYMOLahZxgF4PFKxviR6iCJa592IGRwyd0XP3swTY7yjH
l7zXEOWbW5VvbMcOjp6PUVG5noh9h1q1m1lYcZgghewPYXor+/cOI6OvnNXigTNuFZw6/xUl+l6E
CRyUZuczxVHRhnHVbSyNKayMbVDoxIzJkEEy4gGO//wflUVvMvbyQaOBk9mS2yr+Y1Fof0kxgA83
UAgHog4hG8rfwRD0rl6xQgp8CEj6YN+FoVPdR/XDpuVbdcDWoUP3t6U8Yz1AcEEv1moLOUOqoJUo
hEuFSRG5ahVeTTWhKo8/EgOdRalhdMR8h4O5Uzc8xt0ps5kgmbWkfcbQq+qIisckYRk7SFDM5VMN
c1wU3BwmvieQzKvgOhGDYoiaF7BlumlOuAUEWClzsSZUE4dFk03rodABG/bYHef8LZz996GdjkWm
PAhPEK8S3k0ocsEWuH10kMryGieN9mZWxLprElEgMYwt4mp4nmIEPnj+wRIuSMtpTpE677sOW5DA
udU4DVIt3mEbUnuiyQzeOJGL8NTO1ROY1WtFXU7MK7KYoyyAtKEkFaH1DvwGwDN8ulnKurWv609/
rLbOYr7XeXLKs8CC7dh8T0SdVeNnO/Vulfq3UO1Ouc73skpZNppsCy37F+UOSUWI7YpEPVZqaCyY
k0uqa68YRm8VjZ3G0TAUMCrlU0/F0PKX0pmfNygBRhTYeEkE5LdQDB9j33wreoxUtl1PCqRyrB4Y
o5ErsInhYQ2y4aD0+lMeqlAfvxpElVXFf+65+JkUNtJvrXW3nh57xCve4njPuTG4p5ka/2bxl1Tc
J3GPgJ7XkZsKkgURNsjlc25+dygMK6vYpaJ3p5xIuE81eKowNeD4c3TiaktZWTfZSU7YTaCjBn69
tgikaZBtlk6pxiubv1ClJ6SPa4tzCuLFS8ps0SZ0uBTsp0IkiUsc15Yar+CQX0TvVv4+NEz/2+5V
lX5H7W0O+KIAIBnivUWOGecazc2Dt3xfhMQyQfB4zehtpkTe1rhJ9Dp6yabaneLB7f1HTmxo1lKr
TEnsLnV/6PpB48ahvqu47fJ0OqsgE1ZEerhaqpM9dVdlelDuxwAFpFKiYCDplPnN7I1cq8OEqXYC
RAShpJrafSrEpuaTnUdz26Vs02ahf0TmeM/H0pM1FFaV7v8Ubb5Puv45NvVVVZ9YaILEJjXQil8L
5SBXTEHpE7RIOERacdt7WvUx+R91kX/0RPGYUvZU+5BqLJZ8mHuYEjn5LcMtn6rEFSTRemYQWmrG
vacdZ2cKg/Y2N9Dikrba+xhQa/k1iuv3SIfPZUyrlsPbBItRfdsZOaFKfqkKYw/HhngIOk4K1iW9
Xo1wEVsdE4WeosFEwRzgFUaEMJgM3Xs3iHah1F/iBA7e5Aif5kLRzjXDLI21vIbD0wrORsPRJRNW
leCq7Zw6kF7B1xOUUXoFDXEIgMo2TDIEQnRqjBZo9wTTO5TSKYwd0jNOkXbT82Y7y+ycOiflHym8
DHYEW9ftSPYtWnC3DZ6+pqWgkj96HHNFM+Dt2OotwyaQmg13u6L3n702reMtfAqu7d5JbROCL32J
4uMURr5L1sZrwjcgp43Vl0A69uuaZK+leULa228TEZ9UmnDaJImQ3yyrydVrXinxbSnkIzlkSsNj
1e6X/Xvcs4RUGD/3PZVC6uNOaMDK4IOZH9P0yzZznwgf5cdJyL0X/f2Fscov5iZoXmAQbMKMBXuh
HjOkpKV2CCWCLGQeNmQkaV9uwuChd8NmypmMQaWa4hfO/1VjBSeU4h9t/DSklCDoGPF+XH16FkMh
JoXpgJYYN3ivGynEdmf4mNOp16eCpSuKjJrbsfMltCFsS5XkY5E9EXW8M0yfvJny6Mf5dbFPJv6t
hPBYcJYNtbxDQkuWIagn8ZUnE38uIl0hzc9Rz3EwD3vQfO8ypVAsoZlQWWcK062I3cxtCUt5cx8h
zHGnVKO9YtzEmKRhwaWGzOzEYVFJi/B7hCJg9PQ2YXWzwGQQCriW1VuBMQCPwm4LgNCxx+4nzOun
pbSSEZyQUdiRf0H3KxEKEJAij+reUQhwGzH/56AApPigINdtA2vH4cJzAzBR8vnVGe9/f4Chc2p4
h3NYhGZ4KHTEQZBRCkvbZZW+1dEz02PWXf0nIRiM2+aQKPJTQy8wkQmRXyxIrqNIv4hgc7XHGF60
pt1ZY3fOc1iH2JMwkg68cXA12NmgC1OmndClu9aPB/ZsR7jxm7SpIIopK9WPWypvgnUHj0vrYsra
pSXKSesAkI5P6gweIemt35AmNureDELFYqB7sKFe8FF4EUKJtnFHBqM6TaRhPySthPfE5lK6M9PL
bZWE0/IlHiZv+ClUc2tiAMKGuzMUm486mbzGABNp1h+dzSxmZlvzOgrPpichgPAQygU0DtWN6ls8
Wm8xSeVEeKy05fsDF1mz9rr16lNWjvJ8MRenzLLT4fWwmG+xNcml9iJZg5Na72Gx1eZfEsDcnm2F
QV5hHWe/cZc/qzz8Eu4GXjxK9Z0QUFLQRocgbpKp2U5iRkPd7eUWgVYr/cBUvQJUaqXwSUowhGlk
unZoaMBgyn3k9Rqi2j49EwnmySyjA2SrGEBOBXNKo0CVy9Y75vOpCHqRnsMBAJHeb3tNwQ6GJUhL
keWTVJxfs46ZYZO6WJDYc8FH2MtcAupvMCx4iZVKa25I/iaJX/AQWqrpJSWEIjwqph8+2wP5AH11
7ssfq2aSFfLq0x5U8Hb6ZKcw/wqoaNX23pbVBXgz3Wi3MRqYKLK8StXpksnxez9fagb1hfJbdy9J
aMCrIcKa2VonbRVCZFqthRtXolEYEchyX6PnFUnp5fQlSRk8SI/gkoWrk81vwXw2M/Gr1y7g620a
zajDXvVeA1iOYvkbgQYAIf86px24Z/8RQz8p6o88+47YvmFPDtEj9lF+CeGTHpjQe22QreMK3b1L
I5XjgY7K10G+AZcCsMq6BvWREnyY09JwBRvjWyJ9qQP6I9CVBWm31SP+bPmTku+zokbH+IjBB3o4
3secUWfGPJQ5Njs/rqJzMTP0laYVyr1MaxlufyZEDGnZp1LgK43NN2FC0pzea/+3yWWnpXH2W88m
ercct1JHUS3EnSpVZtEEh3tnGm8Itdy6YM1voyGm7C2SY1HfZjO9S8bTYElfknElrnPD4n4VdAhj
zL8k14+Qala4K8sq+MqRySpdvBGlBEwYsLY0rCYOKX/+U7jmx3Snj2h3gPZQbm8r7W8KJVyn0s7A
RpcpL2rxDLASih8RzMjD5oZlLWhHmETIC4tdTx8Kdw31eewu6/keJ4hN6DY2N0OWNyqHWYh2Oc1y
15rg0TXxV6hAo8+GexYQT28iLGIBIZWuP7BSmLDXGU9Nzu1mXdVUvy2+JZIKnYid+wgSQhSNq0eV
BwZmP/76JaDKDvBGNBL5hCWhI81GIKNbsYyEO6O5SLl2SSAY9Q0/EaAMej28yLWdoCwEUQ5R0Iv7
k9B29QuLFokCNPX6G1+pP4vDeB5xBZvxNUpvCMGRn0qVzjjm1Q8vcQ8I7yGYuAUuM9vBfg77yzxv
h+QYhfjdHPPTLhYY10eBMK+r2Xsq1UaqOen20At3KieN8aeMtquxX9cg+DfcWNZ07OVubYBY7hue
rUsYLct6+8nIGUiNyZHt5VTHh0qzt+D3DlbDPEl/IAfg4UF/b1MeSOqqrxlKNsaNd4r6uOe9Crek
CzCgaS5a/5dLAtXGSeNOg4lF76G+hHLYr4b6QqRCGzQHkwu9GrHKDmtFurRh6Y6tdLYOcftiAPFI
lJeAueaUmTu0+ma2B7joxJnM6uhQs3LMWIla55Y/fazHH6Fm0lYPleZSjJ9ZAOdMGoMzMoncIUJz
bXSkgbdDfOinWtlHYRfz/aFLIbElg95F1W4iSJhSfSNQsPTT1L4GfCV4axnPQ4aaOqdnNAQnCB0H
8bOKJw/5s0l+8kFUhBgldX6Zg0bcUNU5/lzD3sBys9Hj0t4EiQwpUbM0VrLMRxoZ2lWCS9yxkBSg
X1lLdr6xGxTcWarj94eNNQHeehHlFs9rCwCcE6GxTGU/ysG5M8CPjVDaOLIlLXLCoPpqUd6xeSek
TfZnt9F3sHUi1w/VP3ZCX12Xx6ccKjUHfrAX4NGPPiRFlnc2XSPAddQNZMWFw6EFn4ZEvCxPoaST
0FY2KWsd2lzV74M3XethAcIl2v7zXxsT5FhklyhDlx/FG+DJ8aTeyW7IntG1G1T2DeKZn7hACyD3
8XQB/WQcklZDE01+GgBV5mD6EtlhtvktoU/Z4YsR1j6US+NiJdC42nYmrkifESsbhezM7Uwi82Qz
wcgt/cAI+BFpE/Q41fqUSWmgvBqsjVCFdGjKEAhiMgfrijQK+GJyDAul0r+HOhWHltXSwS66vxxQ
ptt0InM6OUY8Og+4PKE14f4iN64u6SImZW68YWKXN9q97tlmdv1nTnuq6jBKrYAwRR0kf1ehSFFQ
N9oLFKDvywrVbZ0cjCYucTqUJpMXVdqnXSfxF+xvtToWbtb0ThQCeAyX2ZywQKum7aTsgzQ3vBoc
XZJJxsHEuzB1kJMLUz9kyGR5DJtrlYcFZl/8k9SjoGei4QJ02Nq3NdNvX4wRtYeibbMwiI5hdNaH
WT4U3WtkGeURBKPSRahmVLXD38qcTM6BYptyxNzBn5G+dVW1ywMPmhxuIMxGrpY3n3bUg1flwjVi
sJFaENVry+DBFuwir3N344PTD6Jej1FU72YeYAidEPUVi8Ezqqc0zfWTLv7gm3CIFeUHMvMZBYx0
bYBvUgIGbPY6xfJmAj8LzEGnGdPOLBFm5P+MooSD2dJLhiXRsRrpvlJZfEZIrU615HvyXGe7wCh+
h4mJPHptiEF+dGhGaW+YmPwMvyo2saJtctirG1pVxmpSmmzbrN9ztT21EHEkH2ZGKFidhX0SHljs
wbwBg2Or/ms3Fbg5k46+tlyMNh0pgrW0nf3O91qJir3QDtWsw7bH9cYmXkeFlflUBiNCCHB945ws
skKoBmGd7kI8Mti+hhM+aQxP9AzVrk6Zg2n5Mm6PMBsOJsaO1BZYRNjET8U4r8A6CTH5WF8uAbtK
z1TA72TmR7tQvK3FwqjN1bMuVQtKp1e3Y9W8WCpmtjgrL9D9WBsUo4BznGvHJWkNOvauNxBuMmDc
FinjtQL8YlWA0QvImuvE5JWEDa7VHlIsHHhyE7hFSbjgrMoIg1UlAKnzTFVkdEAiRgCn0Exddm/g
UKdwZGonIwON0JJXqDLJD6/fDAoaT4S6MyxG2Kij2UuyaAn1YHUbjMVZSRcRDEeyIBTaNQelu/Rh
01+QFf9oNTG0M2iOIFdOWQ3HJesJkTMjVF4RV5aVXmcehhU6LXudzch4mwiuoF1YP7rCiZ6E8tI5
ErQZZ4TpZCa0auBDrGSN5XRIn+suewXbxmYT23wVtiPBcQP+e2KJRSENb0oYGzDbE+Ha3XMZieqs
htGvlmjRVuAtRdUqmU7T6QDZCL3CxgsEoItMb8K48pJgPrTNYXYUqcBtGhl3W2KJpi4ji9Z+jZra
2Cha96jSnn10LwjT8RC/Zms1kXVHIB3LM/z7oMoidyT1g9rJ5vXNOmkjUulBYgPjAgUvIbCKCGU9
gpRmEgBhfYhsk2q9K2Tvbeg8651v4I1l1LeK9xJQriODdKfuWODYOZBDrVVetNDAlWEPZDqK8SFH
KsS4KDdQc+cvM01YyqAWqhHfqzyot9J8kjPataFEqgelCRc2uT9qZ2PDL6GT/pNpT/j6oQzHL6sx
U0zjtCe1inw1W8yhczE8hi4oTuyai1Ms/43BaO19eTS25Wxe5TFJ9qYBylbq4qNUV8yBZHUzAQ9f
RTMs354FHJUxLu5uGnbQIA8TQ68j6Z2GjzrEb8RTyOh7Z7fJuiZOdFsC6llp35iXyHLkGa/84ZFI
8o9UyHuVdDTGdUa5m9lRJ2iFgkR/QvqhJ/DJQxMzkCFNd0Rl2s2uPqdA8ZjjaZg/Yb4FIz1bF8rG
KlbqDU4sIkzt2t9Ui3k9GLmaumwrq60B7E7s+Z6JDbmIqWMxZ2+r4uyXFap1LpeNyfpcUeldwqwj
5goeczQgC4Z6ptEI1P0+NGBfZIjWzHi23SC1YcNrEo5ywDFqkhTkJIwEsSYkrRvFfnnICRgF2yUx
2EKV1uD+u1eSGhAWODpmCdy/SDh8U+mIGvTDMktGy6m9noOSaGJIT2vVvkS2nh4qgonZ9lQVhgXS
PWrC1WXpzRi1fZYXFnYrk7sgaLdgmmkFpG5jT4MPci4r6WprC4NIB2XTVGjDC7RNtinaXWqjFWw/
29LUTlpBTk2DYs03y3NlKTFuZQoz7qfCYQFF7r0Igk1Kpu4+86MPXe5x+qacnJG02MUKBT4eq5x6
bD/Dtv1LdZMKOtcAAueNJyYqCwkH0gbkeqKAI2vsZp8FqLTloIk2Nv2+loehK1SSZwPzLa6VDT8c
rjnzra0vUL2lmYyLk/UsLtKPtLaGw9xadwR4OvY1eKPkBoNY13mXut7Ah4gC0K747y3ry8kquTxx
Mmq+bqyqZARXAY0Dnwpuectq6P/C6sFA6ZakC0BpDHSvy7CuJVKpwVwwS2aKOFxDCKQ/E+ytxVNT
Z0gkw2S49l3ZbsNEeW7KRD/lRCqAuEEICy9bMBJix3hFl38Cba2++AGb10EHgNw12jdMKnlXNLjL
xzmwT/Miwx5oHvRe8dLSVw86Kp2YP+NYojxZa/x84lqm1pu4N5ElZ69ACTO3gvmLIy24iAry45zM
fGtKeLpK8y1s6T2Ie8oaCIBGUdXoIZhD1tXoVir+jbhFFMncAsh0ZwHJj6AK0zM3vd7e2TrsZAKx
sDDZ+zAGwK9G0L5o90HP0jo6VWYM8JVHya0tfYG3qSSN9yGb1nYFNYZO2pR3fISIz1rW5GYUAYnM
jNAxRh/Ha8LTA+wXA6B2kZmfrKI0Shb8bObK6aWuSu2ltmCyFQBWI0WKNxPlz3siPkN9HD8Y3Uuk
CjiiQH5Wp321b3PUEpqivGIKeKqoKy9zEu11eoczYPwzm5/epVR7QS1PkpuCDqto+IrKyXRnwukh
TORA8wyz4dUy2AE0J2Imj7OOnWICv7o2hSHTi6YqqmiJeaw/q58wVb/G6a1vR+PUxmbrULuXlfLI
x0ycJkQMss76UhfBCXpEc9AhcslGhdy6MIB+0BhEY3QyLZaPemofZCF9+COqPZpMZonyYkiwX6Yu
W0aEA3TFKbkz5mGwKaqjafhwEeHFAVu392Ugdr1E34IOuduQ/SpWQ6IexrFNLmxa15Xkf5SQ1dHj
bGYDlt4AnWrV2xI65wi1HBw2u7eZVpCKdzXnHoV7FHwMg58d7elGMmGAjmQJRjGZNGU05HFiK45W
tzhnpbDfRVbqaCCx0HkdMQvA8ZH7DwzwuylKVbfxp0cuJH1rRoeelKtcY5HTEnjb6QZr9bz7I14F
T0vElKlH55sbSHaiDuUv3z7gEEp1zGCu4p30h3Wi1p+DpdFgFD6gs+BTsaYX7s5tQzPuGRNn19CB
RFNbwt8U4jCB2cEvVXoMrkNTSqearWE+JiOMa2OX1hMnFqJeYc1PhlzYl2xUiKtXTC7wCRBvyzAf
YAmRT1QtQV4jYoJrhcA33WWdtWgjoo+wC9SLicCplEKAbbU8eXjXIJSow2vZYsqMNOAy+aJztORx
Z8WAd3MrGzx2Eo9WMNBHIAKmOpYNJ8HcI4fNnQ0g0CRAkd7ANxoPftaY7dH0O1eN+HIJHzhpndJt
506PUfvaSGjicvKkzJexdaosTHRqPh5lwteEus272C2VJ9TuKEjQwK6SKvlGKM6GXrKJmMvsS60n
T2GNTFXlkCEqNSW6oBYgA0cIgIpZd1vL1h+KXjPGDHP47ZV9JDfTJL8ucapRmZ3RIO6BaeYhUNvy
I0KTl9hVTROQFogA7KsiSXjhd6OEyaFtwcHMZDKNNYpCJrFOxPu8yvKFXJWEf6QcwS6JESnNJsze
ETfuMDRbE91dpWrncmxeRSCR7lOGN6KbGzcJNBbOaHZbcxzeLEj7LRzYIWCfQhNEroXcjNitwsFF
K429N6+PTYd+RTGanTwbfzUENyeYcbUz2HECu+/JsqRVGcduNdqVsqGfQcYZH4aphb0TFmegkD6Q
BSKIdUwueDZxuv+Q3WXDMiwOPCeq+2+CzAIyfvpgE8p3WTKPJfZErHNOjcHIMWcii61or9Xd4A6c
kl6BvKyB0u4EE0JKeDOtgw55XKez7f1bkcYKUB1tJluYKryxKSpKE4i1DqbcQH+LI7U1UUsn0Ucu
3UsfYUoRNQQQKs+2bwzePwNMl2hVAlL/dyjov0JCf/5PbOt/+df/iTqOf/5rOiu/w3/+iv8+6HX5
g/7zp/3/keFqE2r632e4bqPv+ittv+r/O8F1+SX/SnCV9H/HpKlTaWjC1FXZXIJa/xXhuvyQYUD9
M3RDNRVhCvU/M1xV499lXbdUoeLxFMK0CF5tClaR//GP5YeEZRlA/XTLsFnw/uO/ZLb+vzJcZSFr
//gfVIxTUOS7x5IWu6TH8jvyFRqgvg2h8OM/X3eO+OY//iH/G6ln6IvL4o9Zf7jDLfKc3eV33hNW
tda4IpFn80j22R7H1RGvIkX/dtiSRXCwD6wYj/2j3ZXX5pw/pzvpkj7iBykeXvo8hxvzZ3hlHlR9
NRuxzncsMDa2h1JiF3jaxj7Mu/4RIlCA/7EO9qlT3ao9TP6r9hd5xYnh9pcdOh3saA7q1/q5PTZ7
SP4b+9I6qZs7uCx2yatyK4/DBuXsDqvOnbC8TXrFyHcDuEdxZz1nm8jTWGC7+QUZJRJWZFyr5jYf
re147F7bXXWXLuqPsife1B227RHb71l32Yc5rZdsxB5f2Nr4i6+M6NbBWT2Ynv+a4QJc2T/WH+0f
BOgQwZXXGVAS0clh13LYg+19/lB0kBdKN0+8BOOl2pf29bs7RXsYU/vgHF6nvX2ZXvkIj/wd/ti9
uv6Ocd7eWIuNfsgv5gqGsJs++c/KjinymnSE9TNz6k22KY9irx4xka2FG55BEO1zN9kUa81pV0hY
foH6ApEK33Wv2MsuA+9N63Un/1bHqLAO/if7oa32NKcOpjsmfPrKd1nSNRwVa5LrE0FKsteFJ2T0
wXcqAxNZDwd9x8B6nbvjQeXrGo8T0ss1ZqmnKXfQbQ1I/t/nY+ZFt/JQkcexineVB99wHfP3IkSA
jwWr1c50M6/YBgdlnz83n9IZd8CVP+HNdmVUP5twByLD4mNn2L81HPOuelWzih8BO/K35NBfhq31
N51qzKtv9j1YjW/qoX1ioG1wRW7nBUrusUw0iFn1xJng0Y1wyi3bRbf7svYTJeHasWEoHuSL9MTz
2a8jgqaizDNdeQV9eEWVsQZi5BoHRF/CZQ4VbVOn/GhW8qq69VfqQ8QY6pkPLUPy64xeCGBSOPLz
6NPfuFLmglIoj70LtYKa6Vt3Rqfawh+J18Hpmq1X6Fjvscu02DW99PG/mDuT3ciVLcv+SqLmvDCS
ZjRyUDnwvpHL1XcTQk2Ifd/zb+pb6sdq+b2VeBHxMm/hDQrISUCIkELuTtLs2Dl7r71pHzAHOk8g
9oL4hBvVPbwVa4R8FN9LjkVrUoeXPSfsbfWWneZjvmnPmLwCRCP8F18xtxGOlT1dcmmeHVZ3cs6S
5QgaqNuYzgvwVp7kb4h2i8n7xiJDz42ENsa1o31qFzefzUaTB7POd9VKckRftbSaHhmN3KtH8jWY
e5TZkb9jmpcCeSZG9pPM9MX4iMzSXIKZXM8jsqGlw60IXrBa5YhwR8bIikHHYvCQryzaaSc+R8kp
mFuXvMYtM9npvTpASgcx7B0g7q7AuMUHZCwP3Q3zzBBKHArO8UADdJ3odzxeZ/VQfUeWs5v0vX9N
fPMah/sB1Ni23djMEh+rtYUy69zdE4yL0ZMS89yfmL6itzzhE9sQKrdMOWjgXuYuLpjO63bBWCuV
JR6llYGTAHSDHTK8XZJIq5ITDD320lW/tR/qA0/wwnkUFl7ZRY8TvV9d9JucrlwK/1NxI79cxJnr
cQM4mClmtAnHvU5P6Xt0z5BtS6YfBJNqO34bq4lm7fqZIR3Z0AhTb2FDrLM9chjVrFv7nc9XvDCo
s+QzMU7+MvtR1s8XbtQq2ZZTsqAXNu+A5ljuyU7XkKdxljs74BJp5C/qI7zP5hV01wLX/x2ej1Vg
YiY42iaD9DW2FG4IKiunZ7r7PJEXkxRvSNXMfEmwWup/+hFT5o193827LLwZ4e/0B2sNiZTveZVM
jE75Y5Xts+fu+TKqQPHg7kogTPVi2IpT7TrLN+1Q1S+aJ/D9jvPUJhtPEKe1KDBhLUSL1wFG2krk
qxmpIz7GbQHLYz9573zW0z2GVerb++FeP3FPQeJajtftnWBoU0KAWdSH9jZZ3eu9qZbdgqEEAYPT
8BW6AE5vKf6G5+ZZ3F5QY2i5AZ5sMDlv0Wns7G6VPxo37l2z+/Lw5RBEtuJ8UZ4M+a5PwuiW3Ut1
7hgMMXn0h5MZ3OUbonsBDNBPeNPdI8PMRVTprYXGv+iN5fiJcRAC6yJb6H20SpftKrpDL7N2/Gmp
T/EKXWT4wP/zQrgF4maFBGzDw2GugAohLyhPlndyPlB8LThkr3uGueGeZWMRtKBFn20gOehcnX5t
VlAn4CAs3NPAKYjljWwF3a+MJzxx2atHH7NdWNkpgpr8Yp7r9s0M9nhMOlzx32QYL6ryU9WP3pnA
9Q4N1pUU21W1ZphxhjqC1+OxX6+Hz6xZw5xa8CQuxmohmSZ+9SczbRclySiwdMN1eUITztq+5LZn
Sl1uE/7hFi5TbC1IYiaRNBI3bFj5wvlEfzG7+ZOM5MZJsmeSoYZTTiPv3icVGOA1B64tM+r40O2H
VbmsPtw791rHfBTg+ZIl5m3rgz/aU3qYrvwzDqhV9TEs1J5fxUUlF2WN0gFJFtaIXbl32FzkW7gH
D0ky1bH7sG+GnTwqCdocWNsiuSmuXGgjL4O6MXfOqltZm0viGfNhXK+w03DkLMSOCZAfcqMV2Pt2
3Ksl86gOW8ROuWuNHq/cxxEYxBWRuK16RuMcfHV7v17BmtDk1+KDthCybgq9PYQHbjLu5v6EcgAo
XLeLVu8u+DEYLEjxN4NzIMdeFId0WI7t6ouZDans/1/K8e2P4vo9+9H8XrP/N6zGLYsC+r8uxx/e
pyiJmvZ//6/854L8z5/6qyLXitLa9lAluERICcdS/1GQO5pa3bY0Y2DTFq7yqJQJlLsU3dL8Q0h1
KZKxFGnPcXkR/6jHHW2alPGu50noGM6/VI/zy36pxx3PlbwGT9lSOjaSQIfS/5d63KoYfsWjua0q
z9zE0vGf+c26O44aJ/DGF0ByfKUVREHfafuNrQJjO85T+kkkI57eTti3nTtTJ42efoLKHNyLsGLP
t2IbX6sKXYxMUYB30wqvBIljJxfCNO1ypWqTvm18Ef+Mbf6U0eZnu5iycQeu02YRC3sYutIpL/ma
9Ycjx3Y3ZoGNJ0m672NqgXmf25rwd1tWtEMdxXS2G7MB7ZQpSrVUrWPs+pY2Zpd4AWE3KcTrXTnV
I4jPamCDyGmyrRqry25lW9RwT730qhz84BSHvYsJUEHJ8hVgWgMlF/KZtpv7U2cCj8mJPHvOB5yo
fltAv2fhChdDFpp72QaqhGJbwrkqZmc4jH7SQ3+RSj8aQ9+8yHSwkLWkc4m+LUdFg/iwQjDaT+DQ
8IhjzJi6gWwii+kSWgmsjoUjwW8SSnXI837Y0rY3dkmRUI25hNFBUbwQwcbw2UzabOGWgwFGoRWI
qyaUwIxJxVMZ6uS6JE9rO9L43YtOq8cEbc92VJ2zHdtxxNSYRI/YHpqviPQq9Ic2CvmhMLoPGoDG
6+wD/8sysz/VAHw2yAKCK7/C5pD1dG5t1QePbeFRvZA8ge5wABcb5b57qIcheHYtUTcL1ZrxHXdI
T5sqQI8pR4wgOKxJ0fJJV7oP+gmpa1RGzbttqm/LLvEMYM7Y+QbRimWaY8ZPc7g7OiPCQwJtwc/X
vgW0Uc/5mFvXIUkix9zISG0fpd4PcUG1zKSDM5zJrpQg779tkPPjpfRUQjRTqG+thIxF0l6RLGiP
ZGgQ8P1VMlRjdUC8qt90guGh177Dmhs5Dipi1c4QvnDoNVYb7mlEXzT5vX9VozPmNCOCvWta6TEv
jeJEADT9Hxml3w7KiAppcg9+LFfR56CMidHRNF8s6QZkoQydUnPJE+wZcY7xW+WM7ocRZu6tS+d3
49BcPTu5W5xDSejT0mxKhy2lJk6tis2avdpi246VPS0zEcireOAro3TY0gIBhz/KMbm1YVx9WmU0
wtqIJbxio1Fo+3R16hH6vUivGx68tOYAZ7iaxrJHtkqQOtVyMjOQAWpKjtKOOZqj9P0KEZ1zTmkM
ctJbMJdz3idMObLqqxprFBGpnbFDqQkua6WAVZlD9mLTDNpmHBN24+gy5sRBdiinsjiN3BvkqGFD
qHNQ+sxvQg4DbgRdOq5t98pIBnFX2uEzETZkZ9mjPnKjtad2mgLzAknqjjy94xcllX0HzHR8aELf
+pQq7k51J8YdtwVRD9oan+xJir1qhX3AVnRx9RMOdYWdU5yVZcpy1ydVcC8TNL6o84vka4LUCIR9
/PTS3slPQ+iJD7D77pvWoOjcQXerAQrGVTiZzocnMZLVcQyLpxHD2uUvDWKxUjZiIw6qN6Z11bn2
ZfaKwu5C6gm5MX2s9X9CmwBgdeTWvY5x7q1JnKp2mRcRHFJY2Xg9oawkSYKxGvFExbf2CgKnrQHJ
rZcQscnj5FxOBw7whrKoaSP20gm2fVslx3ZC2NOEEvFSY1q7TGMFUlFsP7OowK3VGO/raR7PeJ3k
Nm+Fvs60jUgQhDmOkj5DOArjwoVDggDqvrpM4cJJGDvPKat92zkd54+0uh2Fp16yUY13dZu5tCtw
sR091DsQk6Pocx5ozjukxx5sZhSruDbUTSPtywjT9DbIs5r7UljRtzMW85ORd90xF2G/7jxrOnkG
8L6oGbL32FGkM4yKutWsbc7adVK/NV6ZrO2cb1o6WYIbXq4am5ji8sl0ItAecReiAykx1wm3j3cG
Lvn17OV4MzAtbTsWigdfFjj9a20R2ZEq2p62YScEEo8waRXRptjadNbsCVIvX4re8va56p3bCuTL
Okpik+WkSFlZJzSWItTZhnCmYNs2s/2jbJX17BbhxGS0isXO9/yt0TCj8nP9rAew/GRe+ecOyPJI
R4E3sBgbYRz6EvE4v3VoOWL0EShiOsTvoxPJl9GEv7CMPaKHrYSxFcVcDMBDm2Pz3JK2hb4vcli/
i4szwpoHAlSTOKm/B6drcfiHKOzZm8195EPuymwdgXyvauPMhDd/6UviBfiwMLqLSC3ZP6q7ATn5
rprR6+nOoUMOSdzaIUIkm5EyZ+PrUfIBBdI4ELTiHrGJY/B1QuFucg9I2aTd6qv3pAMHGA15IWKO
7MD7hhurr3DWWJCBD9ioGxyeeb5HWKfekg6MsoUQPVoqFr/V1Bbm1laG+zCJqWNc1tJJr+eewRHh
XCGhVTXIlCJEVSLszthFIgP2HngVp4isGL9tduI324/kuyE7FHq9UwHhdGrny+/keBMxaoRLU4SS
gfz01htCPpmWYZ7HBML5GE7M40pLr4zZELidKgPNjM3APFBG/jnT7OeJT+gUVRcZYmLA0On8/FA0
gCyWpQIu5IVyODWXedw8+xk+AMu9jiAiPqX5bD6yEtckHs1o0spOqENVzwD8xki6WEJjWvFhHhgK
imiA1NSOp/De6SUHX7911CGJehphAc2ASF2myXz1GNQNvBABk9hJk/jbrlLvoW6q7igH+PzsQRgU
rLqrEEem4av2EwyFKWKSO1N34P0LJSqxIEouewbaV31WGSPtpZHHNB65uP5zoWfaqprhEC0exj21
aoEQWyHglFCGR7elZoFqmhxKJe3reZpnDFGm4XxPWdtdHBcB05bGHqvbaOytg5cE9tHBPP4SCIdZ
lNP59C8IYtmYgaBUEmx3IAtC+yboJp8GCvHCZkMBCGTQ06carMDaSWOGk2OvmbmjPBuPERndr4VI
4xtPx6hPfdcGuJ+nRCFTZC+9mPQamt8snrp38/tcV+5XX0cTk6qBx8mUVhqvrAbH8zTkI3e57p5V
X2A0n1iCmaIypSMyCg9q7zHCLr0rwRYCER9+9RjDPmp8P7o2baO6gRsP8piN/Uiegf9C1dQcbVGa
H9WYkYGN3P7g5Mxgy9IkT0Xa4rorxPw+pRJ3T1Zk7VXXJSUe1ViE68j0IxrosQHQoWvKkoiDhnYN
8ViLsJrs69GewhtVubD4uYrnKRdM0YnlfrLC2v0xsZYDayqnFCGhJNog8ptlR2jvYWis+oDcwIET
FROLUQTzEqC+9WBlVn5TCVpGzujFQFCT7o60+gZWojDLd4Mg+hVRxWLdmCj5As1/2BZIBtIemxeL
kLpDOtJee37BVVOGfzRlQKu70tHW8+kJMIJmSKn66Ttn5HxRdaTFFwuhfROWtnFfBIn30Bljewr6
ejhXF85wqvp2gSQV50DtTOZD0c6zXKhKMeAlt1TDGDdozbMqX9l1kLxgbZzQ03UYwAY0nCARgBYH
kWtdpUOT7Av4xOFOi2B2z0KDrBOuBc63KLp+RXqnV9xORQrMmcq1xRKryEdFmOjZd06UBi8R2cWS
nqeXnl2QbZzrA2ZymLQbE9MX5QptMORxFMZCiodeS3LYY9kfQemoMzGAEtD/UEhM5xbOYJ7Ytn9M
WnWhc8ylubdDZKacCIrzaAiNk9dxDwwIw9uix8pfEfYFdyGTqLxEaZ08NYbySvZxfG2SHrVJ4N9f
FH/Ni5UZ9qcRCWdLuuS0N42q/RiTzP+c+wIuQDkE5EygYa7vArDqdBtRKrOMs3CW2EOj8Ul7WQR6
OyV0KpCcGKg/TJdobdl/9lZNY2iWLqLC3O+McxOH6Yfk1HWZRBoucIqACrUmMvBKyTz1V2aUt9uk
9OHG5mIEAip14FiEyCowry4xadWiCSChYAm6sFcTZUYHohKCjnBMx77PO0S4NSaGx5A0pwedTGyR
ld11V3lHUCog8/Ie0IBpoDer413dB96TUyUgRlLaMChPKIh1y7qD0XnWL4HTw5LROuyfZtvokLTM
KJx7NEbHYXYpWDuUeyn+tG1hQbugoskfpdF3W5RB+UHOPO5LzAzMPHxnyr4Cs2v2Y27656GM5ZPB
Dn5WgDTNxXzRQ4RF7O2a4sJIMcvSfkSoTCvUq+booUxNZ8smzgbaW8RLzSi1cS50XK/clPu8kpr2
eqnqe+Q2NLZKOBGFyIPXekZcgGJv/MzNPv2Kyop5w1gWJF2NgQUDIh9uTFtjfZtwqmP+78rq6EOR
eLWBPT2QaZ/cmKVKr62pNeAeth00NKlGAlBzh0Od04B09wgKJLrmBB0AckwPVN0C5pPofB11lXdQ
GbTIWbvTccrT9H3oqXds0XdXqGbFdeKU+ggyK81ZCtV0gsJuHPyuEdu0mLprI8nKW4GheCXixliI
xsdQ6Ves1oVpg2AdazROVfk4mRWyAC+fs/eZpAJObnbVrewwxpTo5nAsTHbQrRsYtJGTUHfoKXRd
3c+mnDe9aybYDSr/2Dt9cYwqWW+snFuFrFUTH11lmdjjaKxxsiJzoE/keMwbAB08xKOimZpP7Duw
jMhAkuuwrPQ9MKsARoERIRAtbOe5LgyCc3gLT2pQ+a5lDpilEwEAdhyE77hFDQNPltLZKQ4i+I5d
R50+5ORE1lMOwbSqV2FKF4YP/wLB6rkwizZ3ZpZ8J9DDORazU58mS1k21oMJ+kfpqYaRoM/tty+z
gZ4CfE50HLFnEV+XSna9ttbjsSEv4rNCNMvFRO92dCSnRmRi5bTB7BszTiypZeIy/8b5iT1Ddt3j
kJGAk6LVe61zKkXyg0bs/VVgXtozeGVPuRWk58oq2mbRcNxiMCDDM1lZNh6ZGY6pwHaRpAI9MgJn
fGB1x9gonYZhM5Vu9u3oMdwmQd8/ckJj5WyjoFlz7Aew7g6gqz2OzUNgjqAmDU68XP+vBpXUmTyB
cOuTAXlntF77MDc9rrt2MJIn5C1asXBS4yzSLMwvSCmOZ45obwkfzb/MyURGTA0Fdb0Zn1VqTmsD
w0+xnGDm3WgvsXeJMYbvmSAuYYpCeVsZlblRYRAegPdB/0A7lK61ZzYPM3tNDL2EFDSzTNW+MMzm
S7VB8KEG10rXdYl5qXOG8FBUbY2oPUw3vVGjL8kHTOZ920fo7SONg0Tq5kJJbVh2rKFgQJmG5EkV
6PZIRiRokiqY9npYCsUkkgdhExRqfkyF6ThIVAccYjb2+mRlhi3YDKt3jT0LW7Ij25XFtnDLu9qt
qezqC8fADfK3LHKbtymzhivpTPNJxPTKMmqliXo6QuXxWA2hxbDGt19csMJPysJQP9DP+phCf7xC
OJi/l+xVV5bs4ehmfcjEHqx2dBUbsbiZqwC7kzYYIGaiHO7TpGBFCfqmAvNSjjchNO2TXQ0WKmo7
K8BUdSGjxEx49j0ZtjPhiw74Orpkebt2PKP8dEy32cMcY4CKjnyDmt3btF1enLmfsBVT4UBnnRFo
ZShBp2hnsyVseHAuRA9SLa0167+xx/GTvfDfQ96aYBO2WZODDm+yLZephP2IbCYMzZF2Q999NG4Y
3VQ20L+lTQ35ZRUOUhpyQa9dYJLoLBHGPM2Bmz8O9jg8CLT+34EBh6ul93sbsnPcaZVNO7sezaXu
TUGmKemLXtK0d3VWeyh5fHfkDCD9bVzZRAvmeFWV9L0NmG/nPmxktvT8uXtvoSxsiTHi6UtmanHH
vySc9s3oX2fYh/b9NKs3QlvIEVcwEc+dnYh7MYzi2Y8v2aWyIkQwbIV1mIec7paJidCx65LFwrey
C4bz8gQZBgJJoARq00jFUaPA980hc0ymw2jYrEwzZP5wTjqx8kjivZzdIW6wxFf3LYI5OBWmQMCG
DBA/YEN7Aze2JYudPbvGOenxgZium725YE6XRT6aOzeTpJdHkz606VTuKqgTJaRFeN++NNUzlE7r
uadbfq6kM991/uXxq70p38q+RJxnSFd/EDwLBZs01XjfDDjySkghx9ZUPBJB0HMybfPKW/mEubx1
emavGGDodjsQbypdD56agEDLukIeXPM5DZm5RYbOeNMJMr10mmCKABq4jOktibPN8cr6SRktYBt0
Nsc+MbD8wRjbiKAzl35aNyTgxa7/w0x9KrjMnIK3JGnc2yyw2oXpk0h/hLgcHWI5l3CjSaQ+jSHq
sKXoZHQcWL3QDIehvNj3YoR1pphHmIqTjaDca5XxOrHSACeYCIrMvdSEjGKIT4tgyruci/xKODZx
JrVVorXTdYDqm3U/v9XIrx+dNOfQMFa6ffM6MzsbOk0HolBT+1wB4Cc8REMKsGYcnlFlhrdDa1VL
JRB8TnBmWbMT5P20cuMBzYlRTzeEG8UHd0bDrd0hISiRJ8zgu5ZSj+YdjjW01QWX3U7AIze5oOIZ
ZEBnUETEnxRJFO2l6Ntd3Fa4hqJY0K5y8+laBT2wdCvjHGZgfHpKZxwbQwlqAvW9/WLiNFGLDjU9
3kwtt5NXSMa0E4JU/Mn4m7xCtGSpzkr0qx5WzBeHmfFkMCF4sTkr6H0KJ/obWqP/wwhi4MTIZddw
ZAgepE9EgFAezleUIB651dno3lHtSlxppW36m7HGC9k5TXKX9QNDeMckxdhJqk9OhLS4MXvsq3Se
7oKkKjb2oOXdSAPhEdEWGOY2x9FBwxwdrMLZY/rlLgb6jeK7MDYic8icxkqxS0TtPUtph/eyIgQ7
yZP+DfYLAoyRPBDVkDmwTATT7LL00ps4IrGRg21H84IcRtr6HPkEDxQk7ERRLalsrGll5vOOLHMS
2Csii3d5njg3nIQFgVq29j6HCNBdWCf5Yz4ZAmOqML6DXl3w1QXejyGYt8Eo7X1e5CyCc8BOntGl
jJeeiF2QjF5/KLsM9kDcedQsPcRYMRlkYAi6J4UZuTuWCx4ujv10MpFOE3Y2uhQTE0zTWoqX2it9
5h9x/mqXVXO83JxrDlXTyc2i+Ezzw30YRwzNodthPost8wQtOT4UpHDedzRTGGIbGu0yNE3iIrw2
c26x6/jgsqZALRuMBFB/ohrTol2RzG758r0oimGZFq356GDuZ3ehyZxMhgdkVXRoLbGDLkALWUdZ
Wv6qT010+Snx9ZiFouBjDk26B5EdoRTPPQilSdg5t+mcTudpdOx3TXDCmgCtlox1v9R34BRzYFhm
oPbt4Jo3MkiyG6TI5WmYUmwwQ8iKMafJvJc91p2In1zWCVUVL8F5bJome+sMBbRF6IsgWYsEfSbI
wseRbWOtXLykdpYm36g3Hej7c7/0MQQ9RgOeDzGUzYcrC7AXFZGbQcYYIQja+iApZ66Lbq6ReGBW
gmOS3NCjym/6YBp+WI01P1RmQkZy4oNm1zZ64TKqy41wKkqRwEqNNRnAcGaTornL0OYuRyOoCCpU
GRxPVe6VcbG4ZKMUR9AnEEpwr0BVYaXfjmHi3pRNSzoMbchjKvv06PTttOrsKF6Xqhz3caCpJeup
eA1Vbb0xxktArgmox1MYH5qgSh5jFxTh4DfyKipRGC5C7RvPcuqtF34MUIfMsOCNJiYsqQvAM7Vt
rQy3iF5b6DLXM1fhiIvDP7fzqNakECItK9GYWZAIH6aGFJMqQtGdpX1xQz/TZUhfjhpZK5PHY59q
/wnncHhqQpUMbPK1cy+cFOd2yCBiYXhh8e7MnFsMUwz3pl0hWrfpb9mgOWyJncpOiFQP6sG++Flb
CCheGEVXVZRw6wXJxY4mlIT4YQ0OBjMMeqDytCpB2U/q0PUiuw4J+YV1l0bpLtRoEmZXwm8yav9j
zD2PA7kyHRAaQj4IchV6ouvLhiZyGuwnF+IHzjHrIxDYDep4Sh/cyc2fu94FR9VELpZdVMfMgGht
37ujgdAgHOlYL+usUF+K9iGryxzP13bf+8SNYVw5U7UjCvHBIRDRHUJPaSfS55oZV1Tpd/QNfhq7
/18d8L/lXXZT0BJAKHoZy/8kK2WMrbUAacFe75iOZ5n61zG2zeR1CiRQ8zyTIGfoBbR7WfXp1Rho
8UmOLtIMw0u8FUl8Abk/7cR4t8pvaLJWT0WHRzPQTbz2RvxKo4MfklCPKt6nQ0RyX9km6LpSxmYv
U2fFz3z7cNYG5p7ZqcRrT2P2m3WAom4isrQPhnptB0G6/vv3aCLr/f09MvC3HY/mn+XS4/n1PcKg
m5nMdNEutNpvfGdEnEexVdfLlmnEBoBevc4mA8ZTl/pXrttx25NYQGzW37+Of/qoiU2yTWFT2phQ
ksTlZf6k4I0iE8+mGBzM9xcfE9PQZd8O+Ib1lx5jIj06tFVB8de7/5ek3qfosy6a4rv9XTnys4z7
38/lj/y+rX/8aE/v5e/f+d9QY4I05KcLsHpv3//tB66FdrqIZP7n/9i372n0/rO85M8f+EteYrp/
KIEUxHVdIbj7XUTdf+m9nT8cU9IjcAimMSW76k/yEv0HczhLoC6RGNKk4/1DXqL+kNiDhefQY7ft
iyjlX5F7/3qrcH/w2x2ULFIKoTju/CYuKVTGxMhDqTgXoHMS9UoH0weFgJaCPquz6HOI7tp+4ACg
c82mkuELSR0EfZ18dgWYiG64rwnynYfgR1Nh2/3pk/xPlo3LJ/3TI4UM3vUQi0jkB4z2CYS+qGN+
upepYS1PRDYaYKcvF7G04p3OXeoxYaYHvrBw1xpYfYyJ1dRvDnTtPps87e6jKptoGSfVBuRNsMr8
CSOknP0lmT/opwkN+vtXqriQv75STyA/YLOkQXc5Zl/eyU+vlHQ8BPvqInnxxvK1CPTrTHr2iWCl
ZhvWXccmWd9OJciOonWd59kX2NGnDLrr4KYbl4p4Z4ZoIedO7rksOcisdCeHOV0XxAu81cEArvjV
b0brVjuquWvt8iEobXWkYU6acpwxt2+96QNP64WiDgarCi1QpiEATNtourPbvAjpOA9jFbcbypKT
lpN79Dsg/pUdkCBHzPnS0oYigRcWq+jT4tCM+tto3e5GpX0GZdrFP2bIebg34o4zYAq6GCPtbcv4
9v+1mP6qe+LKc5O7NroZnhzL5g799fOcDas024GmS1kaZxpmJHokJafZwhhhHl2UgT6hrBVa8ik3
r6JaPUxhHu9iE4qrHzvTrXa7l7+/xuY/X2MT/wUyLJRi9uXR+fU1QQ7FhZjjjwQJMt4MtTFe5fP8
VI5zez20gk4bPimOQXd9Un7PdLKX+A6nt6yg/3sZaP79y/ltT718RNTiiNA43GEcQZH268up86jp
mKw2CKxFudZtGBKHAoVwMGEIirZ4bfGv3thtJvpFhBRqUcqsBZqTyz0ijfLVcsGB2ozGD1lCX0yJ
VzyE3ouMi4bWc/HJQcUBPyPMpctMc5XN6DpNGtH7rpfM1rIJFAtAkiPlUbT5+/f2n3zUrmlDUOGh
0ixA+rePOq9q3IQMRxdNVT5Jt6ZhYWK07sPgo4AWOtJI2+VgsB5d/13SUzzix0NTjUsMYzvuw79/
OZfq5B+mmMsn7bKza9ey2dZZjn67GT0ytYqiuUi9kcb5CC7YxHlGb6ZEZIQq0pEbA7n/+9/5T2sf
k2W2AG0SSiEsjwv96+WdeqZaLDYFMTFIlVXCYmJTG0GQ5VFsp27mKsp2TyUKc97POV/NtbfJLDva
ROmLSoPsKjU9fVtJEwwNYWqhSb2YXeggf/9Krcsr+fnj4ZXiEHQsm71J4hz8rbjLJwZFpmScNin7
OUhog1cj8wA8u68gr8jWAUPVbKuBMcpFw0FQClmuQ0vgTde9GiKel3mDTKqbUWH4Cd/P/GpeJy5P
VJMRYVT2xbXI6ju370aW+OZQMxU6j+X45I2iucYEnSym1iyeJwk/4e/fnCN/v/gmzxa+KEsqtsnL
pv3rdYgGKxoTuwXPVifeHuvEdmjt+iYlIgU+D276atIPPvPX+4ZO6pULzg85e/lD0Li9vfzbWEbF
PXgMspk0iqLAjgyYDWW8buq2uhE+RymgrWSMOT86zKlXup+ZPl7AQRlEASPq3dtO1e7aM4oX3yty
2ADxG0bX5qF3NSjv8einYiTJ3iRb5opBe7PO9OTtZJczprcA7vjeRbCgdX6f+fa1P6WawbdF58MC
ztOT374LRfX6586VOMG4ypITNtHiqgiCCwk7MeH25fZDpk6mF9iPzGMvEo7wVGSduHir2Z8QmCyY
98zkSw3JrmyG/uA6TJfgFXQLDyTcnsGCum8m98E1iOkA/Qp5svLsZ1pXZNOhlCiror1j1ZzPsU+V
bzpoCpnCrVgJims0F8W1tqYrmQCpHzlekukKliyIx3oXq9EiXzAMYCB2cGtrIqIEv3xvSY5sbXTu
2Ln3Bh3CU2ndeWZrnzrBgkg0a7kpajQEpe3LvYt8kFGAjDm9Ag5E3FZs+svNN17+UIDePDdpHmgc
91C7HXE1BZnTbExpALyrDWsnDXifTLyGYzlZL4Zj+0crC42jlztiU5FesLBU7Z3//KOaR/RuPgXN
CDdoxZh0NZa5+EFRdsjVV5AEb4XVFreZJ1wQQ/TBqwTUJ8Z0vezpxD1ZdXduOmzdrsUKYDFsOoW+
D8m3bFdJK38UvV29di68NbQvwVUhKKAgpsCYTGeuN18VEDVJCC5u2/i1GbzsobGGbv3XAqPMDHAu
Y4/bfNI4t4qG5EFlrThumi+Bi1zOyev5Fs6f5JKD0ExKGGdt5Nl73VvDRrcTuRpT+lXnsr510cCV
eUoUCzd6WsjsTGty5/v23pqr/pUuGo2h/0PYmfXGjaRZ9BcR4L685r6nMiVZkl8I2+XivgcZZPz6
OaQbM9PdQPdLQrKrLClFMr7l3nMDQbSL3jXntB9quuvp57yt+6som23OGmu5EXxkrc8uOpAzkZ07
ACz7kUtYGLW/0ZdCCMmNd9ciD8SBJjG8DcZ7GjkA6McIva/rs6VBOBFH8AT5Fc7teyJPWRU650xS
Vfii4r4McB83Oo6zEvWBp9tih+kYNiLrmUPgh2pNscpTba7hlv+18SzvofmhdTCimKy4lIwPza2/
JcEASbl23B1Yc3b6uvqM4ladWk0g9M25fBM9IdC1cfqtFUQO/5n3VZNmcXYpUiOocsX8MsUQtHFB
u5coLPedsB0iOPnaunBdwtLg6aNbT/ZajtQiqVwkJ9YE2ycbfxu+XX9lPkRjZWEBAb7WvnOm4Lph
H7ld/i8yc51zaoHjlYH4nZggMVH+VIBNUC5UlUaYBUKRw1IxoKokSIxR8uuA0qIwpCKvys2uyhvZ
9JuKYC23QpZTJDxRjI7ROUBxYfXFW8YC6ZV4s8gmJYtxCt/8/BNEff8adD2aUl9eC21mPLi699Jn
Ca4mJ4y/lSHIh7Qyxq1l9r9SnN6M3Ftm7Rwr17pRZ6Yl7UWZZbnubeiotPX+MbSJJaqNDER+/EAC
luwraJEs4+yPoJ6+GjjCdsdkvO/S7KK0mvnz7MrvghjSEvRYdmkoYXTmTlWp79I5LBcrS/qMgA+h
QcPKrUmFwX4kQkMEhC79IlXUPdZJ7d2Vy+S8bvRznmrf02HAzWGQRjPIdLxnk5fspM5SGHHtzotk
fOl0pkxydFBPRIb8Wj7qiphV3jR8GgksbE9dGT+WN5uVHrks8/Holx1psVEHH9QrE/ZnxfDmRfBK
LCt7r/VkeHL3fbGkmHaNKZy9xUhgl3pms7MdvzroDhqwuhrCM/Td8OwZAFraREfH74DWGMTMyvM4
mKzxZ+LY4z6qNfs1HsOtPdgBG0vuFTYPztmqweqI5YDPopNQhXaiNSrngHGYh3mfEQY7BleLAdSq
G8tkb4h6b2a1PMJr+bsBBkUC68TCJTGSm17hNswi8cy04RseaPMYpRLsWlbwfPHJQrPnUaaELfIt
9LKfYcejXLQk1zp1uRussj7GPSFuYd3Gr7jotzqKeSjMw5s7du7OObXKcc4B7INdbFvT90S7j728
hVX/0nYFN7nZxXtc2/OmU43nyoz39tLzxKyLQWnQcQVuhEcqIpU6IWuoy4F0pEZ3M/VEgu7NfKwM
jM/bPvsCEXeTLgdwapV3nZ5hz6Lnxp6jfcScqEQDe/Bd8gnrlXOeWDCQVReApAsHos5r6ZxDOQLU
MayRLIwAfxNpUkn/kjgkkeFYEDtfrw6pXwak8EFkadiEnBDl5zu446fIE9azpk/a5EgAtlNayX1P
WkYvakaPI07GIbssLxLBxroUIQgaFIZ7hYb5YAV1fDEsQKheCl/XH9NrrucsW7Ik2BZEHFxPZRp3
l3p+cUCbEqc4jgy3/O7pRIG3q8QhwQbAAn3ThYOFa7T2D4UV3lPItnMAqbHP7GJcD30QvaMMUYEk
GhdsKZdhcJcpWDG+QW/XiVq9GnFyh4N9QNGHTcoMfkqKpzUGCnpnhvdb11PAMRvAxe2sKbZidW6i
Ins6PRo/W49fHamViLyC6lilRLTgBRA7NA1X6dQ98w4l3/wmhFzZ5vkuNWptk0xWe9FjNz1munkc
nYnPGr/FO+DMpOfiJpCLK6u3gS4T1FzLCTCrFr03pYdfOiiMZy0gUmRsXQ6AwrJNWPZg2SavhZ3b
jFR5MD9TKyOQeP5nXc/BYNcLsZdjp53IZco2dRE2/HgJrHuesqQghv2ZbWX1wQ29c6u+eIaJ/hY0
okCnToYAsI75aZNGjyKxuA5S693PYAfnNUstN3so3XvtI3jtSzcw5D3enwjMKyQX+SI7vgRVDB42
VmvbfmzUtwJMTprQKd5hSuH686mmKu9EbUPBiyFiXZTgkqr5R7fK6DnNA4/BzjkGfKyOqnFvPsLn
e6iGN/iiyRY5c3RwgqB7Ma17VOU7jTHTzSV9ANDGhH09FAA7ISYZTEwuBtivHd0uwGOGcE/VhRr3
n0z2LGM//bT5ywdVuTPbgKtpqES6RyEM84m9x9DkpNFl3LrG4JrvKh8x0BbJ+zj2n9YYPH1Zlm/d
fBp1ccwYBp5YMD1bPY7OSeJLclPweLPYN499xK/rP/cR5j9Ph5nluXRIuu0FtLWO6xrmP7cRgcv8
wjJKWugkQUTtm3uEOuJJl0fQojZ+t7oRqPUcL97E6WaYGa8UjJBb55coRxXn2NGj69ufyxsez+Gu
Te3igJTtPs3Vfxl2/FtP53o2cxePb9vkqf2v8yxTNnoe+qTk4L6Y1rkdRFcTHeqhm7lHVRLebORZ
t4xs221lT+PLf363jH/78oHDjBNcTGBhsWN78M/vll97cWB6IZL6Wvgw7JJ4lwQYkxKjb9c1xLKD
HSOu8Co/AgobdKjed42/jyukEEEVXAbPIHTSd7sV3Qk04gkaCxs5WG7EgO7/8zdr/duvlsCAeRYT
OGTH6ua/frNRWLALTDGoJQZyBJyvQPyoX8ZqAI7gDmcVZ8/GhPeaiGh4HzNCZ5VpfcxVziUrI2wB
Q0GMxlxE8shEySbtDgcvAKJAgPz1Ncdf252cTrIe/pJJV7wWXUc/M4T4yjvd+WKxyyHZYmTpYHOi
erX/2zju33/EgObXDnSbybSJWfKffx9g/FLyEn3iZeaKUrEoxOevMVjyA1mR30eIkDVfqJrXNVu7
JMPA0cP0/J/f6Hkm/s+DBjyVENpc3+HLeOBT/vm7gKJEM2HPMNAWPkmvpYNYkVkD7Tj1H61PXOjs
rqOcVch2UJ35m9ACWw3reh3DVvxLTXA7B3ZY/+UK+LdxlcE35hKR59pWwLhq+fv/N/1VwWRqpESr
Vcuk7CIK41KZfXmLZAcnJEpeKyP/1RsmDV85o+rwdh17llbYB+3oimCt+i/vFEP8f3mrTN20XQPW
DMsofmvWv9xAUVyVbheS7kjcAbz0av9nxhAQcSyIvRpDicCo7/aR3elfrLd/sUoaXjsydo8oVtg4
ZquiihjA6XV6Emaen7QYGtIqcPoD0d0b6eTlo0ylcQ1Qsea5g3Ksy038cXrwLQalmvUVC0+tUy9u
WP1OOjc7EcT92jVtdxdFVNyXEbj7fSGMplUwYYCZKwRHsw+ND09DJAYI9DhLD8udsTRa/qB1tKHc
HnBqMITPw6U/NXHiG8k+SbT2gWT4i/f2mQvGsqj0JL3m2S8FP0qS2G+ZG9yXSUOrRP4w/U/wKkul
p0pIHrVWG2+R1Gfqr6RQnZuU0XB+olYbEJUL6z0hWARjF8lLZaBfQh8fF3FvutHZN3N+qUy66n/0
okNsHSnanBW7S0SgI1vzoB0ledYdxtY+QcJUI6/8ZZd/d3Rlv+UwsEomjpxmuEjOqOrFffB5nLiB
fsxVXx2nlGgn3nSb/ivJdPFcfhRdCw6DH5on9E/B3nDoKZLYcTaJ5dQYPYL6if8R3AfJtLETkuig
wcuVAbYhPcdyDs3P5bDx4l1uI54hyvWroS36LSxjrWfIP9kZI7tKzWo7+rK4tkH7dAla+mEjBFlR
mgYf4ShIGGuL8U0GbbcxxlI8pmKDpcc6WIzvWbi202c0peB7CNbdoZAF3jhfQ9MYzXYwanLDL99A
UPwVWao5xJnOtIj726Twp2LoSUWdi6Dek9668uTFmgJxtTv/bOVxc/ai5wxkfPFEPl7MGHhlVQft
RYje3nDLgXQ1AGzMBUCWecUbi6A/l42HisZAwPk+z8EvjZvXKx3ypp/GwXc0SVRkxq+gNmpuV1u/
jBUpYqqw5GyFAirPL++Iexo5veI2dsGcgsO9lXD1HxgOVjjmPAKzHXvTeBWXCgHigSlwDVUMtJH7
tb8aTAzvaO6i2/9+JgrwwyolE0wLguAF5CYN4jB633xy4BofQhwJXelh+SL6nHCcykpwoU6PbDY0
yrz67WoWTPQwic7OaD2Xzl3S9IJoVpScjIk3tYKFgQfU3tk2idWmgrVvpNo+tIZxm5EDdYwbBbKh
d8h5KEgS/vNwVShPtpCrPjLLLs+TD6BCatGloPIhsU/m3IAG6jGHFCxAa852KMPhw6nlbczsllCY
ErYlEs2CvR/JfHTOtQA9Tt+wz0XuvBZDyOkVGH81qfNG42/fopQXvUo+oDePF4dgwMkgPirUhu44
GD1bK6ONtgkIyYsioGqYL4FWIjr1gpYCwHDjNxxFkO1LQS65QZd3TkJ3XYWZOiGe1i/K9r7+cSU0
Xg+LlazOKqaSSPAqlGbmnyHTRlfYnq1VO5eKkNOjrumwHP3ihVOnYAcAJtPAv7jLIxXtU9jk617P
xTOOumGNIho3rC0f40zSXV66Gacb0S6zKszNI3bCBNA/ERfu8DpOKYgpOx3XxlysaAUTXKurHeh8
0d/YcscrK0TzaPg7h+ZzvXTmvmL9shzLruAxQS7r3h2gyepaSk7q/N0XSn9Lmwpv/fxZ6d8yHNXp
fGaGwzFtfRA8pjd+883wVCvSRpZHrUKts2XjFR0Vczrc5zIHg8ns1XdvuTVO1Kq6sWudtjst7TGm
qZXo/W7952kdk6Zgl1bzEqPxWvUdqWPzF+980p8DftsYQSx1sfRir6r0jLenujWEcutOap9c28Qz
FAjCl6dm62osIPXMVjy2kK+UFogCHc65EAUGNJZrm2ByJ2DZ0xZfdXazO/xKVuT8cJQw3+eMwNuk
vB8K58i51YEmM2P38C1a3tXC7rYz9ZQ/mxAK5aGCiNT2CMJG3AB5WFfH2G5xCDgEAVrMSDZmF9WX
OCMrQJQ49/Icy0Gra/FO65Jpw3WdPsvKow1ZipGlUp+nOTAutZdUWGrPeqn+qj2eaaqFEhaMY3n2
42ifOVAPnAYj8EpQU7MfsF51wzqF1Ln7xnNwsBjWeeqr6Tu4XXD7Y3/Q0lHfatVMKBmyHzrz7e3Y
ldo+rzOcDSE03SywwB+loEoiN4cTqJlnRu73pUiKZWocErPBBCe7lW0qdbGlDQmMM3YX1bX/sHq0
x1Ejf6GzDh5VZIht69Jo23lOirgf6g+TEeBuyIvmEuRpvl46TKvQs03A8hMdWP4LE32+dqoxOiyT
jc6Ke3TJnJxB3X+arlQrz6lbcFjW8DHon1FD/EYXwwcaip9+Fk+/8/FtGoa3shjFDw0RU1/+VZKq
BDSJvBBteUgQ6LnGXVt2X7jNKUYA0L+0YFqd0s1I3tVZhKnRXVumFXy6vfUkebkZw6dZF+CUo8Qk
vrlx78t31fNzn3FNkBWZZ7s20toLxW11Ts2aH1nqvzw790+dJYMz9qlNBWJg5/dDfx4SPTp7Q40f
picwyG2j10lAYuYMUF9lGr1F8cpoSkgWkwXZnaXJ2g8gh3p+7JHQfQBQnvwsJnnQuVceuArnY6Lu
ml0+n2NmPoh90SCXTocvnKDJh251x0lnEVlKwzhrduQdJB3VGhNWDOjTHk6I6SLeJflD8ShksAoQ
zcRUmq8VW5kO06JojO6xLHRgKx9zKJNNB9NSlxUccAuZx1q0FeVE0LAQkvbfMNCvwlSc86wbd0UN
cGJlgrqRuawurllUt85Ni2NiIrMmlG8iIGRuCdqYANWKSniHhgDRMq6f9dKKRTqGjrhnuUmxSsA8
cVWYBNp7Kewzv+G9lKr6SKoovkhuTKxmAOAhs2dozIOPMc+Gr6nI4rXNUPjN9GSztqrx3dGZj9lN
EL9W0C0fjbvXkMgSAMEpTUHKstTboBHuTwoS/MEQZMAuI5M0/+a55LUT/lt/5XWHmLDENiY6n9T1
osDE50zxSxmiHwzaSq1nk+hxAJp9KA0SQc2RSRarMXzMc+BR7uyy+WHSz98a0UIM6vIPbSSCrXfk
eEWYem3xXbyZDhjDQTZfEFT+KEcMa4qIE3Wrq2dgjMZEKI8lcOVpk3mRtc8ahh+A2r8wNEc7qjSk
8y0oonSuauqeK0vvm/8iKLM9e163//8NL90EnQRsZJfmC/7kvwwvTLvIWtsQeLKTivKVFItx7lIp
sDJoJaAAmHENba/2mjFNZxcal+tP1pEn2XS+doidf2oMxb+pXo0r6ckSaWJh32Q86hfpfeqpDcm0
K6IfQsdfBTtjNNRlHNoBgBxidlyH7i7Clnz2cfwcGY37K9BiYrN8mpvDP/6CHpk4BkN8I/kjogEx
iqMLZOKCPVHbiaCw75gKoAEIM2PrADWr6vI3dKIQxpq4fJMNzllSDjQdpCFwAe9qzC+MdactMYkZ
jG82VPQ8zW2CpPKCJ6NCKh/Wr24Rf0+8/nfoZLPUgwrVzq3mgcmXAE3p76CgVNf/e0kK4ryIrWuA
PzDisgIlcckEmjhCYvDKo91P3q9AGuBm8NFbmciOqNz1def59nuDN9vDTrOPBsB2S1eH5T446PjM
8J0kBkSp8WwlxJUtUxsQDWssmcFDBWogYqbz58gy7LjYPPZaOL0YcYXQdb4IA6mba8AU3Ra+8o8i
6zCuzC+aFXfXBDwXaagIm3NmV//39rDF+uE3sj0sTwCniS8N5fmxAG6QDcH03fFT91jMQgQ3mtPG
oBmKunsL4mx8sYF/wSKDFueZBJtXA5ZwsyTNVushyVXoVeB9MspjK8Wkf7wSgJica2H9nmoyvREX
/8owb656bOB3L5htavNaiHn4jU3f3HiP36oZyxw5zZ8ZgRp19xan/aMqCNyF7ECo/TyHDb22PXnt
eHCsy5Db2vcOCzC0/yzc2BM+vbARb17qBd8gw3w6ow80v2I5zEqTOWoADNtMw3Htps1H347eNZYe
100RzAEynnfUikQd0gDM8/LrysFXgvxfBnv4tKedDqtj0xlIeGNmstdu3qVX/QQgHzfya5DWJlOO
ILv5vY45nk0ZHfXGtbWYmPKJLX6sm++lU5lrlYb9kVXCzxnrfYpN2d2VzqMTJ+a+srWOaPU+ezB9
VxPzXW0wp48aanOQVs3WaIbxxgfrEuvLr4FH5MoJ/lEbTyRp/mmoYmlbGzSLEBaq3Evu6fw1knzQ
TjwQr4C2fgduLj90N8GDkB3/7JIzqeRr7bufKhkRc8XG33lr6Rc3atFT6AW0D4hWqxJB616MgTwT
3aUd2vkjllzaQXUJ+ChA3utIL3wCo+IBPxLRa0HrH3qjybamprozBt5ph+vHeaWahd2P3RiQRes8
pmS0PhzRvucimTjeDIIUtfA105Cg49X49DLtNYgL9b11AKIDFHsPZWackoQOus30Q8OqhfBBWl1F
lXEnuKJ80SZnE3Ttu0I69VtnvT2UE+whg42GJhL/t+Fqa7MOr7jRkpdx7II3rd3AJ9noqu3UVoqo
30ktZW/DyI6lbRo/+1T3D9iA7M2kAmyVOnNqFHtbzYmcrdlOQGatwDi5QV4dMp+oe+kTxrF2J0go
DBA3VhgkuywbIOHVhb/r0gYyWEdGjZE33irvBwsB0WFRYZBEQ81YElFm2517qoSHWtgmfRW4SnUj
lDsvf+aFs+X3MH1mBVC90pXf0mxWh7YY1gCRZy+9n7hwrBin915jHIjWsVm/zTdbNr0EyhlfGEuI
fYCRgCSYH/XYiqerl91Flc6zzcjZg0Q/57VrPp2mMgEHLodt14BeEXOT1HGP/UkfSUzzCsuKHJC5
orDGxrxV1jHi/FirLAq2YoJO2SsvIhePdANwPCy85k8TC7poXZXDkZAveINiYkgsxZs9Xye6NhLk
VtjQKiZ/oMcNYoDrfvOCvyDEuzNhtfHEW2U5P6cGAJDrd+FD78jjIdBnqwurpAuo22NbIpWtOqQX
oNXOIftmh6gq5jjpLel7VJtt9lm5Irqy0k/YeWAvr7vC+CYkaLSkJsKmgRIDpatNQ/8WF4m3GVm8
voXsw+s6fV8O9+XFn1hxNwAqOxFfB68b3uKoAKGVFKyMzOCDhiY/TksB51okVoctygdSofZTj7wv
k+O2b9iqj0bcbIWHebanY784jNU2ni1BYFq4H1ahxtPQJBOyDYKZ+mAgVtDG7tHnCsJIyMJ1UeNE
1avZafWVUnUtrXjCF4TVJyatVQQkxeRUbquJoHYGGVH0NKYPIplttA8y2pg+ohw3jS4IqKZtqcMG
8ceMiMlkDA9+pvK7EWvw2AfrRMdhbxy34lb3a1JelMNysMvDdd1W2dPTDG9b4TDZVCz+VhH+sttA
VtfKs5GVpXVs3pibiQt2TX+NZxgjsFA/qN9X7RB0X60LelG5/t9j5WCxcvT6nCJ1gV9fuX8ZpuVw
7Hn4tCxRvSFywyp51eM6+eQQLjcGvdmpK7P003bMnZ0yltfb8LwMmMZokQJP4VrXfeKF7RgXkSQQ
J6UB1caeSb9bNF8mY49t1DybaizgvKY+94RwTgNenuV46IvJ2iYpbLM0LLaYB/z3rM4Jls80tXaL
7mcHmL5dma5GZiijopWc9bh2pv9t5gmJF6M8AVKTN04lcfcRnTRB5F41s/+Wlrw1IumqtZKGeS8I
oVnBeCDfRh8BAMncSbbjHE/SIVze/enPc9Z2NNXdxgYBshkceL6TGb8Oyx1MyBcFVdEDpsfAta+K
TEFX4yMUNtyCrXDOcSzOLh3bx1h0uwY6xM7rwnTH/iS4xsoNxVE4xHWNnmWRiMLW3IzA1sNavAVK
MVGCkTAF2ac5F9oUZerolfGHVRINnJpEzMKZ2hqJnRL/TTHsaeQKRYHzPkhBFEngpM/lpSNt17J1
42X5TDSuzTO/+2xgQm0qo423ckoFjTmLovVEEsvuz+dlWql7Z/bfK9kKKofug8Mg9FgaCqAyDQJ5
+uY7eiXtvnzUNKG2IfxWslht8cErGgfbsZxX6VMWSDLvz+0siJty1W1KqX1W2FTWhUjIylJ2Nl3d
keyuJFnr809rRmUF8iP+c9ZzH7FkGOdoDR8gXi19rm+ei8vLciK7U7Q24HbNC86lPGhCZE3jOD0N
fNQv5pQjKqpeMDRZl6w3wwcwSe/FaF770ksO0QjtfZqfLq3Bssrr4uKEaVYd9CgVa8FFcjJDaNbL
O1hKl/CkGl5X5m8nIjd+i5yuJOVuHicimbxKZTdDi3Z/xHLCcVeY79LXzu2RPKhB39id8g+gM8K1
1Xn6LmoT5+EFwnmMJuNYbwxgasRGcMyGOtoh1liBO4v3oLeag0KgcrOLeodnDcAP+TYbG1DA1YLo
tYIP8smKqHuIEdyAM+O2dK90Xq2+Oumhz1NMDTW9+fQ9nbf+y0tcWueUmIVths2QeVLk7jtyOobA
ax7S1pcYOfs6fBhGVX8z/HDTYAe7R12+d60+fpVzQ4j7j6xTpYJ7YwfYogMNE4XP5mXGZSxaHmc+
ZjNGr5R5ItlFGH3Py4sJGO5g4SF1caee+vFW4Z6jHlI1cvtQBLQ985KrNxmZJPghPaybPvwzt254
DGSiJCuRv1vR6N9sT5sOf8bW86QTt6K4xH+PHezQfsyGs9toPtIH5ydIPvfcGo59Jq+ESNxCfwwE
okba00ymYJ8YAasi6RAxxQsZKj8AJ0Bzi8xiOlVNzsiTGnC59qwCWYU5aZDdXZ8nScXFhLw73hqd
Yx/SnjO01pzmWfiJefCGxtnOaYRJitdGGcl0Wz7ya32XUDcxDYOaszwMlhfDZTDH3oScDm/4kZLL
fZX9IG9D138FQuWvDYcV5Y14ehmPl8bL7nnr7rw6C08kA2F+mnWW2UiTH87VCXqXgujSQm06wJir
rvOmXWbWDDVaF4Z7aabbESbBNu2i4Y3dfXzuTdyCevkDo4H9OZdW6x4TAObuxNjIlPmP6afpfmpD
nuDl+AniE7KLW6u7pxVyH1uFRLLIXyZT6KyHmMYsbOGyxKoePkK8h9CrlYl3n0+RPJ2jrmWoXDOJ
xNEyPvlVsthkb6xmBzdTKxLFGqTu0WD35yYXH2WcT28D4AfI2lZNnHZhfcOocRF6LndpXlJ/rBsD
aesKw+oOgWn825XpO7w/73swsCoXiZWeA/Aeyzl6Fk4KLHrWk8zHKp+ikVg+zfoYQFnDVNGi3rWT
3vsK2gzKo5cYtzEvh4eSw0/AZ8m2oNfbpWZWvtRtERPRZ5MpNX/qWzAk8KReGx3h19TTDBvUw29D
GnFVDYZaiQyuAfbqeFvMwhkzTc6Md9XNmYc7dWOX+4wt1pCSHBUmEw7uvLCfLOA/tWksL8sfdSoi
4WYOjEn6wvnzzbeObM55id11+Vkq32nQZWvbKSgBHCUObbAt0CcpDSW2QsEU65gPi4CpbVvQm6ET
w73ug3gbi7dQCPfB4bpePksKlb0xAA/GadV7NqFf0K/uNtOke1Qmv2C9zJHzXKAdHsuTVOZMXTt7
nen+lRYuHv/kt2aUw9OdM+KKpgvPVdGSMlTFr42eHroACPs4/Z6yNmX6Mk/pEkO6ZGjrhPQUwtib
Os+F5cEdKY6fkofNamKstVqOzKTB7k1RA4d6XmTmanAuY4pGZ35c98n02eRNva1kbB8Y6U2foy33
k1O3NxlFbw5o36tLAw4vptW+CqCtq6mfhnvVTi2NPESoLqVlrVgIHZImLrb5xIkBzQIuKYEX+aRl
RPRK3NJuFlyMmIy8AMjGD9cZLsSPTu9915ek5gAQGcwWigmFDIO+9kHlXd6Lgfe1g65e+5M4Lc9a
jAx0rU4uiF4nSaxgWPG/LxZLjXVt/HB6oXGAM9Lj/t0rQy/e27yXF1jIZKI6ifZwPf5RI7V3i9Y4
ohzjZNslsjS+wGFCNnI9eSJc2n2zQYfnnrHF1j0RqgW3B3tN/bcVt2966navZta9uH2MjHJOHIJb
NBzqorHwqiXWS5PA3GTDvO1Slf25A/L5NuiivrkSTLnrLWCUjTVcFSkxL25c2C+oNmP02R6xfnFx
tDljP6uRq0s1xz9naYL/LQsJvu8lrRDJkmGzNq3ulxh92JN9TCpfZTCc0AzSB8LoI5mVci680csY
AyGpqqZZTW5uXIqJNU9jhZ8jbfKqTcr8xUlktZOhuAvcpDcYatdcdKjRaxfaj58/4oJQO09r2rPT
EHa2jJryaYgICOuZLzfMM0XqhufSQNBCCWUdl+WAh2hjY5kYUVRZT0fwcDs8YOWqccbg91UAWsMB
3DY7N/W8i67fPVjMT60lAb43BuAtNWiBtjpEkW9elwfzhJF8Lcu8OODYXuNf0i9LsVp3JeEs0n8w
fATrCT74Cq2p/uD9YvNagYw3RPDCpdhvXOKpcJfPthq987OHnJ8+I+fRsZrmMtJ5xeHZHlrJ/HlK
izPMkQuI3+ZK6x4+iOgrXyzC10p0aUwtNPiQs5HB8vAphrV4FFWNqiGRBAelybHq2XknfVqvS3t4
n7K6f1iKE13rUUu7hUWgo7Jf8mw8FD30HYLArBfLJIRgUOMNMe9n2RNtqI0KYw940gdwJxDYYXcg
oR6jxfzng8vggQXScfmvlj9KJ+JBsoidO8cWscnGSPc7GvZTBPcoDNi0w5Mh3rm5tezV9yiTo/Ui
3F/qp8TFf2EQ/Z3VkGTNeV0udeqtarK09Z+mfR6/L8sYe+rhc/JYXFF88pjyVL1RxaR/eKbzpcD1
rh0DOJ0TETdZqra6FugXtwqx+XaZtvYpXoOQ6Te32doIencXYiXqZpPf2DTsgEuuuEFPyVXj9Fsz
oB02Eq5xkVOVLpL5eBDxIZXp97Cz2iOYhWQtYis8Nsy7gL8weHHA4GxsN/k12Vr6JNXPv+DrexGI
NE9j28hrK5FLMgXe8c7+KHO0RmlH1utikBF1fV+0j5reuitpgM5xAophHGTTTUf6zGlURCfKHowQ
bv+gO/o7ztijhIg496ZZ/1KZYdwj2HutxmDGA+b60y4n9mucjezev5XUnusyJGC9zHAUljn3h+G0
HCcJI14md8R8N/GkXZlqhy6Dlx8wEIdbiWBuXQzRqXCIpfOcn4M7Obs0M562TJjsxex3BCne9RRf
mBDtwikcDkEA9wrrFN5Ofdz3AxrxMlLpBhruJ2LILLDvOjmf6wB9pbL0FKdB1u6Y4L8EFr9KZvAu
T+26a7dmJb1DQXe/HpyaDEFNkdsZ4LGBC78KZTC9DhOJH7WGVcAx63KvQLBv4dvybxdgzjPyYqKE
iVRMAsKkm2pXajlNWvIjrlmAozp/tG5LUm/mucRLsPMwdfb/VWx+UZIinFE80OP2HA4QqSziI46i
ENlWCO2TfQY6B988JHghj1GYsb3pE6TogdjotO6gqzYsmKM1FCneWmrKUQ7scC1BgENZbWUCxSJv
mSmW+V9GTX2lsvdWZzhsMQDeIryB+mX8AliA/NU0D84IwUEOTbjNwCyxCum3PVE+jQ5Ti3ETvF/x
zqr1sx3L7wnsOS3VtvmcKutHBuPD4VcX/i6D8REm/a/IkkRdiLKhmUw2XDnFKerurh5WuzDXKibA
QXkUavYZhDBRaKB/xxq8IH6HzRQfWuRvzEnKGygx4mk+hSSXSPwPUWfWHCeybtFfRASQjK8U1Fya
LVl6ISRbZp4SSIZffxbquHFfOo7b9mm7CjK/Ye+1MwYkSUa+TT8XNkNWXMartvwrNKu9+LFrhgzt
GWkXtDFSny+O9rTmLqZQA09P3dUF5yzIO6lVLBL9EjJ2VoDwSMYnz3THmwsxJEI31OxmyZJlXqqM
q76KL73tNwd2FVPgdtmvbc5+BSHahiNbgoQxkCcc6PApyxcPpUfrM+dVPgFQayYZ8k9rdSC+l8FG
HDkd3L1BccroE1AJzMiGKMwTuqTZq/xQiPRRZZY8zPqfxvL+1HCQAMpRKxH6TNoodRjkFQIFWf+7
uqwCYBLxSZB7tIW7G1hqeYBkn/ehJrXPXK8idHF057H72ThkrjBvM3deR4M4UnBN/fLX7x2bFFPL
CBL0DPjTmFelgOLC3EID7ibFIcn0TYfquWdnPsLousjBR1UC/+2UuAQolYRszQ5VbMPVgJai9TGR
EPrrI3XLDkk1XbUVNE9ZLt9xEQfw0PQAD8UuMW2Gm9qKhyC2cINzGTs2IGMgzRo8Ux82E2ntvOGW
rcaH2B5PXrqpxiv8fAq7mptCy2WP6MN0ZHWcaKhnmH4942gpr34OmFQbO0onNjMmJqNxbYog8wni
MShlwgENvGOXO6dob4U5wYCuEZov8Fq72uboRFphdNrz0hJq5menrOvP0LroMju7DXC3Pw38hRH0
cjKYnUxI5s6O0J/v9cYfz6I6oUdhiL5FV+Kj7wcH/4Ld7r2/jZGQcKPNnEF61REXwSc2OdayN5hM
rTrYE4/ER9xTZLMyzuSkggcIREDsdKfII03rjuCunqkACfDS2z+N46DLnBCzmI58MMbXWDfSXVog
OBm0Ei6m/+Hp02alyR7GysjR9YOgTDU2KQYJ5+gMyd3x3aRkn7QEOHL+grVe95b3VLfkKVlrWh1H
csBnqB87FiX92F1GMjBKx90tddqdqllgTavoyBV53c0WW8zE+FnD8YUwMn9deiSRKrHKk3SIk5Ks
OKJRum8o4917m+98RcAyjXZx5RuvD06b/2tnBQPRyRAPE+dLVeaffILUg7xTXYSqBAspWcQ55NZ2
RoEqRvfqFOI5jeEtWUZ9tyknQjb64w56Zb4bxgxCZjoKLORfDH1ua9k0ezd10JgCmrrolBhcDO1R
81DPA83Dq5z2h3rhdV39pzRlYKdP5yXT5Q2Dbxcw/LznzNIPFl+Qaa5GoK/TXxPTBT0bmERrNr9L
ltKkVaLMbLT6ZtoI+xhKt8GcGgN4RVhlTjwT/tV9xS7pDvQ+TPHIww0a9q6B5S1dYCw+EV4pCxta
U0Ih8rpCpks8VcmUq2EbFFYYNYPW1bBnKhb/MazLwDc2Fiaxm1EcT9kh9shSM3WmsUm9itBth7ty
4CWIrZqjtNl7QITZHjhapbhKaOqXqTf2ZcfkMwFt6xF2DHuHfXQREd5BFnKFeAkFjberssy5YXLr
kn9ajzYAHBSODA6ksJtMuRct+/A09kjWWCOr850gyX/rGbcx7J4DN+BIWi777EwOUGLNe1c4v207
eUVG3d77XgVkggeHehnqJOQLZ35ErfSus/gN2AV+CY1c+j6hfLXs4pQmjv2Yq0/FYRXKRn6SqQ1B
DFBNikcxajP1p55MxEdi5o4dt7WHsb5kCeOM3M8i26ufqoV4LYnzl4l1Fkw9aqEYmeucSfPoyP4V
NO4qBASPOb5fYWeHTslOGXKgCfMIfTEjeOKvhqGOcuuvUBQY1MgxVMPhYoiMLVfBJctFAtJwRNEy
Jtq3LT0cnbFxhzqx3ifanaQNPmJWKoM6eeWvfbFMfd63Oa3LylCUqd240sJNcLn4ijIzZGwHK9V4
d3hF0YMZ3NBIAEzYQQU1B0bP2QYcoiA8FawRMA0TkShAdMN9o4PqmYQk83CqAGLshjz/QpKF2lfL
rsRYfyLnQbXnTHxCvjx3RX+tFAdqXyYoVz7tjCLOcwB+1t0fz5VvPPnPGywzMtCUICxNcaNMuvUg
yyE0idiuK+x5KARxky7Dx0SFdfDoJAHPco0iixJqAugdZw+Op2CLtS2Yr6SqI1bxIqgXmI9pXBl3
KOSRBHUv7ZowFNLqaBb2g1FMF4FE/qWu+2ZPmYpY3PtE4hSlvRcKffibDilPNV2MBsGTR+wZW6y7
Q2KnnefWsYICtKjhlCaVeEEYF/ot9Ewj9NO+JD+0B+6m5ZT7ttcyz2/WMK/m4qrVLCmHnCW2dFlW
tu3JW1ww7827Ps0EzrdsiOU4RaaOZnLyRvM4MVnEeThcsXiTzUGP4Dtv0JCrwFqqKfT88abyCQ1T
p4GDfwVv2Ye+0B8RrRuBtUWZOjwPIF3DtKGGwO34ClDBwQXZ1oHq8HvCJqFPTdW0n4v0t8GFm+XN
eVmotSws0lTvkVnkT60iEK0kvnufYkxrY40nUpNMVfUSUOlyynoDaV1TYi2PORep/dKswy9hEp3o
DB7y08U7ZqxMtxfB4javMotnvPcfrWRz+pbmgS3xxzYTIljkT+sSM4R/FB5/wtR4ZeFq51juJ2px
XcPq1hH7jl+ru8mKiMy4LItoLvM/JdTCoDE0Qv8kUWOT7gCcLIhFctJHS8zJdTTvWElk+7Vm5Eci
E4P8qj/TMfnUXQrXd+t+xnVvM8zgMLWXjspI5w9by0dpJsBRne5kan9SkGcqBOtFzmZfc7OS7INn
4jgo9dZ2Mj8wBqf0KqFn9piqkRy0sFTk8+Kb5T7DCJPBWw0tn2gZTWwPi+ecnWmrqEu/v1ADa2Su
8N5yq+cJbT3f1Jam02Gij1v49sPLUiv9YLjGEVuEtkdi7AYEQ9MY05qv83xAusAbIAHI6nlxcoaD
vWZ/B3txjx3IeqsjCSo1FSailXeJFB2HGPLhhON0DJeco4DEKFAvRtRkPhVSflH1OY/dmNceyhB3
8F2PnJ3phQ3b0BT7uV6acLDMC5sEBp9FFlY2gyipky9YF+Vxxs1ETsZfPfWfQEUu+7IhtrKQ00nE
3W9AAgzCBFYB13RJQ1gOAujfwc37s6e5dmj4XpAzjCjQWSHRl8PzYHOYilqQjyeGj9In43lmh5bB
zXDcr7rq/XfdRcQ0ZFUWjPZA7zKM5HdJ+2CViUtOtIR74IDQIaqedI42SOKYVEE7lnRBhhnG2JqD
uZ6nAFJocSi0i0OK+rkgcpy4JuRaNlPxYYA74RDCRCJZkM0GoZB6nEYlGjxzqZkwI1GyKnWY+IoF
jKyolkSZA9xLd/jeziPIv8CDNLYDWvPQuMhMOuLxMp9Ya6SGVdhgQ1PzW5KC3/MrEmgqTtYU3EgE
CvvT780u6HJfHjL/m0IrPVSz+8DIPxhKxdqkIeYFrDusDPCOPYfywWOTzjRYi1pbnfm4b2nhTjt7
jB+9GQViSZ4rpBU7TIdoRX2C4wRadO2tCIS6EN8J2IBR/G09ZhcLaXI7Vl4AFmlKFh6EKE4p1KE0
BXYiUcmZ2H1XaTtUHZ7iWzkVhf4qy+yIpaAO8o2rPTjwB1SLzjEoe0QoiACLMCPBJrPQmk+4f8OB
TB2RYnBiIXpvYdg6IC7t0Aij3mB8b3q8jyhok65/qzF67mlUUNjkDPww4kc9KmNtGbKjFY/A4WhU
R69iY8j/wPc3f5ILPxhMcCRC1pIUqKE5WTF0r3kyYM+DKFVLh07B/2VT+Z2kqMLJjb/cfjy1sHgi
Nsb2bkILvWk2WfmUDcLNUrNRQ/FDj3nCZWAriC7jrxLCCpmAJ3tzPJhTbR4kCQOmgdinWWeafcwz
+PgXRr+3vk8uXbUMka5Z9UO3XDsNn1lvpXSbQ5FwpAEgSPRaXIe+riPIyd/NUD82mIE4H1ieuPU7
2r780Gbre8PZwmfmBE7ubGJmvjaz586Atxlk8kmzSavPaOe4CjkDLX1h9JkegDHR77vCirDn7YVr
HUfkwbdBzel+Q3Dtssq4LCuJOMkF/aF3dEaNnFzXW0NppMTlzpI59mdhGiRWDoxmOSAGpibOXbYO
024gAeCSrGqf69NzbHr+Nc2WV7HaSyS1R0NLPxZXPLq1WhlCpsU+7nO5c1Y+o0xUBj4DE6k1h5rp
ofnqrD+FaU+Preb8Qt4nLtqqnnX5O7MwXLsIrlh4IvGQihW6Fu896rCwy1Ku2JGc+JSgbWisTYA4
0+ZIsFjYL3fzqFV3dq0zEV2682jk7g6RThqBRGRGlr9JxL4RlW96KGe6tg5ZyF5aFIKYsY9A2O5I
wZsw5dL9ugkhPfMPXiCzDwT5+LuRcOlkAjFW6f0DmjgEX1XTAEksznGq3Miv+pWd9vwBWvHZ508e
TBlKJ4UUWtq2HaS/y6xaouTY7Po+M9kLDC86dIE7fMVHtpUZ8r70V0Z4ITbfQexrQwe8gma0s0Q0
tmLfwehZ2g7Os+U8NUyjo276WpHERmmFQ7Oq60vfjcdpHNd7M+eN9m1qYUs+sf7B/eYRoYfoOFDS
y3ikpl+ZbJ3IJRYlAuVZ78HNhLpRcbG4xFctBaoHbKEhU3O04pW4ECyft4V7NeTGdJckKM2nHkX/
Dml6FzELuFtTnahCOzk7o4nSqu5D3WmTcwZBu6SmJQy4e2/H/tWS5X4pTd6OKh/3Xi/v3aTRKA+W
E2dqe+iz8XesUoOEqOKLRW5yZsZMagpxMo2aLGRzphat9pg9j65zRmYLY8zX02B1QT+8j2M9nEdL
/bHL/HssBW+MD25cziM5gfjWs/7Frxs7KhE8R36pf5eT+cSYtw7p5mZ6KReNd/7lIJ/eVx05YYeS
VBLmHCRJDMDHZJKuu25ikrFauTrbY/GryZkINWVDNHTBnJ9osjjM1pFXAFmVnpWH1smGi9stx8UA
ekzhZB+H2n8gSYvkHMZWjqsIRUxsG2/HYO8wgzBKgCptWJN7AIBahCY1oWWN602HPE4UpwhGotEO
sWLURAPKukcf81CShniI54XsD8Ixg64dD1KtzckcTDKDEE0SqaBHhvhD4pN2FNnz4hZsi/L5FXnf
39aCfdvZaJYs5iTZgOHcMZ8AJd1aF8F/t1bGboFxGzSLv9wtEtvOnej5YkeULLu05DuyM5MptcBI
Lqavee3vBjZrQTHhRhg0yr8aUS12MwhN2OoDp1yOA8vdQBrDY4w8gvLZC+2cDA6Gwi1+gItOSIAp
y6vblhYiXuM2Kvtfn5YFqofi3hk7n6FmQBqF2tdxSSr7YjOuYxMHneFjrq5djwqRnlJJ+tu0Z/Dl
0nSkRVczDYr3jN6GA2Tvfmdn9dV2y9ukXto6w0I6aYT5xezX7MpGx96s76Qepje7QvBhjCUFBe8n
LAG8ilHr5YKDAwHZKLXvRZivilTGPf03Li8cil7LgtfAjhAI/uvIa270kDFCYp4RHuuPNJbHpOTN
r1CaN6fcZLjXddp4ztttMEvc1cJsyBtKogSXz1Fv9fPo1Z8MY3TADUyLa2MB31HfIan7Zfu6ODYy
/zBFAxtmnL+UXVc75r+8Bf34Otaac/Xyg+A1zOHHRPU8ekyP14sPSBndSfrGpNEE1AgahcAzVJWM
5w8A7/6lS0cuQxt1xlxcYh01wli4Ld+jdnH1Tr1ppTzqrRXvJk0Ri25lvC747zgkn9BZaTttTD4n
fbKOYKxxKHK/7moQGmz3dAbaNQE8pf5Y2Cre9wXweX8pPzIoGyZUCLXQuSjC3pIYgGDu8ix2tfGQ
j3UZ9V09Rovob9qQ3o9a82eLAqKPo4r0bDSC1fJ3inWMhRVX6MJK6y11h5yQ9JplTGJK8xDb2Frb
OZ92BZbYcLRJkuznQEilTpVAO4bB8rl0q2WvTeINcucCsgR2e0epXNDl0ugwJBmnN6n171pZF4FY
hcK4xQhwKqvnROM1VcZ8q41z28PZWW2MIMpEy+eIv/0KBg2/6aMXoxqScPpn6YOMIFiHkFImdORt
c4a2NIGGrMZI1jXUFT17UyK7LEWpjraZUfDlmsEZt027C5U9eJkFyRpF0sB2/BJL+25wR51PjUwq
EIYFM59us/PLhOaXtMq1iT8JwVGEdvL+WrGWnefVeZoaoPaVRSahajHR5Mb6ZDbZgySTnAc+fyy8
6XlwmcONy+uixvYZ3+mePJ53nAzNFU3pq4ODajbi21zHt0rOJN6gLXK6+Jn1Bo2f+ZnNzN9JkAuE
+uz6lPlUbNTX8bcydJp5XKRlSoieNyQkhHnLHLhZX1wbRWb5oIo8BAHD9Uq3y3m9fHexAes6F9cR
dTahPx+GvzA77/mFVQ7ITRnx31pm/WXK+aT8FRpLIdkaZHpdXslcKP77Bx9xMLDyiZIlXg9jlfxp
vHyr+dK/Ag/6wcpSsndAJ2tgpZE6UCPXHTtIubVzrDInWx7XtuebL6pDIej5kQIChf2SAu2etLnk
iVlxY/3BMfWa+EfzIx+/Z4YAwZToxq0fFy5TN7UDxMZfs1D/MlI2ErEgOq3/LglBfcbE4LO0nN+5
T8NdGISJC9oHVYqPOhVE3TfxyehYM9l1wlSROWy7UAUW+aEh1OWAT9HkbYKbh2QjyiYrPZqILXAs
5RGyVgLKVudFKhMVtEc7ntR6qBJGwInK92KcSZsVk06wLqXUiglXRxUQrAQOL7ykk8U9h55GC7HE
mx59MaJs71ggF2pXkhJ6Kb4Htg2+Ib5mWstg1fuIAr68H5mRsq5Q1PhrclKtzqgLMRAtl0h3TKqY
0s9cGFKQeTbbiNDrVyGSV4vkkWvevcEHxf5kKvz0qvoVa+uWBifo9kYTvb1n0Ny349nV8+8hjctz
1dSfdHavJFBkJySzQA9U/9T7XneQDLIz3bB2YvaYT1oMhtTnYsHy1jnR7XL+BUD+2zG/U3v4y2du
hG7OODzPyGlt0TKbM+F1XHUyxCl38An0eyytmgiodZ+NwELW9sBKCWpn7yURf9AP22V5IWz/zee4
ktnWbiPRMrV/+YwGZ2jPOHdGzoFtpeD0pLWxXPRahsw2GG+k00ukZh48nSZMZxqY2qO1dx1qJI7K
EspX0VmkYFEWWCV2y5Xh0J4e9yNeBjhxw0dWJ3OEOpARiA10LJ7prynvAOslubdn/8tNAwQI0kcE
37QJe5tgw1rFLBM161rkEx9tZ2Zh1qeh5TEkUbDzAz+1nldflWfPmN9G0nCipGjOzNPKsKsQcXSK
6bnr7Pt4cW6S5daFUU+oEGtFhmGglOsPuj61N0hcbMfGcCX1J3RLFGQdPPidMjhr7LT8lZEgRJZi
fEZsETh6ye5trkEE2Riy4vS40sRvIZB8KyPdag6jwVcEhhTkhZIPOpw0yVPfN1xIWsaQwBcOgzAW
uTt3aohgZFRATTTvBjO9Ffh8IqG+TOFbm4KuwvFkFGHSMIR32oVOyEifOsc8sNmN96rDuTBQMmZ6
RW6c1x8IObZ3hVmw+bffSGcDpofOWwiEzVgmT+w98E2smxPVea6l1exsrzzBtcISuYPs1+1ABn6P
aOL96T2mu/B1tzoZlfNspo2PFMNgqErx0cfYs1kWtF8dLf6S/R50OUWdt0i2uDyICceJrihOlYec
Q5uWHZjLqEotLgAoCUFsoO+PsdTHNvN516MuBV1PZbYaQCUmwvhQWQwbJIT/HKcBmzQVFOzldmCN
GAsM5OsVHh1bv4hHJiMo7ZyExnl8q5BPNnZcPMmmPE72MEZEDVD5tN5pZgBAI+9TqgHD4kgrDmP5
0a48lcQMvSe2qMj6ZDa4jVGId8LZMZEY2OeeYEOK/ao1dQZ6zQ0oDpYIeLChR14AzW4XunDAQj73
k0fYGjZLRTzcWl1Vv0XvER02SsihA63UrqmYtDEHTOei3HlwXaKl4f/JdfkMMJDYnHf2k4bX15fc
sd58VztEBns6g/IBZUuWrzhJh/lPFZfz0a/Gdmc1bPN76w3hBZpNdyxuDG8gbYiGl6zqmt3AYo6Y
jyScHFmHvl3/yXGg651HMtO0gJdC0zpmfPnetjVCIVDf0JGHnVg6fnVRM7XDy08jnfCT9uPoZ2/T
pk+2vMfV1BpMcAfUUY9k7MaPTinYZJfrzSm8az+TpKTbzcWxtQ0I1v0r/Wnd4U7mhXLX6lJBtKmS
mpGwr30mgE4PHXClwMcWjCuS0bPK1oudxE+6CZqPPBp26p1G/e9mTIPiDZVoUEC0MeRTnyJCd8/s
NRvifkWw+sV4mqC52CkzNJl4iJlXsgXd6muGFxDF0N5phPQeum4WVFrMXBPLSYXU/bBQA9vUyfAm
JF5LeDWDMr3rGLfsLlyeIlu+IMC5GE7ihMTH+riTlXtsQITx3HjnZew3UMsS+Hnz2HapE2o1pXYy
mB+OiYU8f/JGTdtT4th7TrlAKgi4o9DDeW7X/SaBI+jiF/dxc8ImBYGhE6zpfHlZORHEQBFMTMt8
yrLioJblm1auDFaHp5buRNP6+UoA1gUbrxN1aoksSQ+iFBGpFXfwgCvqvCjjzu8JaiP36kV0zk0I
b72TExSnxJ8Kwob7E3EpING1pdpRmIAbYu6RDOJpTDtIGa1d7FEGDDvbvXRWugQoDCMCvq0z3kVe
hbmII2+aj5aavvSxQojZNg0aJueekSP1JjODsJqNMGKfvV5XFm1rUYk9ZTDaCYgqg5OLIxFytf4x
4Qh6jjeLyFx8EVhe3QM+u5PFn7mcHhhVqGvrMEICco9Jai6x2DDUQXxzbgBn7zvbtbakj9852Bs2
hu8TSEwktkQQY2FivmE6/1io2Qw80nvLnuODM4gEWg3Bx7l/K/LqZpCPg4JT10J0zY8Jxp8sz+TF
qpiVknH3qiZ95y2gVupBfY9ZX+2RhhASOfOX6t/hzqBIEeiplfyoCzY9PWf06vAIZyVNug++OeFd
OnabqtFZBYIFhtVj30Rmt7z0nu7QS1CXFDV9QEwyVYqJwaxs1DiqZ5SIgStJ7AbW4PoSJylwXpCK
8GcJVAN32zKR9LDsWAnjGRR7+wkjPDdQRvuc4CAov63ad3couT60phmIbSROEIwVDXHygnMWZXlZ
Wtz4uMV1FeHykkDyJ9ux9wnyVC9l0WC45GTaGYaB2DuzeNuXm3h/YdExpNOj0ZB8RWwHwpHEd8+i
eZIgYlwCVl1EaGgvPvyCZFxv7Sy8i3pYK5TpujA2JXB+zamoPEfsxfyvJFQqNMdnArxZCPM4z52k
qdJF8liQv5is96WWLwdGcVcd4UtgEMwXZghi91X/1Hokd1GjZ8ScOWeszISiwVGLSRc+Noa9x5Pi
HK01iVjQWKGodAYAYons7e52xkpdPZ1uf3a0qMnBc5Pj3KInnKDJECtDmJDmFmE6u0FD08vmDImH
+oJxuBlkhybyF3wtFJwHXHCkwLTWkp2zcgBTwwbZU2u5d88QefpLZ+uvBmNGyJYkv01Ugwrv2BUn
26tPKihXn7knNgfelsG8WarmcR7UbZImcnbKh5YhFBLg9FbFqR8mdO3wGxhjzPdDDTBV20wkDPTJ
QiT98Kgp40OtOyN7nhi+J/xmJt/M9JvKADZLs0JmeVDOmrpLmDmeZ719Ekl1UDhJOfCkf5mbgZCu
gfZUtANWavedcrpDfXLtCjwbxHvDRwBRfOuQtgZyUXdaO9rnxLJwZjvDrcX7tnfzB1N7MOwU2qPO
nE30Hpl8qAsIjU1oGD0dixswYHtuCeldPH//w7kg6QWplkyTB0y+xGk2DSo/HwLFZuyDFMTXgSoO
aRJ8nZkHTswrqN4UFFljJ8P9D46L5DLurpLdJxM8n7AvxvO5c3E1oTGI0WiAoP+JznWOnqiSoLZd
daB5QmXpIuWsWPYzdHn50YUaNUcXJCHrAP4cXUrqX1KU9LsEhTgLfEZ6P7+M6rC4oAL2gh9/9za7
2njLhNbxGK49jroM6TNatV/IkwDQgnftMU8xFIQhz6dIZUb4FKaqnPPZT14a6W2Vi/qaQQxZmnfQ
qXMfubf6RzTYJkO2lPuSmOHdzwch7ImR64oUEOkrnEgE6wWyZmecb0XmRSsCqZNE8fqrr7HZra1F
XhvUiibGZpmk0A1SpLy/AKjQD6z6k1L1kz+CNDM1tfv5LxvET9NB9eoaN7nHzVFgy1Rp/aL8T9TM
FJ5z0x9+qAPUzVkI8MSOiMaUBv4fqmbWM50v3mRDxjAhWViuc1JOfr4xJ2vmM0T+B3ueluuPJBVW
ibX7QclNSCAI8RDJHq9jBSxpYPCNzvcemIR1j51dhjFUFqxCS4bS0UBPqczc3Jmd/ec//FplDdaL
Q8m8jXKpdKjmcRZjLmNYSnTs5uN3GWqQwbH/8fj+/KNeGfKkgzgYo3xY2aU8z/6hn1k6T3mtHaFu
n3RCSJ4alsA7girYYWrYgp3avf38/rFEIuAL99We8Swm6JCEVh5cahzFiD36Ice4C0yjqZlhtQMs
+vnbKnuNYZo0/GfMGfPhovJfmDkhhaUFItMfqhu5lyt+H0wxjHUTalKCGXPGX0fqqe+6oYaA6cFV
1qjlkGjkWiSenV8nVb5MfTthYvV7HHYYcQoXkx8vj+AC6zHNye6FM/Ld6nX9ZM+IqJCB+C99fZKb
zW4Env2TjVIR7RIVYxJTIIFiZ0jTBm3lLoini5uh93NoYX4ggdEFT7vM8S4bOB8n9HCaIr1rLgVO
N+a7IyirpeJWKjEKh4ZRf28EkAvBwvkTBhy4EeuSoxFN5xtg8UPat9kdKkXUpyk8fofEuqfJ8vZL
bsA5Wt1n48dE2Vfdfc2Peokqt4lriD7munN1W36NMTNi1ArpY23MApkVX13usG6Zs2H9PedUfNX0
UKeq/bVAp+JDmpNbUf9mLDzdpg2YX5p1jAx2fJgn910XFh3MOLfVbvyPIdIb1bWNl+Uh7yiz5Zpg
uqmWC3b3/lFaFIs/9CQjdUakeg3K2rJK9laN2Iqjx7lU61+Nfx8tuCUx6PJ0IeF4diEBhGnqN69m
04RxTB6caRaEt+kVF9KgXMgy+WZxx6eKxo41ttV6R01LkMxum25zc8aoaVoeYPGzzsBX/4OHyRRy
KifNb0aZK2NX/RBZuH2zC3I1eTXZLOwy8GOhHPRPpk3VeUnFTPhK++sHsO4uGcjHUlh3Mu5W7i73
QbNrzgFhlJell7u4ZnizLCnyxz63MIZNBiNTpTMNf5fjTP+Yj3BpYAFNKBODDOzYviwBMeODOxcu
sQ4NOYx7ywAInVip3FmJn5/tmpJ44AB+EOyLNw/0z4eKNCFq23zlL+gi+cTX8GNLlCmMA8G8eUd8
u3b0lkkdUeJWtMmbUtCqlmvPrCrdYF0JpCxDuPfTZtYFTZ7uY4HbeXI1M9LLlEZ7+0ritMewXjCV
59fhDWFxe6dpqb+vNzwmVhBiXNtbjVN8P8qYTfIynRvLNoIfVi+FnR/U01Q/abl093WPLu//f3ei
61/gDtx7ObL2oHkuj6UgvpvWtsD2ns2NPFhMIaO5McDBAwO/41/sC7+7/OCqu82lUWcMbKr6lOn2
a5MO+x88l7RQ2P8Q6eaqQhkxrNu5kT7PtSkDHwrOz4GIoRL0RV3unZ58xbal/SGWgia58ZhZYfCc
5uQ/lFpTRV2l9OvPZdtk1h97TBUkj3y6Dts/CENXV2jcxjHv71mNXLmkt/P9//5Ree+u2ej37dQ8
TcwSqJf4KcuJ/7QTSKGfH60irynep3E/HukIlt8i9iRu6wE5QstDYC+WeNLqPuoGqT7qgRoXMaG4
JU2VXdEw8BOKgYaNaI2653UwkCB48/LbNkl7TP1T7Y7xbk0qQtBHl1Wto9FZSMdgKLFFtJTqj4o9
8Z653VXpv+cuzr4h2qDjMBhR/0cNItwcnlr8negpZgsHBwDpNq+aBkMcKco7M17ldrhqujnZGwUq
AAup4Q9DZkAgEBhM1oXTjRve0fxlL8ZrUVXiJrPXn4M2jv0Sklr/25W5vuNM8e/nNuYPUScP0BTt
JxOMxVRYEYRdLn3CBW+Iyh5h0muhJRL+chu9UzPijwkLyBnHY3ysQfpFP+gEQgMf5s3kludLe1o0
N/1VL/4TOYz+3dIZ2S/CTZmyuTlA9+0nxeaHs7nRh7mjVF85uAdbyy8eavNbMxctszdc/WsPvFlT
4Ebb2EBR6xKbMpRyPkz5VDz2LYdxbzHRXbjpTvliP/3HRssnCABJsuFVygMSEWjcMSOCrFP3mcQq
rxnoDbbcjZUk4/8u/M5TPsp2llUY/bSBP8osdFzRxv6/Lwe/VENTzHe9K4BMlLWLaxs0ZF+Pv3KG
jqjcZu0ypzhW0P7218SCJZkVt5/zREvqGRqda+FYAUGoUYUEFS/K8QfQvi7+emJOQeMwsmJ0iy77
Amfw6HJiXTtMg4E+SO+k60UXTZMLHQXbeZQ0cr515b+fCqfiXqN9hftkToO7L0qjuPx3vzeFuzwQ
nf6qLNtnfstplFoYAxF8dJHIjaeW9J07z8ytp5zd6+q0RJHo1kJZmpgMa8aT40u2NYOI8TIsLrPH
JT7xUMrd6MflLsNgErI8Pusoqu6HuGEvvgHP2SV5j//9ERAVauh9VHsUbtK+LYgDN7EdWJe+bc9a
vmWqoHI9O6n1GmtxeTAy9o5oA2DiwRVqUdof/V7mR65YBk/AjPgst99E1MoDyTFbyELz6GgY0aoi
RljC8Y+PGC2VrP5Y0AiGfmxeEqnfkAA6zIAcfkQBv9Nwxr/UE72VllvY3Nr+mjt1d4/rjZ6B14Gz
ZPmNxxsO2/Z3cnFVjUqjWcPuvmdaYFzbxgmn/zF3JsuRI1mW/ZWUXBeyAQUUwyJrYbDZaEbjTPcN
xMlwYp4V4z/VV/SP9YF5iVSUZ7WE9K5FQihO9yBpNACq+t6791yhN3c3bkxHVOwvo9wvJJkpEn1l
DWHuE8RJ96TFriQkwb1ZRTRNRKAoIwEeq80N8psyETKVaT30YQW2IJcHZD6XJIsq/4aRMfrEuoY9
Ob0BSj+07l8ARXg6+MMgI/KfAzAVjby/vRSDJnu16/GtsawG2ibqMObSTkJ91urTty5idpu37T0u
HPnkDS+QDnZzlkQ/wqzs/dQy6E/GtrdNdeYp8Gt2N0xq18fkRqfmtewI3XOW2AEDf2SNARsYKuGZ
Oc7fW8mCfabHAFoyN3dG53ADGN9WfRlxVq5D52CgRMJLGYPiqWEegwsE8NhynLzVbVUvhI9YAuH4
Uqkhpgo3bRaXuyU4AvND/KWD9CvR/2/HnCMtGj9zjwsZZfsC3u+DwTokQ48fyrGRH9Zq3PQ2w+j+
xh0wkuwwpFAU0ZzFm9byEuoSjsj24jWGNMBAox4/Wh1RS5EKn9AkonCKAMrJrz9qOEPovzRro6zl
q+kSCuMlsdyjcJCvvRsxdxXF96J10rsChBWrUVeuusI218aCwJQYlk5BXH+OFt6nG21yatCx6JOC
/1u6ztPUKm/dNF/kMmJJFRkfKsGYEEStT+txYIjTo6XF6Ld1cys5aEHwLCEO3TesPfXCwEKOyv/a
03cpB937lULF+8MRHTFIjGk9caS1nTghItfipDMEKIluJUHlOvqByBFtVkhMh9F4LAJCzIe0/qjq
iSjhhcshwWmuGrac21p5WzVZPauiE4yET2DUSp9CkPS3AcqUW9I4uL2qzIhOiHrDtaoAZUsHVtKg
mR6sK7HXjfCrp228zaac4eot2We4Q4iS7z3kPLvJs0lHVvFzru440Vfvyso5/zR2/AwQxPm17ljc
AMtXqsXqEc9hu3VLEtB5bJ1t47bFsdIKHifbfLLAodSKXCwnaj5xZd4ZOrPyGCP3/RC4X5jOBI04
+6uAVHht7f5tjq1uC4WR1kBgBc8lMZ99ZO9mhCw+yujuvlTafgSjBwCcSSizI5yeWQz3OqQgy6MA
qXYHSm45wGuKOJLbohLqLruFVGse3fkSiplBIivZ4HB399G0K2oOVZON6VlGdHyLwj70CGTuLG/8
HhJ4d3Lk7J5YI1MIMMy8MtbYp4r1LMjn4bkVFKluZr2ybCV/xFn3YOW5izYkPDJZm9YVXf39VBnN
xeW2XaUNo7Ox7Jz1bbdfhty02aa722ue1FPhjtXVaGp60wbnglvKiQn7/jAr/XDbzORin24snceY
1DJBTMuSQXL726kOv5EW04N39AbeEMfdxGHzWBqD4Cq73lFmw4OViX29xFrVlXhoBw0TgN0fY7Eg
EeY7kCXdBvVp/jwF0wwoghNURvknF7gIhCOTyWKPTxni4qMBnfXIA4Muau44oxPHvZV63zz81z+k
WSD3JKrRlqyja7C0FKYs+EIuJrcYrj9pr5rbZihlRq4JTEqJU9d3ctc9UlL+6JHbMBpn7dLMlKiq
KkDtt5wqosI92jHYhcFwHswiecIPp+DNhO5iFmM5ae1oTVo0YzCMrTSQ+8YvdILrx5ZMOdKPz52H
vKh20+qqQkaygk1D+WPVmmvcn+9oK0FMY9n2pVl/zQgQDhnaQPat0KWSA+KxkMBzT2P6S1bVYU6w
RrI/hjtJPMC5KnqOOUwzsCRASq+CCLncuNXLcdprNRFvC6vtPmry+19IYml52y5KCVkDBLsU0GlD
axDOD0qmJfgH2k60uBUorEFdMVVJyFCq6xc7nRKacHRENCM58sZAo+jwst7+agq6Fwmdxpe5QT6X
Q4XcevH3ui92WZ69dYw4L1orv6c2fcEqYd0vjCe0gcOL7AHEld1CFL0tJLSsL7miK6yX0n5OE/0c
R3D9VSGhgOdDfvg3jrAiHEYkmLbx5AaP0cjM6WLLj9mlWeOnSO7IBMcwWzdsPtc0uHjui6G9OOK1
MV9b6xmFyqoR9srBeW+ZiKo58whTW7PekiLjHwtjT0iwCWJF7VSxd9W6a2s869+n9qHtHpZG77/p
IiocWk2Sk4V1X0pc7lp2NAiVoM8bvo6hpO8xr2tOXCM+xhj+KOLt+gvKUDzHB4Q1e5rd33VvEcw2
ZAC0E7DN2l1FJm2OgZCl2mxfyZpkDhphHkScfm2V9YRuc4M7i50nEU/D6H1Uwt4UJVyhuaw0Pw3l
ta3UnQAkQg+fV2El+wyvaFj2oPEcma+YXH6iUHohm5Cru+QhuYU8mE6ygHYs9Lrp8Bh1auXpbPlJ
0DxRVMI+YmqMO1p55XOL4wIcWYp/RNF0mTYaVm3kzkOQ4mqPyCmClGq4TDZrkwnWTC6ClRub0EDU
jnJTM3VSxlwuHymi+6L5iyxV8XtsrdClaeikrxPwbBvG77G1RVNXnhqTmq52uR5od12m5UPqXtOW
435tTRXDKz44RsUH2/nPT29/FyqSL3UPGUyDDv5M9/ZohjWQA63ISHQwdaxHUpoPvz5UnG7LgbLn
73/7X/9+y/4Of5bXX6TZ9pZk/VlWUxPTLPzt039/LnP++z0v/L8li/9f88f/f0wVXyJteQ/4BXgL
/iVV/Prjf/9H+7P92+oHabv/LVx8+bpf4eLOP4RwYD7aukQc6no6/zL8bNU//27+w7SFJBdY6MLA
UyNJBylI84v++Xdp/gMptK7zhZZ0mB+B8l2iqZd/0v/hSBMKjWG6hmty9/6/hIvLJWHkT8xgnXhi
y3YZtwubm8/Uf8uvNdy5HUHVoJ7vTRLC9IKTc6Yz1Md/W3sZOr3O2xeTBfwRjciKw6valKgyDrAl
eFTyn33elbCmWybobupg0GBbtvV+h+wZREUGcb8Mq2AzOZrr1w2kg7ZnuQp2BvvNYWhqWtCLa6Nt
MshmQPPRx6XkGp9Y4lm8JGFri4JXMwxtx2GI1IQ2vlock8+UCNugdNCagXo5JqOr7pg9M8hp9NOc
BeXOCUlxmZVonm05wPj3mlUiM+c4JqRCDLGM9ouYx6t0XJASAzeonb8K5Pkf3l3JNZLeMvbD2LkE
9vwpcYYKljXPbbBGhNU1yw2NNQ/j7FjWlLwQPiyPDJAayqNLSWSp5F3IDg9TqxDwZgwZ2sT84RkZ
gNLhdXSK8S9en/1b/sxy9eUSXMxzL0yh679FJpPEC7towOk9eG+yJgYykuF90BgW8LHwqMKwWLke
CmmZKAvZDSdx8rGs3WyHT51b3SHiaNeAt4IjbqfyJN+1uHlgHxF3mZuNqxCgGY289ynGca2c5XqT
QrKrqvS7XbV4BlP7/nYH5D1j9Xoutp0aeyLuqm96pB9Gp0LNqur8OHdXIIXg7slEHQeEYxoa8lPf
GHtlwldiUNhfUDqa+OX7bdjb2ZO0I8OPKpQ7clIPszWD/aziL6tX2oXk6cGPEvMcOA5MxQGwMYEJ
5Fv0eyNAaRrNGPgQhM9bORB/fLtBinzu/yKQ2Vlw3L89erYnXGFS4piWsJaL86ebowgdHUBGvZgW
yZOTwVOVInCyQ+NaTvl46g2PEM6WQtPQ560TRNo2ZMaOdvOVZqi1BYtcASrKc4g0CTBTIhB8AxPV
gR7jm+cgvWnL2NgyQIsw6VwG10tsjFwhAnEHWrrZAvJstIa5bNpj1jFMnHHqj5BIrl3ZzQaYMyan
Whw7PvSDXa4CHxZacdWle7DjqTl4cVFelOVNhyBA5Dh1OMunjIEZ5sj0BhjioYYP24Si3nlN9zMa
4+RcCis+p3P4Ddw31PdSfYZe0f6KnbgFtNhhS9OgHuNdVphAXth/2YzDA8WX2DctGZltzracZc5L
hGN9b3vjIltG7dYZuIKYjsR/caG4IP9ypWzX9gzbk65gFf99bx5Mq88MRaOAGfOwxdHmA7jjHK+S
axeZnMrA/1h9/+aF5JdNBmgMMBgoPd2zS5NmA/Z2JlwDX5k+TNPWUh/Cq3c0baoLGaPIIkTfbMq5
oRcEC3UTaqY6cZkTDFUZWpmsXQgLuJYbT2sOiKENBGEl5mRP194zvUbAO5onlHoAuiWZzG6cDLsY
ZtIpSLVn12qp8tMWiyYZD3XdMPv2kKfTCd0kkN59xtfk1kLo2KTpiIKofIaBsbdwv9AG3rQLHH6W
tDLztNkLoi1OwNltwyt2eZleSid9Tz2mj67eofOVaq8sqtYK2yeMPoMCfhxXQW4jJSiMz0lv3LXl
9B+lRNzTBPOA2QyTcBFc2ryicK+sT1NSzqPQ69E7tSFihPAhKNEzJToqoYUfQYtz3XnEZ6etbGhA
oqLxeqCDhlTDKhomj3oOlXluMzFuW+WuK63VaFe03qbvktx3MjVe5/TMTT5uZRPuXfooj7MyH8vS
/Agj7TmN+JfQ1t4cCwk3PwGi1JRn+7Ql88/SaVlC3EgOvV5XizTuW0xexklW9tZrmXKlWlyjSTJA
Job8TKYR7VGi2UsFOtg6Hn9Sq3lrOAY8uEAXUMyvby/Tg/R4l+bfZhFAdFPuT73CEtc1zq7DrnQU
NUZip8fp3xvvYA8AIIo6Ysa1ZiaBLl8O+nmChHw0MQnMWoevZ3iyW+0ez/O+Y1r9FNrhNtt5RdF9
o+FVHTCUAZuhN2jm2Wmoltqn9KpdTk9SV1XhK2Jz/chS+Pl07blU0uTUaGfbrKeDFMa9flkAP1AQ
iLNxDOiTGOAsRvQrmoUxQskFnBkHf1AUgrWM9J1bg8RWJmwzBJzwNt493SCgkMFv7K16HTNM0h84
9IinTuInaD0nQvJZ/MABd3UzxuGtQB84gaGIbNGdimDPud+5r/pno2Mo1EbBO1X6J9GQ8VaZmPZ6
ezeOkqFnf8homm8UqqLaAaRhuh2OacDQpPKcCGuP9lOgrgwh4DZYxgY3oH5AGlSc4q+8JFaq97xX
y5FbUkXSPXihz87y3lKQGaFnJZT9x2L6kcSgdJjdPWttc8kIFfh1uv51svzPw/XfKLevBNup9p9/
/z1sUTfYpk2bsZpt48aGa/XbduH2puPQjPGDiOXE45dBx4JwyOBBjtSibmswNHSJWKSWWAMh2zHf
mrch9+q2je9Iy/lQQv5AQ3oRxGDjU5WIZ3Nx/tMR+H96oUvK4J/3teWFWhLvFRuUbdi/HypGE7LC
7OB80x8gZ9abVBTasyFYPinP8XcswzTc46uWQRdQB5IJy/4v3qzb3vnbayC00bRcy3KButi/Hbwq
m1QBTlqhT/5kTFqQ64Nom4/4CJhsYyc+FMp77uY6P6m01FHqDKwnjnfWmKgcuop+mqjDM/Mx42hZ
+kNWVO2Jgin3ov4OSy5yhHnHYbLHP9olqLQqsR1JFz5lZvhdYn68JBxU1xy4jbOJ+dsXoYdeLrQk
g6NeHqs6PMRNLh6dfOMpJ9uWFqlgMwxsdAsciZlH7T22OKTcd2OnfpJH0v1FwblUF79dJk6ljsPL
N1jMhfgtLFJHDyq0Du1f1NQHtbBmq8DaEfHXnnIEThenfAjS9KXom2J3+nV6gFXVrGUVpveFi2C0
pHxmIE9ksyYsGzhEAcezsejiLr/DZGNBNszwvghCzM45xIt0IayVhQfHJYq0I2417Xj7Exex3aGE
xtUn9eO0fOjVoB+rcaak6PUYRbhJd4R4blS22lFE2OcsJrsmJ8oVPmq1oZubLgoou3LuM+6xo2zj
jea5iwA+9nZD2N/bOBdvPbpZVX43IUD6izvf1f/lTTU47XPct6UgDkFfysA/n+mawXExzYGcU7P9
keM4Xs1Nvp0HrPhOWTyaBXrOnmpEmWSddL1CN58369pI3+oOuXsQORiT8jNuu3mGCFrnHB/gJ90Z
aeXu3DF6QB22H5P+1SEFlJlx9KNGTbKa3WfmR44Rey9WxPADgxZ9isyNfOU8zi7I3RSZAAiKbNjg
kM/AXLta5RyadLhPZwzUdid/2I3g0IW1BfCAgGKBFYpIK1KB+uQ4DZBIzAzIOFszeEKG/8r2jqUW
Zxt7l4zE38ESWdttjWdgIFaBpu1e6RYo+Jx9BazRFm7sqxXa92MeH/vcfDerxK8EhA4N94NF9EBa
WCenK7ZuQOcmsNEnEuz0GfWwjKwU+aPWGL5FNYVObKSUA+05cwWIl2b7oLtucKQVT5Ywd1OIbC8l
Zxz5IiIFDNKrvjL7Y67tGkcnZtJrv1q7o03UxYAlW2AvHqRZJsFMO4iVAskxcHmkjJGqt5MvMGfs
Oj16R5BPCVGsimrEt0TQB7Ah5BGEcmZrmEEU90jwhdkzBGDskQb9zaLmRzi68rzKLyUy8cgOjD2h
1jhV0nc1u38waPq0JETCsWY0W6rhNAavdgIFv8IYtw6DqyBVJheTvWsyr991cC8xXH/jRSKFtYR2
730yXAYtKfWrw3EropvGK+DyBfEYQ2Fj/ycY52if8b4nvgesYEOYMIYbeqJgwdZRjDHB6wwf2Yx3
NCPtACXVvsav2mR+75CtAfsazyhlkDe3BnupurAwPnIZPlhoM98CDgHWLLk6DbJFGGn5ZmTEGTB9
Q2xRG74dWPTsQGw+WG72UepFsAV7xfXLg2FtgN8JnIKMU7kLbWZETN8OBSQj6FB5dfYmdc40PVwR
5KOxUOsn3PuwDfLwfu7kwWkJwlEuEz48ek9kfDyXmdW8dc0MRLTyZyntFfr08LlO2kOZ4Y+M8772
dY0+cIq20c9y96zhIWYZbDFD5wR+zTAqu8c8yext2oHE8dDI+eZdHY349rJLrW0GT/6ENh5yXIm9
jdW736G5KkSgNbnhzK/xsByy0aEqgse6DqtXSSGI3zl5U2o0NxLuGQJs3fLnRgOF5VkngKIYBKb2
HBJTx6bVoPa1+GYDeXLFgJZS2FfittxHQE0V4kGxGSBiPkJYvcyUclCH/jDrIDsVEF2AfmMw4YDY
JCRzwhtCDGQzPQ+znRm6LexWSGN6PCBxn9e2wQjNNIyrgJwyrLw0W2anqOi6wen9Cm7ZMJTEolvJ
c1GZAFSXAFad5knKU4gPR9AxNtZtAnYkTbRgg9djM+TVl67RLSARQHArqgqvhbPBnlgd6hZdoidw
F3NEygBBj9PwPJY6UW2uwBMsqEtrcZxrwhKkFuZri8izeWifooSTcFadtAGABBL1DxTxJZkNLJPN
/NHPLip2zq84cRfu7fdoGnddg6ezIQoUqxCa1jFjoF1gJGIpRqfQ/kAtHu4qam0QdO+GNtV3blMR
ydOV67E2VnqKuY7gyGZlsQUhVVT1phmY9KctMqmuxLyR1xXIvTxWa0LDGZ06ctxqxLCtw6a8TGJx
D4xoUgcKxEh0r6YuNkwPtjMDnnOnJByxUHH2Zk5Opy/0U6LSWPpiwgYIC0apQmuiSYq9dRm3DJdq
H9t4KgBCaAKcztTM+EeRna3afksAjOdT0MPzVC4Jzz1BjxTsW8+dqmVO7y1XFW6t/YBrNl234/yD
FOkTGwVfVhK1PjQFY1AqDIbQkJTk4u7Sw4iHJpyPvWf7Y0xZhdoenEGZIl9pqBxsS1EWeShmqvMi
yyd5lt+29Z7sGWVrFHqvxhQpvw+bu2eqMgjy7jNJBfc9e9BKdALTBg4o8DPhA2gN3uORgsaRaC5G
7YymF96t0FFT00/k/dsgvKWtgQ0v611gVq18zuPkM8xGlnk5MSULNcAfMSWIwgiFtQjVRej6XhaW
67zSoyNs1i8b9QpU1iWIpC/z3XAcUFM/LmRYcOkalQHUHUpqAfu0bzAj5caua5nBw7o6uH2+M1UH
9V1/Z7Nfg9yzEPKMT0BKnnrDcNb6XFE/aUy5ZDfSARlqBh8RFUGkqOKrp1T0FnUD+yo2sHyf2uWr
XlMJVhw5jTcURAxPayrtpv+h+mOGc7Ch8YOSw4dJZXA8NC56mG6CRMuJo+n3MVmy204jjTJQOBPM
Sv/UCuy4eWc/G6ZOT0y47kUjoSwoynVJBDRxSTTNhmJK/BlOBDD2YucN4sEcvRcElvh9c9bDAyhA
aAM8N8QgEioW1oA8miWcD2bIut0RtHUKigkLL0bZw4yz0Ym0e5tocU63c3vsGxubiGx9YJpI1UW7
sh2temCQ/ocR82PqIWDUSAioV6AmSKJpgzZkBkZYfc8ZR/m22V4HLUt2nSu+NbRSwjS7BJgRfHui
P5eGUwbvDoEIFoJz79r1XpWRs5r04N37HHv3JwsACop++um4X2IWJNN4NHqVB8WQxM3tHJPYzECX
ttbsnUSQfzoZm3AWb8coATY3ofkaewylGYp0Mhbtj6AfY/wPOIYUVHPkymaxT8C2UgGnP3IosPjI
1dnF3dHPzdWzy2xD/CXbOMpFWrrmncORAcfzjubAzzLoSQW1FdS0SPVY18gPxjLLTTDBZhnKkwdy
kJXVHY59QJic0TT3USlPRCdjL6XqTNAzPbgNfJ0R5c5CTaa8mMl3T15d/XVExXrWF9MkdANFOmvk
J3NtnEo60ic7ATnK+HGKCc8slNqb7cicr0SBsp1h2oy099gy4hncekxXngW6wLQUuegYSod4jYIu
um7I6i63mOnKFlNc7xJWNTlMRrW26Pf1NLV7u5+ClTM91U2wKDLrA7ouZ9vd4mkXS2kkxrPR5ueE
JsBDZNZvHS6m+4Ww27XXec4/jKjdi7ltN3GLLac38hM9x2tnErk4JlXJk4iddrB80sxKv6n1V8Jq
OJl6IQl5be04IMcj4CoRliBhINKQ9jY2GtRPIbMF11EcWLPZ9t3FEp1nBp258NWkPbRyClLitan8
gkDRHC1zx7qu8xXz2wygpYKDyINGaIgTUTaWDCTzEQNjNNPnytx7bzDnU1fz5Cz5SCWUG1Ao4TUa
hurYx/Y+ycBcitogeNj1XmUT7Y14Du5YbtLTWLc8lXymO25wN2r4RtMx43w1lv2ptcZ4XWhYr7Z6
0MCGH3Pe02kxY47DI1vJh2FD9SzD2eOQX8X7ssIW1FbNd8TdyQkANRK/tp0YDsYph/fqLmlb3hMt
1KF76NxYRrAWjJ6ePRNoANoASDMY5PQFU0cQFJ0oxzrH46ZyHIiG0nuPcKycU9KAZO4hfcy2WGC/
9yLqn/G4PqTjQ+iYT0ZLEkZcxdtEc8lsrVtJcBDAD44baScdH1XIuBPKlSuGVd8Y2B8cy6y2cdxm
8B6tZz0t/tDnaGbxy36YdqT24TJSobq/RZGUYex3jkn2RjHG2z4t5QOqT0AmnMiGARQbwwYKm7HW
fF1KdRg2fIFgjA9mLKLcH4tLXbmTbzAjOXhpNW4iJ0R+gByrkzT74nYBGOoK6+2SoVKC398vGXpW
cmlczT6HiwiJRPP2nIfTdlbyTfcScYzx31WhjWJkEeUSknO8vQQ5yVdVRPaBSPItMxnCR6qNZWDo
SwtumdGMy5OaoPExzQVpVZKz2b2G3cQkpIxPw2RtR8P40rzyxStkD4IIDx50t/CO9GM4DrnIPnLY
zndpiwIlDix7K6sUUH7TntmXw00iYSYmePTuCXStd4DKmey0j1ZliwsqxEfb6vO9iEih/PUNvRlr
4H/l0eAc2nZd7QElEyiXe13sarN+UK5osG83zylZQas8rJ1TWLBuOrzru9vcYOrOVZZll4Q0xxZM
zSHMJszrmWYepqR8CzJ0rpXefcZ69ENmPxEWfC8CwtQ9L92nTRAegyWPWGksvNhjD2Qh3LfcaHeT
TjhNWbq6f8NC3z6kIoP4qcf19qYUkUp7yaBxrKMie74x2Qun0M451fXKSPR0Wy9+uyhbWpEtvVSM
raEv8R8iKKjegikvTsbIbJNfm9hmbfqQ5VAQOp8YVz3SNuxH5jpAlOYLzwberFBdqCDAGYDa5NLp
vbUDbJsAdmOtcThq7ehXMh1jKr9vsxRKAFhSjnH1s1Bkb4KdtzxKbj3j6jZQ/Meq2pYavhGiiNQm
jijdDA2CGZDsVRaiYHBzJmbCfizS6DmVurUpAG6tG9CqPs4/2Xkbc0Cmkc1au2Ol/NLRUilhdOsl
KgdvACdQqCWtYJeHJOfDhB92CPGJjbW75ybs17PdxicNihLxdQCtSrxQRHjG+yCxmlMTgq3AQmEC
3NRIm8kt47UMqD5xh45HqMgxCVltdxFZ8+qZQ3bN2rp9Hef9jMf9bfklCkEgPIyTteob53nuEZpM
1fhYL/OBTFaxb8J/3I6OxAZru+KuidRd3dM8SahzYITDwcH/223aJYcSD8lP3XwdIme8CzFswOyk
z+dtbj12gaCREycmANc2qvUQ8ems8vU4q0sCMsNP44g2vsKZgQsu2M1QezdzRtKUC63YNBBOOP28
6NKCfZVaYPIsCeFZczaOW7nomWzILGLdDN0jzxnG+zJCGxZOlYc0lOIf+dC5pWm6TueaBx9dvOmi
0J+5YSrdvmvK4UixV5wpZ6vYYln1BIxaVYy4mKKfja17dxZRrpDxXR4gE3prVXjDoXPqsyM170ro
eOt7roQxwAlFeZN+TtxMZ0d0CW506u4ceYJ6uoMLAneNU+KgvdUITw8JzMgzfdvVpJL83rQsqM8s
XjSr8J6mWKVzhGOrHov0ti2ndgsENTJ7P+ziS5jMX0MEN88mWX49BNFXJCIbZpS4GBkgUiMMDD90
QFjKArOY3vQjYAsL1rhJyCBPxmGOK/PFVOoOF39NXjLfv8w8/d2jPkgkiRkW8vdHzynZmU1BG00Y
+RYE/Z6wkGBXNTk+wQVik0lIeIR+/FCFQQ0Yclfben4xI3pBKYa2V/qq3TpI3PeGURV29bo7EFzn
7bKk1tdEV0JtmpNtBdvrDUIjhLLBjomdhG1bVFl69Xpw7gOIsiEk4b1FExan0/hsEqw6Svg5NSGk
hyoQLQ4cUbEVHS0Qbc96bVK2Tfo3kvoICmzSI4gdHIQA1YG5DQ9oJl6ZYBmbgbeXxdz50OLhWON7
3gUVfb18EahWDVx3r1ffwjAY/MrkCa/0nO/ioL6avAFoJYs8plHQbHIqXhxAq6j1+RHOAmHVBRJ0
5lFYHfvyNOsvVQcVQw5YgErjLQ/1x5RfwIsMk6Zg2K1i6cBvKJHMj57nO05Wri3D2molJs98bFAj
5OVmTpkcNrTUYzpj6FGZqlPiNd64K8aIYHJMT7rqjrc7Xi06/cgm9qFAR8hQoH+zgqK/S+scx5kE
fqZA76L1YsLa5E6CyZk+VzzhfiJWZOX2g9woWgBK9vFuQA+CObystor8YeYKdX9RWX0/1O6ASgpI
M6bgKPUOYmYX1J0GrNjyEI6Ac1Zck2inzbysEfY7c9PVlDrvw/J7IOPXD/OR+NdH1JEQvu2pvxpO
+dFN3ktYMfQcIpEt3+EuMjKNBuzS/KzJgzdRiAFuvlIxzsTW3REpSFIuRqbOBMvXlZ+9QxXVFXF0
AhsypNDKYe1BQU7k2sq1uyqdOelL4sVYaTACdepBoCGHVMTbhgnN5ZFR4aZkfGb3M/Nyz71zsxSm
kRl2l1CRw3IbN44uY9oQkhfdL2jxI6boqBinbZCPx4JUhhX+gmpvEeO9pkWdIYBd3rFgOAli4TZB
3/C/ItRb0/Oxti4pUQaNIhqPnaKh/1WUkXWQZA+vAhE1d5bD1alwE3a6cd96xDmUVrSd7BZzSYNx
d9QQzpOZtK5HUi8BLGlGRV63aXyjExewtSPo8OtKT6GhROF5QAy/YhAJ3qXO/GS5+2bnHb16c6+c
EKNI8VKIGEB2GVzsiScIDOGmoOl0GlAlLnmYQAjRvDM/HQYIAdzojVag9UOtN5ukEmA3uoYmSIDR
ZC4ck//6yNkyBTEZTOSanNmRqW9nwZCjEOMh1+dzMgO3TjrQYnrdW1tcrJyrrAe0tndM+xu81lDn
utHoNpKsy52lM7QkZyZqvMdE5wXE5kyYQWkc05rstbnpQ78XJJW4XXxWgyV2TmT+QYvBORDHc5wa
6uA5LmjJYLZl7OvSCKK5YGqk3QAUQFxacmjVvtfLTHu0itc4CrqVUQNOqMYg3XaLc1alEiMrdNVt
ucxEle4du6HxuL1AOGCmNlYRJLiuRIiVk+aQWlBUKeBJqA1YPIKMPLKh8j4t1c0nszortxKHqtc+
VWGjIlAvUxnaj7YevCBRqi8eiAGoi2AMp8SiOGoQzuBU3kYUWf6EmeMYk5f8oFDerxIXtU7DgqsF
9raPRoEWJXppF6B3CxwEz6jxTnrcDu4Uaeqp6Z6qcoTA59UvHDfsEIZqSStmI8dvZkukFuGEEPIk
PT9wLFCirnnFGWsYGgiMkzVsTS0lZnL5gA+RkN12MJihJ9w4Cd5UO3tvmVWeQUjZ8SkJ0nsDDBqp
DeiGhil4N4a0823XbWm7yc+Z9sWqHOBxQDvbxEw1V4SOy71HTAUzKs6HaB04zLiCIlN8tzpSFLp2
PmuR+RQHtthPMetwzG/qDLuCehW4jAlm3dNKmz4w9b/DvcKDgfRGlOSNE1HODvmUsk5wz3TuwRjM
6SL1+odFiNt6BuZDr8I45cEIt75s94FOOSoroVZqinIydpxxJ5W4AAHkJ2Ac8LNIEUs7k13AKuDD
i57fg1Q8NIGDHjtvTrqy1dUJmp9W00bfGhzGG9NsPJzJ6lOG5kSdm3wIHTIjegkiEZV3SZFJZKZL
m6r+lmrZKzUp+HMiiajJ4IXkeB1c7xSnwO+8AYbiaCMUAfzcboc8Im6HffbdNFnbLVN7y+X8PGWp
tTLkON0ZPQ2Rgp+Gis54fhqqsALH1R7MBo92MmrFupiXA3HcHxu6p+cctmDXZfu87F2/6e0Wu9BX
0CT5yyzmPzI8nXS7aVO4LmPokEjhFryFK6y9kfbcl5tCIaFBrQlYfYj6Y1HU/bHv4OwVrody2ftj
IiXzJDkJ/R/2zmQ5ciTdzq9yTetGG+AYHL6QFow5gozgTCY3MCaTiXlwTA7gbfQsejF9Ua2+utW3
r8zuRqaFalVWWSQjQQD+D+d8B+PIlN3FWB/3xtHPeumpED1it1rfvDl1KQEFTodiAZmAVwkMO0nm
M1LEO9dhqF5frSueb5ltgioRwCWvqzx4WhLYVDFUgDisIEtx3dcnLll1Be0Q6EWlG4WHfE7yfQjW
cNdO3Z6A9uk4Jd1LW0XjLiGZ8rS4T21AvYDDftjpuYlPpq5XvOF41gRL2+u6bKNTV0Bjkfpe9+GV
PQqTzBeXYpxf427aEJm6W5L+dRDpuV98xoNy2kiTP6YphrnWKypMpngnQ9gS0L1J5J5Xo/msGkoF
7XCOBEityTl9bJhkrUcDG7RPFSGUJPpdZ24ffQonOwIXw0KPcYycok2NvpvB38qp/EtEHOUo5YkE
zp8VN8fq+mGIfL5Rhcfp65Z8yoZwR1c9lW701PbBOmdk5U5ZfYV840gcqreykJdp8SacwT6exkQ1
ezEsAIIIs77Rtf0ye2n7JNzhPKA59K9Vbnc3YClbofbHhJrKfB9ZebwBaL4grUI4lQ1QoQDnb8tk
srZtNByGKbmlh4uAjgBsx67PyyfOj06/fAHZ5M4Bb7rqkvg8pox7Etu5b+PuozYMCpuAMBb52af+
e5UctMnJPJ8QE/R6nO90YJ/zlgjyTMjl0M1fccC2ISvrF2+kodKkdyoCHw9FSKRYz3aImmObVm64
Vijol2Ze9+LanoyvLddk8Cn5EHyv20k+lW30jsMs5GMp9uom/cKT8SQZDt3onLzdPoVsK5f72oYL
LAZgrG7tUmMxNpq6jFwBm3OZCXKy7Trc+9S92D0M70XIBPKB+e2qDd17S3MWUE1KKgyerSVsVk1c
hyt2tNQgNL2zYBLDXxCy2mqwQuT5Nxq6QlrHpwTV21/4l9rQxfg39N8/EAneexAxb+KAFWbt7AxI
qZFHV3Xnrkzvukcgggat04w3aTomcQKV/TjdFlaMiZKWehnnT5E7b2ntvXpFsm5CIldLcbCX3x75
N7mVPbvkgurYNqu/2B4TUl0GtNaxZJHHzLhpgifl1kdTZM8Zi0JR+Ochgjj0h4TgKm3/v6Kh5+f8
qzb/v+2+6/Nn+d39oxz//0Whve8ItBL/sdT+0BWf//Lr+1/uPqs/Ce3/9nV/k9pb3l9dOwxCG6m9
LwiL8sK/a+35o6u4HZsPC8nQEyJEufF3sb33V88JHVvxFkcIHwq+6u9ie++vtufyTfki2w8Cz/nP
iO2v4o//LUryPUm7pfA2B2jYfJvv+g/iEJf73O1jJjFxRa36FgKai6Gg+bxz/s21+ScarOu1+8cf
5dioBoTLpQj+nVhsEOSqy44fxQrl5FL1MNZ2aBOx7s71DtPWKa2zXWv6o5ri10x7T5AUON3xTRf+
yZF6b+KWdCz7OwcVCqjlbfGsvXYXusP8JJvsvkH4UHQ1Gx/r8f/84dGy/ZNP7yhX0CD56ImDf5Am
AY4zU1pgng71CO/Wci7I0a9E1hIID906gNkBzIV3wUL65WlNXES4KvL03l3SRyNOuine7Ma9tUx7
JpZqG1KNTQRKpyzsB4YmV7foCq3AHrDfwZccimbeFxaD/uaxkNmwcqCHZcJiEwYqqg2QddhzxeYJ
DWocJx+mYjts2WTMocA5GSfdylmdsiIj7wA4WBV8zNEf0XOPMxB9DPEn3ILMFX2xkQ1jIJaFDMWs
8a4xM35+XOezy6CkYFZEyiMBVwp0ZeF+JxXM485OTqzWQOk7353HoVijip6h2FVDfREarirr2xX7
93rdKvkp0WjdRFBrudHYumMAlFezBAVlZHfH3MZG4cY/iCNY0/CyIw70CZo9yRvxgbH0Nuuu+xOz
sUcoIw5xa2XCLm+MHoxVr3HgMgtenAPjJ8DI7NqluLXc7D5JsgcHhpCqCsiSbDtNsbneHNUMjK5m
FBXjeuD3DC4uJZ+hzYlkMdDLos/cbvZ9Snr0kDxHDL85RcSm7j5GO5GE99nfYQ0bmdFtnz22Ba58
NZFBM23QN+5KttNTKZ7giGNQL9aDbz3DeMFz2pMbrs+OPa0Z2+AoN3ya4KQhppkm+LzqqDiMHjWT
Ess5VG5OOnp6TwQ5OA1zFZHX8WOkNBpgc6G8dLlzLKjG4iOa1G3OqsB4zm08CQ+bdMWRv3Bgmx/o
cJGHUOBXrJicjCwRFHa0giMBZmWO7HRo7dXoOW/zyIZ5DCJ2s8Py008SpLnBI+NEw//YUkJB0YXr
kb7AKD1Hrj+RacANy+uFAI64wvJtT7uwH1jiASHFhCNSGBWk5ACIo4XqEDdkOGxSHKqrKBuLdQFm
Z+sTXMTSm+/Mu/MQZDUFTE+HrfsfcwfV2f91HeS1ENjIXXvqrNTbecubhhrLrWTIvdXzj6AP945C
oZFm9m5I82kbBAWcEaIpq+sTqmh3b7R2km2buUQaT+6tKKo3XJAn1TsfKG/slYobnJIwMsnUVPqM
Xm5Hys9pnBi/2731UIT1Wc7BRxQzm2WASk0/XcnpDIdEwUqmzjEaRu91wpWwTfMeeHpvC4XuJ9/1
ZXGH3hG6quAxr8LwiTHOawvUMCTSFR8z4KEfdRjdZ7K8DHN28lhF13IkSYmhQNmc/ZydmX8gn2QF
3/RzavLXNlEP8HpfYyht46D3PnnTqGjelavRYc3AHAkJq/toX9rWA5bs3wWoYnhWm5Cd+NCkr/MS
Pvoyvwc78hl4V4NVfxvdaBuHTJiHnz1RVamSFO7epyWIu62KY+eE3ygH9lPjf0oPSjpqqkTcZmV+
jzT719wOq0aKh4j5nxPbB+rIU4GHv/GLN908FH6wL8b81Qpltgp7omesD5QzT6ECmPYH5x/LfTXc
CbJbZOQcOp6/BXEIkSm7okFehhLzVI94Lrrikud6H0Td/TBfesMODFY/UjyRbHUfH+o43vZd+uKR
9xMvmOMN0fTGupemf+fF/jmwYkUR6ExybfFZUXnCHsnvyUpgyptfK7rHIGgPVmDdluREAjjqzmWZ
nSqg0FWZnRt3+XA8Yt/JBSA5da1l/DLW8TEER2LQ0PZkeFsqe+t+kszKwHsaEMxEDLgdSIwtgW+u
/131ZKwvLSJJ1RN2BP+P9LEVWJ1dutQr1luUySmqmCGciG1ozhgxz0CmTs0Ys6tGQzARqzWjQvn/
lV7Vp/38PDff//W/fNUDfcf8+B2n9Z8rNhct9n9c553Slp1B1/+P//7vv+pvVV5o46hUvgwcKBWu
QuH99yIvUH9FeY6ljdy3kDi+q4T+f9V4nssfBVIpJQLpSwqwf63xXPVX5M/SxZ3p4O+x3f9Ujfdn
AXCgeEYAU1DjMRdyBNa6P9d4MQB8uwhjva+EkbeoPnmJeQDjEsqKzb+5MP+kyMPm/Gdj0vWnSdxK
wpPUSSFX4x/kxrNV5TQmXrLv2haliUyXhbDmwtpFV7eU26ALBWzpWeepXwC0sXE/8Ej1GykdXHV2
kj6rWVfvRYOKdIiiTG7IwYiYs2vn0BfCuBxTQ3+XZXn7u4yzRl+xFjaCF002fAcTh8lCanUUhxls
DrBHjDdLSKeEebmvILYb1iVB6r1nS5d/dj7r+htfh/3D0EyItBz2qUfDjpP8grq4Pn6jFV1YGzs3
de3hunFGsUcCHm4HFsdsToH6Y0MRb5R93reTMh3qTFJtbXwOh8zuvUOSZwwWAmLjNksng4cykS6H
klg2rBS6t3Zk2e2ivdsoAQkclPlkZ3T2efHsJrJ+72q21cLS5YUOdSITQqj+Afn58jjjK9vWNS9R
WGAMZQdG5KTklQcL2TPVdZbY096tli5ZpQgJn1JVx98TIwvEm2BACWapnccsRBvDtraC/pahxfjs
B10dq0n4r4rB0Zq/ZfgLfej4bPcTm69Aqcvotc5zCJLtroPjwj6u9qq7Av3FHslkusmy0hziMa6O
vURV1DNpPRLs0rNznCvSqzoiZzDGmfQX2jQAQLHTbuMhkAAr4AXBC0/G7IaoTE7Cck52opPOCeVA
c8IEd5W21PF4ExEQRH5iJJx31Ypha/lEJTOL6LIHyELQgkI1bt1FoolOVeGgB6iW3ynmAMoEyAeM
GTHcM39GdG8b0b2HnWvtiNNGPaen8a3yr3GdmBD9rySAzNjkRh9cj50jVDl36Nm/5VQVbXaVPTTg
sQdbDozAaud346XzRqDtBNmMvJjjoUSap3Kn57eMEw6+gHUI5qp/7gcQRKFVN9O6BGO1wUtjn4tQ
4rsDTrPtK4mMu44y6Oc2o1EIVF24zXWms7VFyPCHoAQ+JR3ROis0ps57QNuFOavgCQlHwps6Jq7d
xkN9QyhiiPTjpgxL/YaZA3V/o9HG1hOTMoCA3t6oqUJMkHYUTMs0VHvbSuN1KkuP8QN3nS6q7G6Z
R/U+SwUvGYkpmLKyZ/iZmmtgeIPiMx6JrDYzdlVyV5qnJa/wcIfhOL+lujENcD3L2BBLUVUEtZde
f71AxMZ+JCG4st89DxGOpQS8aeUJ8wF6MgI9QhkvUYCeWOigbaura8yML8pN4pekhbK8YlY3IwAL
Rgt3iB4Abnk2uzA0O4Q3A4aqyHk4o63HjzrVeOG6qt/z3+xbERCZpUTpvxeQDnckJIh9rXvvTo6z
PAQc+jtsTekOBluyM5CB7pNyMN/xdUQEHlHdTcZfNr5R9UPiWPq1sxZzsjraFNTWudhN5CSfr6ZJ
HOvw9yfq8gQwv6MfEElOb7Pvozefmf+9UNxz+3dRUO3BSKARsicMP8QDg/gPryGrPkbu3/aozG3Y
QWcsimA6RcPkHXN4Szu3yd+y3gCg4e30UsHvZvIVs7PKnDHcoCHOuKTgisCbRv02jAmwTBCDELhg
uS/0qCDsLDxyHfKl89yI5rYmSYaczpzW0i2ifWiXQF9ZPvvss114mE051h/hwO4+yK84c88O1drK
x2jtNCK5V200300gx18T4jChjqSSKz7ULy5n4XEsaue2r0dUYVeb+i9ERGR4cwMwYoV4QfQH4cqW
fJWsUcnBrAcEG55C9CrCU3TNk5w4SbYe6LiKBG5UEgPmuODG6oLsEHppyAw4Y/yIBV/eI0n2P9gb
qnMWRVd1Zlfg1M5GSualIlx+ZkB+M7SO9Z6mkdrYLem8Ny709wvb8m6VJwb2dwM17qNhD0rUXYrw
xZLztCVvddyAIfMPI+vhB7wd3VERPkS0t4qPHpxVoB11tSNxSX2z0AXJnpU0c7aDdwFnU7AnVCrY
WnHbfKVD3bIm8919wMsuZe80hRieeNwJX5M/VTwt0DzDHWsKd50FuEuZAXqPsU/PFg3gLzJrcS7Z
EIhHbjJ1B7mGZK/O0pwkAmH5KoeGTtHY4+XuIwemP9zn/uhjw700Ys5YlprsO7NV8LJ4lf7wPKxo
CBxidFyddhmBjrRkRwAr/pvVsDMFEWkRGIgRYDP0aYDlGxmoqrPkfqwW8vh8UtnIoIEN/4W/RD3y
/iQCvCKoc8MTWZ09ekQ6zXSeD0M2tA9x1OCZQtSriJwbaNwCBPlULPVvNDXxBqdNjzKoEGJd8Fxv
eXkNPHIuW6Ugpl8c7bjZFokXHYXK/T2bj/I1HJB7QgMtoTEsEhoUVu/uMk+ps8Px5Z8TttVbHS8/
2qIE5tDDjnzoC4g/SWONn5Um3ESUhTjoqR/2pXHddSG7DlBPHpN5RIrhhmUGTBhyD+5UkQW03H9I
QwLf3rnLpN9Sr0AcXl7HM0y+4OdFzTFzXLNbyLx7D11r2Fuswl9iXYFHBE35Koo+vRDvrU6aVMNV
a9nRm81JgwTfZdKTKQjfY98zyC47a2P5RHr2BOjA+BVTDZBWh+EzYdPhj94zOVMHZub2XFNaJbZ/
paONBYHWhT29pORrXB1FkmT7AZXMVZNH/GvlQMdCat5kaK+hJgSI1DZoNoy8grLMXgUTGlHfLXfx
rDQ2jUTKI0ClAA9/Pnfsv70cuzMxUsue5DjkcZOAnHMVH4/XzItAcn5mmlzyLeAD/5I6IVobhayy
zcx0X1j5cFOwqthapHTdVKPIXwMV3/fsiAH2SP2rXNBVbjojm1fCKXgXGUNfjU55flBZ7O1kVIpk
XYuU54pHed0GwNRjwFn02LC9KmmoPNDd698x0QbrxBPoVNxcBYdBqeotbLXYpcRp3JWDX56TvCjv
7EwzvIlnVnSRLOTBtyKGkvXiJt+yttzwtsYxyJkpBwqclrSPtRaZuU17P34S3UxGuo8K6CzaHEJj
XCCoIWzCPkqvK75gqBGTJUREklyB0RaXA9tP/C6DQxoJYzKJpoYRKXgCb0XST1zse7ZIjLmsxPpp
wtC6OMxTP5FJJXeSjPXiBv7/EGxQGR3KcQ42AZd5BxsIrXOBLf6Y+XZ7ovmsniH5J4egSp33Wbj9
OSmX5dEhLPKp+ePkqg2ZPTrFNBE5tn0vQOJ/c9ybLa8MFvbYDpZdUtntHicpo5cwcklm1cSd3SgH
xwxyjIyg0yD9Ulnv1hszjA6nmbQAug7WOrVbdLsGxtFgvBLQprbuXePXK1K8XIDuRfuiTSle8jZ3
v0VvQ2rrpisjLU7kz7jMvVVH9AeYrlK0r04FYBd0kP+qdcUyvkQF/lt4IGIggvGaMJKLzGAeZWym
KIhzpHxk2iTbMqrCC04BDrWkc+39hHyAH4SKgxnPPL/1jY9PiiXloRKSKVfpq0Ob5tmT5TPgLEhc
/Jn6ATYiLxAXr0+sryEgUHCLGHJcd/3SYBaUzQKlQMdPRU3IMTHqTriO58lfOWOO9iYTXXVXul1J
2kwLItoDfmVsEumZxBburatF8qynAgxN2WCQGb1m2o8tuUBO3XtHEwTpXrV9D624DfdEgZutsHNy
tJNyPDMCSjcMPZHsllpeEVFm2vEIBqcUGdGDbq3iKcSC++RHZJIbJ3OJNLPVPtYhDqV8oDzF/heW
9/Mkph8puLSfso3nhzic+28k4+0xtMyATzShfEjGiC27QrnhTXaI8m2ontjSa2bGE4kLeq7MupZl
cUQgzMyeGROEysVau421VADOfY0xK0mRRHcp4vfBwrOkBFGdghnT3hKGX2w3+OMHcjoNKp9TFKN8
a9/qIUyuMT+17LAlLdVubsZpEyeTIvXANoO/qdyqMxtvnpLiyWeYw6zLtwG6+qmXfIQLItdt2xX+
IRc9PBEvgbWxjmhMPrS9RJjvnIaQyqzp042bElu6oqxJA0zV8Cd6y/k0oh72C7OcMxJSCAHW5O39
3vEuCQK4PXiRH9NovI099x+Dyh6GuXrOW9Hv6PvIaixDYNaJbkbUJ3ZznrucWbhVWucyaYJ7HKDx
XZcu4WvrmJ7fYAe3r4z8TV56mPXQ35IvIxuY33Vyq9OZHFCPMX02OcGtksrcASVv72Lt4G62ISIS
CeY1awxoP1zjcsM0C7+fYIxIcq7GC6CU+wiW+c5BAPzBJBK9ctr2F2tqQZbV/eDc5XlQnkbpZker
xO140+VBdKQCiTxy7wEwpaZE2B1y81r4k3wSedMwY7XtN1OHQGGuwyfdBdauMkN3x9lVFjvsIvjo
osbOVlWbjTWDbvKoqclmd9mi/8XiY7lieQ1olvtdWhM+CLl+3LEAhn7hhN3viMcg+iPpFqyHCQgv
0Uo+hUjPYRvCkko2bV41gASHaygCHbLzy9d5O+E+KdnYz/1wBVR78/ird70e6A/FY5EVkKWUGZv2
Ba4lRgk+w4D2T+Z3Uy/zcMW9H94Xcz27h7KF30GMW8e377wYRK/0G5Y0zmhDfO+ANnJzTwZGzeRQ
LDXkfndbCI6J3iBxXw5DmJU/PCEzpNiVEeg+msl1p5siBJ8OsYgsczWK7kcBmPTS8pj9isaMT+4v
U/Xb5HnLrieBFZKE7lijFFWjRnIqCEDBsOMiOJ2S/uwCbEd0iw+wQBNMv7hy3DQAe1W572DOIyyf
bKppEYKsAS5eux+2M9v39GwkcrAReRWNJVkHVQrKD2edr4FKA61wfjVLhKe4AdI8hnXESoXwsgSU
1TX3SAWXMErCMxpmh+MtDrp74ku9Y8RE9oZRFfoB/iGWh5xsxvAoSxh/OqF6koVSxKoiztDbtrHy
uzKXTJXL2M2sDVBC673HDEbzLYInt8qd57yy+ndu6+Hc8FG2WdIWH7GI8gONOmLsbiwV24F4BEpj
iGcPaUBvgiTXD0zN9GkskgxHZ9W/pEMT/hJpR5QDkYHbbjblCXtIz4V3Leg3xvpADDQWGzcE5enU
QfZrxAt4FB6hD65PdDaDecBOI+RDX9eQm8b4OIwRm0PTNziWKI9WLU8kkwhZzR+6xZFd+dq7py/y
rsFh6ZnZhgIOJfz6ZzsxIYZpRYyQt8zHmJNplc7XpdTQtxVbwkFUX3HelJvSzCVEmwZCoiEdB1KR
d7p6PbZxtHRPwE2H9Vj44raTVf/tJ4JXt2sFn1Hd+kc2GemmRRzKqw7e4l1tBrQrgd1xeGS0b3u5
eDSSQuMEZDeNvZuxJmlBU/2upN3AZXTZZbKFs9bzlPXnhvIf+ZUK/HPWJznoq2F4n1DgYSxoBlK+
pui6vhHKzQELxkHOHwZmnw4tPwrk9prccySmlVOdG8/WLV6RGcmVi8SGgWKJIDSDWPCqR6c4aDGP
r0sGULhlVHPUAw4z5LU98NPZRNOjXZEnw0xqhKKFQvlYsHo+8ujUW7vwPDrtFnmsGBLSHgkFW1md
TA9KVqSIFoF/sukTN30w650ntfM0O2VyMIs7Pwdqzg+Z0+mPCU/ohTQ8k/CWrymtOiKk/cwr3nB3
zoTJjc4GnpHzbDtOe3IsN3kx2iIdLWeostZh7DUY93Em4I2P9CbzIhmCguibz1Fa9RPVHQoqlY4/
2n4uvhWeh4KBpqRQRIlcw3SqZfY9dfhtVqmYq53jJPNbUg2/Q/rIVxbXKe5ZNW0yVuvrLOXFUcAe
2wuPEFy3KK1LZGbchX1eZvtscBrAGCaPHpgV2yx6QfDYWeWgKEq69RLa8iZnjwn2O/BYXPdug8b3
CpplVtHTwpFH8+jPQXbvidw/uc4ARhbONVlmrXU/hPXwoi05PTRpNL5aOi0fmkLOB5oYD69MR/WB
0vXVz2gFN0VbOi+u52fzKkkC1KoxDOugOidMTUtRZrduwmFTRANOObW0b7YkdXJn2SK/YJ8c7/ok
qH6K3jEnb8g60nrdQJDwUVmXrCvHe7UYn2qwLc8kqwWEvFL1jDaQV0f29W3JZOCmJrRog8UwOxEU
BcUoLEiKVg2RlZGQ2yAdyocosiZAHmW2zXBbvwVLLXEYYE2hmCygwPZilXXuaprJixmIH7lljYZl
ehq503CvHavOE+8q9+JL3VYffjdq2npAY45XRjvQ1/FTiz/k5xhN0ZMFugi/mpKXWmv1Fae+/zsv
ivFhYrJ4YdxWb/yl6fdtCwEB40GCitwPij17ZTzoXdyoPQbxhEEPe9EPQLHEiBSMunEL81LcJLAM
T4pF+NmrgxrLeCE/s6Lzlm3k1NOt6+hyXcZL+6vwobSTrZfjYyQvo7TBTBnLCw7KsQRgw2l8pS1l
Va9TPE/olJNbQdxBT21dswKNzNWksNTevhauWcfu2P+urkJ+vmN75MAvSmDktlpB4yAwcs6b27kt
ye2r2/mhG9Nxg5M8uFMTYGcfY463JThGPDqB6i4kRJPZRp0mVoiQ5c+0bupDPGeR5AVtCAmdBYwZ
FtkjiYCB8JxTg89tNTa1c1isYFh3ubhCd02z5RTFTD4M8thwnG/7qY0P5BEMt94YQa3TVKNI38nL
xZVLvpBhw2BXcXZER08mVxIPW+Y2D+mUECk2t6DjTcRyHhF2gYigBva6jovFhbQ9ivDsdxbmQx/0
MIQdRyOxD4kmbb2oPDuRE+2SDDbAqplrwdFVBT99LyZLxilpIdouWAUwbenfB8yOyIawsQfpiHuC
Xm7XEy+2IzZyfLa70LvQ17c4dDogCTeJldsvXcIQf2XIG/yy04ixwwgap1ihASK2JPSLTT6X0y9r
GRYkvH4ZnYsZJ2fc19Zbj4N1XShLHLxCe+/d2GVnPfnVpkBo8DW6DjlAHdZsbzVS2D2gv3fXo+2Q
GZ21iYzW2tZcSAv37hHtR/8zlW6F5icqtuglbQ5RQYBm3zTJsejhOZjFz1cOymJg7wKHROjGVySy
7D6tpHF3M5PCte3GHqTqoN0pO8Vojpmc2MrJDeaTSTKU+Nos+O45acuVXan4q8rE8CRS+IDoqDv/
IbTgEHbtPLyMVarOoZLjKepis9OY9YobB1wEK2HTzGevaasv22DKBbWnXodUR3eRxWtkVaKaxeIw
yR4gShPg0h/sAUd+px/JHUaHYKJmjc+fDFZ3MW81L8SjWmIJtaJeUqKEush5cMLKe2Bd5a4N8pmN
7NRywQgqyEUh9ValJk3X3MX4YHJV/qjz2d1znJV3ng8Ah+gx+pIVYAkO4I6QTDfVVBCwo/e9CsJj
O0rBfwuyW7+xgh8jkT7rMe/TbwNM1cOm6GAPn7BJ1z2Dkb1XDigdrt/jN4PpDADeFB0Wg5CWt0wk
3L2tygUJsHGsOwdM7BcRF93Ppk1nTPgy2A2Jcb+4xdv3vO+qXT5USI+HUIVnZTfiLsk6c8iygJdF
NRJ/Reho8hD5U3icHPJBA4Zb9yLBlsGt4BxCi3Zw5c1+8zAn45TtJdF8KDfC67gkDK/Z00XiX5Qa
xpORnlybonCeefWysSgjcII3tu6QVlgo91HvSkW87EIC0gW7Wcd+B/f8C5vc7pkrmQ6rOGkAt2mx
zCUmzNbq78ig7OxtHgGhw4aDbD1YLCAsSxcOhwQpF2aUNhC3vphep5C0Iyk7OWxQVBGM0Mb5u+WR
Yx7Zln4o9SDvHT+FkVDxkv5lE25yKzDzPoj5mhLBMpd8q96RuxpM9yUddYbzgRTDJhiyxxE1+Us8
qPJZDtL/wT4UgVc3lN5TG3ne/moj39SWyU9zmjQ/4xSz2xRGC5/HLt+axWcB3F/9UTLqVh2aXgox
30Z0gT4C7lHzWfLBS3Ao+fCoY5Htkd53m6Foq/s8rcUz1HZsJHhVt5MV+Rent9JD5MYzEejgLRCD
iW3RzMVh6vura2kmDwrCv4mwagykCi/avhSRHewwECT3Lhmhl8H33buhUfUTAnzIuIkD0ucGRWHC
lJkOEZQ6AQdT4c2kjcjU/tSey8bMD+O9XxXqpEK7AM9V+luJGOpnMQ7diXqHVgEa6WkIZhxrgW7v
2yhKzybzsT94wtt1ofQ2U3gF9qIZCq25F4jL5fA2mWraslHqN3RTRQYQoWKeZ6SfbJdw6Z+DK8Ew
lDkuP7pciMOO46wqZRF5gaZyR0smRqjzBi0a8S8/GCHMp4KNDP1wkU31jZ5C2ohZyTu2GgNJXrqv
z2mbuPdE99gPPpAyf301Fe2wOHT8EnSyxrUxvTc4WxEteOLYupN+yJjNYPUitunJtfHBSscKfqsm
EydA6u6Zubx3TuKiOFaj67PBnimwg9rOf4d9nx9NqdSJCXr0FlUUrTfUi2W9KuZJf5EiUb5pjljk
N42FwCceOWEyHDF7q6dR3DA7Tn7QkxGIm6fVNukS7wGyfPdSF4VeCV2oZ06j7HfZA25HSoe3gpTt
nzGPABGyk3gfmiw4atpwFt/ZnDyleioRHPplHGwbbM3WyhGZemjaBX5+TdzVsXY16dx03N0zVgA4
SVPR7xW+kn1UJ+ps2VV1av3S3TVpOrE1YTDuNMU383UqV6tgLcEbmbzoIUh2USARixMnw5C9FYTb
MiuPPVN9VS5TlZhG4bORI2EmlmkwoghEn35G+p/GcnZOm3hUKzV40z0VePBrCEAEIXJ06Ny0Cq9h
fSK6pNozv60QOkTaO0zaBxvF7b5JrAS7h2Iwu7IL4/3yecPuwc4MePU79azd0dk52dVbkpQQPrq+
Hu6A2/gfyVDmh9b3htMgnfkIP4fhQhqm5j5OuD15DVJYYO4P1pMM9a8rCGXrJ3a4hYzE3xUS7KNh
cXBs2qm9/MUtE2fGMqJ2XhwzBIxNuyFIwkV1m5qTwTz92w60/WMs/Xk/1pOBbyWyt4ZR4nvd5yOr
B8NbiU03jlmDHcBZT2JoDmZmNGV6qAyBKt2XbqgwcuQ9seRMja5sErVueokav4Xf9NOl5LtlNFqf
MqHzX38RE4rHNk94rAvl39eE7J3CtjKXkR3wS8gkdOsjz0tQwlrVt/kD+Ele8Y6uM36px9Q+hY2J
CW7jCIyG5RsGZX2mIEUWCbeOLAqfyIen2vNYfLMCwNNed34DgCAVH1cgvr/2pQvImwDiixUXAsTP
bM4a1ePdlAXZU5k6yVNApu1vz82n5zHPratzhd9oOjX/k7ozSY4cSbP0XXpdCAGgGBe9MYPNNKNx
Jn0DcZJOzPOgAG5U5+iL9af0lsyMkMyuymVtmBHpHk46DID+w3vfy+8qKzqbzAjf+Ab2VrNGbWP3
nQbzrqLcdVu/3I6eb7Ff6+KLXgxYOawqWYf4uM4ti+QAz6z76GLAy1ZsdrVDN0ztA0i94UbDinUY
mBqu5hYqDFOaniZairf/6MusiDrDTSjxEXeKRiPm1cvT7QL6dSVGOT0zUsdqh6yA8OChcDpgwH36
ZkUuyzKN9Cu6SXSsSOh+VV2EljfRpX21W314mGQ071gZLZIeZszW/9F3sePFIo/3UySGaxom4lFz
5mxDTZZ+fUuK/i37wb/k8//JW3Bb/yof+vbXr/78s/4fYDBQeMt/rTpb/Z//ZEL/8fMfrQXqv/it
OHP+QKIOANoxFb7fRPL1G+Bv/mFbhDXAeWR6ZtiYWf6mN7ONP1CuW8KH6UMwBIKzv+nNLP8PTMUu
RgDdBIsJgv3f8RQoPv/fPQVIfmFN+jakLhwNjpKC/Vlv9nenSphb5Rq90wUs8gbU82OIW8VPrQc7
t9t1N9mHf7hA/0R9hizun3xnx/BMy0PkYdl/+c5/9+ck0qJGxDyTYqIhWGtnLF+10A85BYSN1SbF
chNK8aJjwRms5XaKQpTCx+JIwAR8IGM80hFfXew7p+7qDdHZ6y5EeuytBmnTgIYTb7NQ3h/NK68T
ZqD//18EHOxfL6JhInLxLGHAweej/pbZ/QOJfZijkBFCaK4Wy4cDY6TbEn878IDlJUU6sWXB9T4y
PVh3nFCbtMCR5ZTarqvEWzT17xK2n8Xgnk6gMtcApiNnj9D0NR1jRgHu9DX2VByguQ3+XMhpvpac
tQVdtSDVNCbrAaev+zMKY7BsoM0tkWMbdn5FTOyCbkrDFes7gpkAr6nzeOsRN4u+wLfXsy5/jH4s
VjFIbi/6KUs7XzktVlStQJjvjk9h+SVevxdd5YcFNiuhJ8bAautBZDKLyyx+4L5nJs9OOlsVhDtq
/tesFxrmfe00hPJaOdppGaz0GUMiSuJ0uB2696mHsDTDRIfzmTM8LJZoJdgDDKW3BhJ2EbX/xcTm
0OQLDk4qpiBr/Bd/bN9o5VloeMlV3uPjWxddUcJOASu2eM2RCZhUq/Ozi+qnt2Af2bVOLeCDwYRJ
G2SFpHVAU4ToCh07AlRI1ZG67UOECA2fX5r5ZPZJeRETESguoxkMjqu2Bg/vm4SKk0cB4jmzdsPi
sdMOiWbTgHpzMQ42wo0AWObNwJ537ycVtnozK9YafsGdVbDUt9meRzXeyibNZggGw640l5CgMGQu
ajzWOGzKqjR/nQeJw8yyxdpu1aKoWR7r5J2FGBgsET34DZ5tV43imb9e0b2s9c7tDi3xli0xaisb
tjM2ExbZYqdV+otM6g7ZGVbR1tEfkqFnMNuO3mGpNwipt2KS6Y1RkLO0eC2pNbF/Eq27cI28jP0U
8TpDiOWf0w/qSQiO3sfsaPWM3IwGGwx+PXvdyeWxnCA2Fl525+fVTR5F71nmvc2R9iO0IbKzzdpA
ZHfXM+VJbX8Rc+oFYNyZdDvGAfLpHZ7ho+3WO20akLRl4oKxirUIIpX10OdXOIWHwY7TrSXY39XR
sRDJwQ5D8CzTHIQO6/ACbEPMTIWSc/7icNwQVYRrCaTHCqhvWL1OiwPYYUIvFtSimnGqwMKwR5eh
9aA7gTGR61m3NHgk2E0TbXLatfFt1DhnjDhctbmKNr0xYJegnie762bUNAdPNjkJrW6uejGPe3jm
6AGn8Yr02ylImLeNI/KTt8xLOwgaaO/mNH5JQHat5JT/tDsC4q0Bp1VR3FgGNh4oaK8Re624xMqt
y+5gVaN5wjd1bkxwMlJULIHwprpOt55sr9nkPvdUkVOxZpONUmEoASBEZqC75Vuui8ByTgvxGavS
ZwJYGQ9+0ZIF2esySL3mxq0SiOgTyUycUKAcdTS5XQuEGd3YCsLlNvQWuYPN9FA5DWloFWPvgZLI
rtQUEJdK6mPqLTWbpS5PRzZV+IcM5tVVJbcuPgDnBrkzKUw+N6xOogN19XzqmL0OwsEfP5cPGImO
bhl+YQoGNWUZnzmSRXwRpLGMsT2SJd3CgBhb8KMi304OVlkLdhVhWPZ2CQu6PQvqW/pdxvNW9BnZ
+DnmpCRMHiIIWDiWwGKWbb1uNAlgKVm5+oxFpQBWMs5wIYgPXghqxTvkbZBc4e2y+gONzqOssOQ7
tUC0Hvbw7evA8r33jOXAykkN58Ugknv6rHL9Bxs3WKHEXOzSop/WVjfcMsV9FyJ8IxBF3OkKOBjZ
YRdMDp2EdbTy5UUQCrFuUx1/knbHbOFd8xbzni3XzzjlsU7DpwR11qZwETdrGsv5unW2hlM/tZrT
bfuxvCUL9JzgOWI3PN3pFqa64hVV5oK6OGYfaVZb0XCp6lryqVQuq08tNlbDkr3KZWBWrhMQ4Rp3
2Vy92C5Wqaj1DBj/hxn2RY+uRIutU/Nk1NxcVbWShv9cCMxb1Vz9nJKak6NGK8M2bFXwfW4Gqwax
T5JlELpOtTY8MDEMch2bABcndn6iwX0ectzpYQpjnqxKYxva6Y7dtpqv1cfWs/tto0/3Ze0GtKXG
esqoPlim7PMq3I95/dY6XtDVlXaDOGYJQ+bJrJxkqT+5KTFjIr/FnnFYmLeviDyhTkCzQkgNXvrw
baDD3tto93ZZAlikXCoC7rUvmfivKW8NLNvLQzmSwVvUldj5IQxmKOwNAhbADR0r7onn0FvC6tiE
dbqlrEsZLb/5hvs26IjsvNjFs1QQAd633hr6VbOyGsRmgoB2v+vXcAV+VEU1HXwMZKYici9ecoPV
z93oitYNq7Et4D3A8G4VzTtpkpdJB5kel00fYFoirVUyQ8zgURf5va6o4Dp4cNNroTZr4j3B+Jxi
gG5RAXJsjdiiOSrXUW2tk3w8wPcKLOWfNorUW3ukJq4Jo+cNK91d1NLhdZ64wkVcW43n3FldX7Cy
xJ3dK592rhzbhpVq61m5uAvs3JbydQ8dt1DlIsQR1ZV1wrRK0FNuhYMYIG3Ce8/V3nvlFHfmycOt
7b52k/tQzl4cFIDRxonV/fhMvcbfBdu5jVjCIXMoMCUCw6XpAryCl1B51Ztquqt6ZJQZNvaYBnbV
zx+Z8rcT9M5jhOV9aPC+J8oF3yo/fBUfBuzxBjZ5I71Bzd2fG+zzkbLRT7xXMje+LFWHIEHp7xjC
sKeB38s1X8uGJWknhvCitlcaQ08zhLkeW0a+FWX/hbQMKxNrfdgMePyl/J6pAgsaFQEAXXx/HqOd
ae4G1Y56Q/vAcP0JwgZQIkMVLia+KBn6bDkUYwAi5q1j19S4bCGxvsEhgGUjOjcIYU+bgAq0lmWg
jOvnuqIp5F220oEauAOBcwuYAwnuQAN7YII/KGBjyqn/MBQXIQJOORDyu44Ryq8F8ARbURQGxVOQ
iqzgLwZgmLG+b9BdOLKrkWCg0Ui1nx4mWa4RuvPlADMW0bMiN6SK4eABc7BR1dQTS0yANBf1w5hg
H2LwD5OtP4/gIAawEK3iQzSKFNEqZkSzeN4m5cCidBEmm5hy3SrGhMsJuesUd0KHdqI4FGjlxx2i
+CfkXtOxA1bhK2pFrvgVwAoOAji24loQkVsGu1TRLmLFvahbP9qOsNEnxcRom12iGBm2DS2jnhQ3
QxE0kik1z7xJHlIv4oVshOCYa3lAQwlWph9eulyHxaGoHBN4DrSH9X5QxA5HsTvmcIlPpv9Z4QcP
XH+A0a9wH4ljDUdG7mKDdxFxCWoCpsg+jYiuOCGxB0oZboirCCITbrNA9CbiBVk8zeFXx3wYqAvc
kVwRSKhQR22JznNjD8dl6jYaSeoBE+mUqUh3kH1eB49UvMYjx/XBHHGymIp4sij2SQkEZVA0FNdx
NgnqRdT6iuenmCmzoqdwycJVmkFUcan1YgbZIHbWmmKuMJFl5QyGJfbLt7JePHbu7I5S/5IsEFsM
vlvoR+/+sMyrOWw+Ujsl3k1Ao49kiFSpqH9leK6vObldJy1zzhp4GM675bUBGFMpcoxdl+lmVIoR
T3Fl2LpeigpD6oRN5GSAa8cZjRciA0hTKjLNDKJGH2DVWFRsxOc0P3XG0HR4EG1yxbaZgNzgEDzX
inoT2VD+o8GDZEs4W6jYOAaO040mgDySZiB3+JKXBJJOqpg6USIeFkXZscHtpGB3gLFukwW2WUMy
M6mUXsNsxSeoUptLEhHAlFkh/kV4FIh9zI9ZEh1Zp9GwrjLvVVi8nRDc4HGJ09uiik80eSAkIMuk
r7YKuijzZG8KPNKxDk/IUmSh7y/IceVW2mSchHKAQKQ711ExiUAxYVQkOUbRipzpzeq7eeMqjlGC
nFCvnnIm4KsCX+3JdhLWGcCPRiBIOo0Daw+kucuiPbaIsLetBQzbn2EnsYGph5S5VGcVdzM71mMU
wVoy+D6Voi9NisMkdcokT7GZMkVpssE1TYrbNFftUwfIqQLoNE2xeUAoigx3OWEy/dAU+ynSoEDp
igeVKzJUoRhRI7Ao1qifmg89qm0gKQ9Iq4+jbH10Mu6r8KNyW8slDBzZvkw12mpaAMJQlaugAJxi
F6fMz8CcU+SVOLoQ7vIRDrAptaza1U3Y0Diyu5DozKvQv1ZtDOYyASg4mDWiAqKbobjqu05f3gYQ
g9VMlVzJ5Bd9HAIptoBI2olbysfppsaBhxYfdd7YSXvdFFD9v9mrwqoxirt1MPfhuCVszqCgXIZT
5rmIAnWzZqfEo4+fSJzsqD4xZ9de9Sludq42Yp9BZXlACrWsmc8VhwRx6GpIadgwNvSndEjjTa1S
vBqTPK+iHCiow7G+IPPYoRz2HD7Swck6CiTiBjIsSJuRzqTtYacYs+ECNq0u9ji+dNDiTZ5JRG2I
/ElRAJVEZa8747ZQwUI0FxeSTR4ZPMKyj96N6GRh9V3lJBKNJBMZc/KB6gQrM4v+ZXafh7QHvP+B
EYkDW4UbcQzyCBN3tJB7BEs23ntFcaInLgM/w/IlVUzSgL+5JzapIT4J63kwq0Al5tVsIRmH5v1H
xgePmIeKb3wUFlFMlHiJimYiW6Vd90yEybBhyAAWzyHHqfdho412M6wtrJMP2XgAadbRX/sr1q4r
m+DpnpANW8VDdaZx45MXJVVwVDHkN1bjfgoTgACyohjjGBaa1rBnRH36MQJrPKnJNHHkYHNG4qmq
RCdUJ5nFzmHEb9hZdMLb668NFWxVIv7rkWnsOH8i6Hv5qVAxWBZ5WJ0KxgpVRFaxi8nLGtXayeDI
wiRxzSb5MMboWwdFJGqVWMHRz1Xkc6GKQADoXyNeNqiyX/F+MxFpFtosr7H2I9tPHFbU8ahXdloe
vn4TaBeJikdLk0ud9pjDYpesPyzSkMYcgtmDnhcpLqz8VwSPlAhpehsVeo3VhM10Seaf4gQjdGv3
g6sCZlK48V5f0hWWtxn56IELx5/S4Rx20HAq8wGrg4c1Pv2yQ+0RpC3NqHrmbBDzPKrdeJMc9C4m
LsKJ3F0y+fURoiWGaMKli96GjQlvsDd07CHGGD3FqLuORWP6KxPyFILDlrytsDfvx9rYxw0ulcbR
tuzvrftUOOPBLjSDNiOl9M+HxyoZo8d66nf8nraRw9VrNfvAxcpge3Q48PqlO33/poqeHoPNgBwY
jdM6HklS6cgMHDFuXKoF/rpBDGVEEOm21obAdT3/mkVQt7DzeRt2H4/sAfzT0APn70oercLwDyS1
sYdpkRJMxfX3l9B67tksrGuEahBp1x58mX2SqfwN6d0uoB5Wk5mPZA8Yu8rXRxBdVnwIx+aXzKxH
38IUafh2twOfeE8aGPazJiOAypsefeRj1YBV0TbcTeMnrDZMwfazeq0FD79dTOgAcM7dTlV/g577
ZvEnGm8LN01nvjmyP9txhmTTGR3QsxzjWdKuVL0D1slhWZfWNk2yi8gjby/LlJaEcpLH01z71vkC
rfhkTx1UTWx5AdljlIPiOpC3uWvBfnblKa2JcA1d6xNpI7TRZqeLBGAeMz12MelK16YiCLt5X0YL
6ckWRUyoKomfbpjAheIJL119jxAto7VQC56+0WF70JCFKn7MsPBydXUCdZsrVEhja2gGkT6+7OFr
ItwvgKQvzAlzDH9rK09C2DScXajAwH6CDl6zdSI4FaarMuzyntD3PrvMNSrDY5HTvip1CIa++a2u
2n6N6LNfET/GDz6ji8AFm8gu37hNvDHnCW5LxSOSFMO7NlMmDKVsVkvxaCbQhafSNldYGAYiLISx
ccywI3mWuBy42SxpfzLn58GjNqnbOEMz397bI5tbw1YzVWuTTKUDYKH56Ch9oQiOp3bS4cqwsXJA
fm3IBbS7sNyLls7N1UD0JcWyzYRgMmGbn8gASr7txXWQBWISJmvFTUGko0cMmHlccwRPDDj1bbhx
BS/nqAe90ciu2pyMqYcLySTJ1J3NNPAYW9w8raFr2zRh9sCi7Wc7+GTzZA4v//B+yfEzY/Yg/8a2
IBwMt74Il1WuW3yvIbnGIE1sBGncZbO9M/HqdqTROOx6n73J/8Lx+16ukbS+paKhLBvCH1geQRjW
BmKwmbchhj5koPY3fJTNIxe5LRyGuzWw2HocWNyZx76vrGNd9DEDVc87Y9vF7d2oZFMmkqUrEqTh
Y7sCYs+oNoUTI8qDRGm+gSXvrxwSl/CcYvXV04qbyzxJjA2Qp0uaGPd2oaGoWYgGDuiUDkjQjec4
1PQDrN7qaY7j4uguXGjm8EHjgfRgSccnqd17sLtXonTXzkSkzMLebteNJKov1nATk+0ElxRtQ9Mc
0oT0iioPbxJWJGsXevaSkEWUPhOM2YFMJ+3YgZ1aTDeL7TGQifYiiZK7QS/uR4L8VvSdRwRC48mp
CXyb3qUEqOyk83msOnrHrJj3wjL2urR+oBNfIbThBRZl91ZJRAeFbcILaByDXCYMVvh56w4jKXyp
x6FcJVr9Hk+8FXwi09xIRmsvwWiSL+baSgB1qA9ycVaUI3gPs/gJwXe1ASNyaXIEaRSSaWFjt8LO
5nfAceJyh/TtpS589qcdJSVZQ7s8vxFA+it9S/YxgpE2O8us3UgktYeqSl6RAuHsnUCmF6IIAFif
nGGuAoAl92lzS5DFA6Yn69gt2Z3leOxyi+nC3n0d9faH0QyXNC2xomVHMvk2sOq2SVRQwlrDPsyW
cx3P2rkqP83enkkiiKc1YU7HVncQY6LxWmUG/b+oTRqoGPD0UvEGMXNrhbElXs94xNdUjG4/16uC
SyW7Ltom4fAxGMXO00zeAj7ae5ofTnTE67EzXuXS+eCnM3edaeANmdcFhNQAo0sZD2WgBxm7Rs7O
adgEjLlb8FkpXEpBcsXcJqfKsNesRAKz9y6lEB9JTwaUFsqOUUy0am2n3tcdeT4QH5YAmx/s/MIF
lec5pEeYFIO6mxpofleVU8qV7ZMCJQhWXTPq3ZIQglHNOjsNLWDrMRnIkz5DZkt6jAiRuo3Vsnem
3rrBhH9I8wTaJ46Fqire0bY1Ww66F78i2SKUBJ6UMQbIcYTKEJU2WjyDcy3j4/H1d8JjwlZill4u
RePts0Uvb/SEy6rFw30riNPyOZla60VPaGR10fEWKK2v1ll2WpIBytVRnFQRR4OXsnkaLaCmsLZ7
QiBXtpESf2AhC22YprvWQDxnND+4LskwYcPrrkvu54UsDRZ8vBqLRSAVqvb41dEBQQavuJfXSAhH
Yhi6l9KujxSRfHwVBHIbsdDc7AnbIpYNdx+HiMOIxAAjrpfE0LXD7Vy3uBkm8PbW8uaYxZfo/Oe2
ZY/jyBSdMs2BibVniYqGuI3xxZfG8xCDujRyG8N6e9vRmhGm8jJnLBLnBYUzeV0PSTShh5N7Z3AP
BkuOtYn9c12gUM5yMlv82Hxw7Oopg121SsWnFxtdMM+x3AHyv6aquai6AZCt/mwsBQRGbdn4Nlle
QMpsu0MqG9MmRxnM2E5oRwLzfhhuwQwPiuoay96Gioca0xoV/n02zt462tI5SaJagP7MVnVZiv51
qQ3Mwbp+CEn63Zel/obIoL4Z+D9Ml49hpufG5gzm1uyv1WTEq0Qa2cYy0/e2T8rAcIUf4HVxZvOc
wVM7ilQeFhL61p7b2dxLzDedhKwg+Bo/Zkdfx/xBx4RUeL3Hqz3EtzKlLodD5uxsV747rhxPkzWt
gMIOzEOigfIiftIyI96E5UYYyRceGP/WKq29kHzrYoouWOJZt1Qmc1q0JoarP2Ypb0WLQXihEfSg
a90Wxs9t1CvjUzi0J2/GoZVUPGBCcqGBDhAiXeMqlR3zIZ5b1lvuajE8toieecRR5Z165jwcLznD
2E1cp8/jtFzqhdCAOotesQv4t8S0I8JFKLeK0vQ8WFq+YWRN5UP2lxNPj+lc36etuawTt7oHqXCf
jNT6pq4Ffro8Ih0yVgk0BxgLRA5ZxhrbDc2DUT1VKRwswUUPOE+/Sse9QiXhWSwnLhSdvYxoQOLQ
6XcANVQCH5z0LCOGtVnu6lls8AHhS6+c/rC0QEE6Ah4k42DJ/g2RXJ1t54IoZR/9ZOIU2KW8wjjO
VBdpxAMT95PEzSbezaZ5koaaLZQoNhdn4oYqnCP2rmDyw+Myp2LPYuEaa8U6i0p6u3RiCBzlUsVA
mnvbrw5jn5z0qNvrFflWBdHuQd3c1AWCKOEyjpNA8pfZ27UtHJK+twN9Yo7Z9sjOkvyBgVbmgoLQ
8wBKC85DzYSzGqYnF0uhQYjjznGnqy/LJz8jGlMLxbQJYZDqxIb1uO0osPfFNN+zylMizeFurFjE
9ckTIMJ3vaLWwDpGigKSu8kGGl7nYRYsAupLfQ4L8U1BDNnmoGxAa0xMUFfecx+/J170NQwoAPkb
pPGChA47WNWEUzDT0K3KpjrVTW6dZzOvcBsQ/FLY7aeL82LVI2rA3sEH61X3kHV0r7+awwiVq5Qv
+jLhI8TDwNkjV9O5LSSYOl8+jw2Yb01z74aci+/G7Wdlmo+5ViDKZfaSzc5rgxNT6fc2iz0X2DW9
AYQuNUORseE3svQ5X8b4QLAKYjbSzchlN7chq/ZtMjVHRvNMSjjbccr1+S5KAdejVeJstMXBnZx2
HbmZu/VS45Ib2JReyWpj44NJJNxMCZtTF+Of0mrN0La6POi77tkrhl96yg+UDYgN9H760ULLKRhA
4XIZwhdrUaMbg5KMcEOripPLpFtHZ2LZSq+Id6c1yKwSxETCDH+9WyKdims02KXN07Ne4dJfkhb2
SIyRvCZAsNWexm6saRFwEOit2x7Az933U387lMbPRp3a32qSf0tB9QgFoir+Kor6k3zqvyey+h8E
cDWVXOpfC6wehl8fyc8/yavUf/BbX2VafxjooHQ8WdQtULrQUf1WWBnGH7rn0iHCthKodDyQqf+P
6AXs67cWC5pGH//v/2Xbfwgsfwb0LVBG/I/978iqxJ8RpOiqHNtEkGwAULUMBsR/YbVOET1P5ouW
R9IA2Dk65hPMwvHQO7G51ltieRxkEvtGRAQWxlYRDGTA8ot0AB40hJ4eoZOkmgy+yzmWuC1AwVRa
mGYE8GLSXFfmOHC6kPI1BL3hLSOUe/YNPKwnkFfjsz3kEUR3S+5061Nao3HWuwL385xbB87s6ewl
kxb8w2fyTzRdpvNXJZTueK6lm0K4Bm96Q13vf8wv1tjbu2VsFDx/w0xzQz61PjFiWi+jHDGYePKg
l9V0n0zeqXFH8ZJTNh4atmEBQQ8+ewsj3wDzqnZYvPObKmx5CU6TPh2iYniZCYe6Mawoeaj9zjr0
S85ZZ+nxAyU3FgD5VHuQDJ2EFSeSWfsBkfyGpckmJbz76qqFuGwdSVpaBtnWjpNjZnQ9Qv963pvq
I/EzswzimhiUwmPwPxqTzfCOWqRDXgqpbKWXpunsMN2nLKZjojL5YO6qHOkssK0DVib3oPtdsi8g
zl8lNZaj5/0p63P7oZRsxrrqMwVldkBNbGLJT8VhsvMPhNrsMFX4tGE7BMiKkR0BJyu8U//2+8u4
LP5tG+htvZ2tcvhRkSQUVINvgE2P3jXC0x4aUijXKCuiwMtq7gZCS1bgqzxIUrn1Krri3FCgPMmw
MgPaQdYAekPkUeIs234Zmx3OhYw3HFehEGazi3wKtL43wnXtMwoQ7M6+tA73dyGZXE1hU78lwAh2
aWs/DakLi9ufrEueep8dyq+DpeHV8xsGzk6sWEGhwmxJBqwlxV1f8EfUZT6ek2Jsb+qw23rFQzfU
9Ytp+aTLR1T5iFfnW30mCmy12M5bFnp4ZCbue/A1NF2x7HbCwpIV9bVzJc7WYdQTmBxlyN18vzvm
2XKXD6GKn/aWYE789r5y6tdq8oof6VKXpOqO3SnKHIv1iDyh7y9+UBPVm9EBzTBFbjjsYkQ360Q3
XJbL83D0hKyfLUS4zYr9ir1qCCZaSW+awXm9TA6GYQt01V4TTXeP7SkgNYtCOq7odRx//fshrZR6
yK67U9iE+o+FGm6dCBHdt9VJB5XPQd0sLyBd7zD2Q6KrnZzIgxreG6YTsUqlMCEsVVa7ldl4NZvR
euIExtaECuYxobDcWP6ytdFSHBLfiy6NTz6zaYfyp2D25OtpvylIrT4iNwZaj5VxY6pX0/e/mss1
jLIp+A4NK//2G4ZSDLe2Pj8uLmM0/Gb9DqG9eEEnfmhzMKWQ4n5YbJ+YNGFfdUZqbpr5ODtRPuXH
PmXL2mbNwTHFuCNR9NazM3mRlssn5UZJ/gqTH5dMItLb3tJ2VSaB+aPcufH0rt92vB5ny4XZ6s7u
Sip7fsm4dEcaiDwbYn5oh3oxAgTj3dGfzeKaaKYedKOFywI43wflaoRYUkRnZ8vT2YPBwXvFozb5
EcRSncXY9xtkgjtPuOV09WJA8oh8bgf1zC2GRH6iCQKlitYLvn9HXOcm091saH8xAoSYMFGc8KYL
wdJOeO7UPw0J2cJO0puB2Rr/hXLWhnHxF+2s4eCNQthpM501XDSnf37NDmE/MP+jPXW/r3acOYBy
2aXtdDKc8W0s4yOOouaMkHMen5a2ma+eTmw2xT4UqkmBuXoIq8y7KPqzL5/5SjU3G3Oh+8WbWl7r
vH6IEhBsW132Aj7XEp6muQlPhMGIE5EAS2JbF3py62LY4cgzbAdj6Ld3htSLs6gtTCa22GPch+fb
a/aptsqntu/6ZBuZtGw2rArsdL9/lKyJ+JwHWMKT5z7kDYpDOWY280cYyoyj5SEkOxlpw+i8LhLr
w2KO76R2XBu//yxDxhKzndX3Zq/9wExA0FuaXYxUlo9WSJh2lA3ZzWiTPbX0UWD6kXgyRSWAoZiQ
5gRhuq2cX7uFHUEI1HX0C64T4KCglPx+h63MQ5EuN9MUNdvU9/sD+eP5/vd7sE91j9tOqw49hJLV
Mi8NJx9x5nVT9fcFEQDgkmAAWrlct0mR3AN/Ng8JVexGz4dbnJ/M6tX1DnXXXZU0Uhgz88+Zs+r8
+zXpzvS1uHzWKdlCP+yRsthvayr7mtWoUtNtCF6I76IxCRGWEB3cVUhwKjvqby2opXTS6bMZTcUt
oLkPBK31C+BVbT+VHj1d7VkH6Ap3TddMWL95qNOifEELVgSy5jNMeXEHY2+al1ZYzr502vbguIpu
pSf7BqzPw+xNUBdtce2c5VM0hncoBoaPkrcHyEesysHvu8iIxOv3czbm7Gb8zr6MIn6Y1X7/+7bp
1b3Tm4LJ6ffpgIgRJ7zJ8Bj5ZvYSm32zL1zMGvgmfBAvlW6QKpiNp9/PsoQo00SevzF6GIWrtp1/
kHttHUqk5fwC7s24TH1w77Z/mzoM1kvDuJTlOCI2ImVlk2Vq/Snin5Wdg6G0UpUPymhrn/GiUFVA
u0TLPmlJGXOb2rrY6kvboP6bvt9jc92gDTYpKNSD8v3FKUN3+/tXoeBUB5aGJvcAq890JpE2NJnG
0QHHBA6OL1rKkL1ksfAKtXheaaPurRldN3s4qQDsuyQ6+0Wv78xsvjVmT6Dq6eM3R7TbOF2KjwKO
UCu9m5Fq4/73F3NGf06+2ZAgYSp6wSqI4dQFRwFa3Bphm1VZX5EtLn3KoYbBD/11S3/oVDvsdOwQ
JNlJ6iaeGo9G/6BhsKxwdZn3IJPcpyy2DaJ9DLjqMTFxndszaiXP3bZ+6UZf/myaz25xnXNtuOM2
6t8x/qG7wmpLkFjPMmVqyhiJV4uxBWb1OnXG7p2YPcxbVrJPWABsMjdUdjhW0maEcTOVJJDHmWls
Y54SEc7WGRfmfPHC3A8qVBF0oAlpIEwe3jz2kbz9vz8ZGXUHE8fWpkXqts86qANlZaCNMMtnP5Uj
g6H6Ef6GPBcoFpGJDIeKVG2/1ml1jdYNSgwagUaYcjA1vbtnHSme2jl5Suf2Ew47xb0VYrKuwcqh
LB7YdMa93MukZOsDIMuFYX5PWTapjRarY5A2e7sxtU2WZ81bPrp3i1ve40/aA5Cdn0f056OdJO+a
NnxwnDEFGhgUOZ581xiDwWXq3ludt0xd/piKzjygiy9QgjE/LNE4HYq+B91fGh4XgEG7yT/Ler6r
jBZGed3jVLbqt9+PGGLs+QryHTZYngPRQ2mSdq/fZwfsW3/fdhaJZ99HieSyp64a4/ADodDHZvT9
HoVKzyzAFfFWhhQr6lVpwPfQUWpjO/DuuiRVVu1YXJqBO3DKOucoeco3S7z5/QIddDfCKaUC9ZyI
D0mz4MgQKj7b8VmrNf1h8UWyT2vrMR1Bc/BGs56jUI1mXIUaNy9I6Nq7YXxUglTLLNzPGQ0ZgAIy
dgAAnDr8a6uBW+a2E42EgWNfXev/cnVey21r0Zb9IlQhbWDjlSSYSWXJ8gvKx5aRc9rA1/cAdO49
3f3CIiU5iERYYc4xS++HBwd4HzF6PtSBI39MoXljTIt+18mZOMj4hFfT3RvCrR+GEonQctfA4alf
psi1CcGc2we41Tnlr528KnfJtI4z84pcS3vXdP1YDFFzmB0mrSFaa0gwzafnoYdGgOOgy0Ejthj5
YiwlVGcdNXc9eIdpjsn+bMQzb2tPwuoXToLwcSI+2gnU7xSKPjow2/ooI4e9G5eLLfxD9kx94Tx/
v52ji7+jU+b4DO71wbCZB1rDS6uK6kODpbpNPdoRN5q1W2/0VFZdrtUHOVOElrlVnqpWBH7OBUAG
v2WGYjXNTYsDOpuPhcYClo02//FB+6mXV/wi5hM1O8UXMKR3NHHFozc14lyH8asHUaaTUDmGcKqQ
njQxClpbtdS6KJQh4hQXr3Hyd6LV/LkX+qfC+bKJa0INYGmGj2urgtj7YSr7H2JkEbGL27n1vQh9
0ZqibHsBAJKk+2oa92cLvWIrVRI/hjPn3X/PRiK7fc9xvyj91c0ExLBvjGy4RFH8d6yj4lVzOD1D
YcBgSgh/6Kz+RuY2V/nlIDFlh/HEGpyzaQDfS9/csBUvZZs+zvTmfsgy9oygK7iLiRgOd4jqi+hJ
g/1u6rUEQwnuXuhiVrmUya3cVppgScH1rfBZBPzmzi8vRsgWJtdpb4oem89aQ5b/W0gi1UXNEvXR
/vtuGL6XzOsVtXApo/RjfTYTOsf4TRzlUFG7MPscEHqGlxSzk/99R1sumnWF8fcJp651Gmtj5qi0
AURNCWsplUnHl2nUvLEK+6OYPG7WKwW+oqeuS6po1wA18atRc3Y2znJkXGjDK7vx27plVCgH+57M
nLxJDkbOgRqy8+J3K3a7V72cS+zVnneclg5RD7QvaWvdsdPk1ZbW9MN2BgBVzge2eQR7kZOddbzX
/SywfcTGjkU28ScB0sqwQ+ATifYF/Fijzc2u0sU1w41eMyOWxmV9KOOnRgzikqJbuQrCEf3vqx1p
hlBTai+9Ou6cXlPQueR9qWeZ5nvH5ZfJXaIe614v73ABnHMeaM95OGi31GKagfSn/0VYwXbs0uAZ
FPKIiE2iMTBj7V0moIGcYLAfsQSkB2jgZDpYiXsf4AztVDWRAF83zbPhBI8IAdpJz95KciXueMiP
dpqj3Wfaf4pqK3/tyNI6VkP+T6Bjvqlt0g/HuXZ/pCx+2sS4kgWRbrvGJjpbJ1eQpIbivWof1m4o
1VL6WEfsVSnypzkDurgWjYNJGkWMuPrY2cOnhIp460QS7NrMpZUjLgNRuOYeK8EkGf+QdsYr/NBS
Wt5q0g1OwzhdVB+Wt/WhkncLE3HVwSdCMuNw8iwBDTRIjRD1ca3x3MDs7o6tXXiXsaeHfc4ngUVr
DX9tAO/uurU/m9DI+U41TfdEOP80ihCdzpITmhwvv896yxRCNPGtLIt5lwUq2Qz9IPf6NP2eR7u5
soUowZfQFn9XfbkLoIrkuMHvxnF5EB4VMgONugqujTHeKHrfHJwHD3VVQqCs3kYO4zdJNO9z74lT
H017gCvhPXTC9gmRLIFB4bXWuNUghhIvNNrhpR+0hl9Es1+AttW371O9So3+Ocic4nUN1uiNV9Rs
xiu+K+I2tLMs4SnFaVXuKVTMi61BWS3DiNpYNiPAZj2+lgbKo6AR7gNq0w4tmEF3RQ7Atq0B8x6k
C7c18jqm/429We950hFvHWnpl/WVrTx1TcPyDPO470gumXTWH3XEEaCzrXWMH+tALKz4j4vltypV
9ICghoXQiH7/e/hUQirZCP6S74GUV7/bbpa8pO3SW3hO+9yOToQbgGhRJ6qRhiwtSdQeewn1BxDK
Xbei+QWJWrAp1DyeNK+bX9AqUxbPOQibgJfYOCzsJx1eAmYBxT7J8mOoEUr7GVatth8x26MnChev
yfI0W58qB9jOGOXlsXfUSas96yOOcFdHGqBFhXdk/ZhtaquDlzVYwE1nmeDgi66yCPGXlhfOgbEx
6y2BqXI7pQZ+PmI5OtfNT9j2T2M5ecbeTaW9nAyUTfCCC5/2MTybTigoOFs6gWXqNbT2O7DdIdla
nfgYDaWTWJLtMXajwOtKl3UZHUpazuoKZ7w9tokaMEXxGUIxfpYlcBaAz+U9MBJUOipXO+h303M0
o6SAESiPNoi6Z90FcZxiqQSlSvWLsArVY8RmDiTUvWyTGBde0b91LnpYEAHxnx6JH+zMBKF50V/r
2s4f63r4Kb00u3QL2mm0IvFCgYRVDw379/tQAenYEux1KgrKIfTD9kepgjf06tmpGr0XXcPTvku7
HUILccu4cB4USxlcYWZ570T6RZjg9PhdBFg1cIU0B7DcOr+QcU0/zbLkyrAs0Q3c9Tur6uULDBns
SoXx2QW55/epqY7cIiGD5bl1k4vHoBEcsGVa018Bzg29CBuVVr1ORkEiaageJoehsI/WCw+D4fBh
4rScUNV7C1eWdWzq5q8O2tRzvWylkrEJ91KmCbI5kbARIn25kXXNd3kJe3JnODNaU02nBhCxdLnw
F7g/MkYCruLS2MB6O0MmKpCUssezw8H0Abw7xBziB2Tv+3fS2mf+Rv0hTSx3m0Q5tVXAOAYdAPaI
gNyqGbQ8yeRIyGw2rAF3mx2poDYtW4nMd2lC1x9ZXqZZRyhUwWo7mO3ggqwluFhUqCfSik5dqw2n
2A3CPYC28pfkgii7+Zc25a94kX6Fi7qMbSMCX55RpBfvJD6kp3zi159dtBSqB9piIu++9c1g3eLC
hVyBbKw2RnFZ9enrs37yMj+c9XqLeqt5Wt/gLtOwHw2dhKHPdjNg53ddH0pXslat57NXR2cDfk+J
iaRUdIKHwokK5l9cgRup5QBcqoFgZJ3VB0LcfxsK4onLXYdwo0mnGyb6DqMg207LsmJ/aE1mNRMH
2TZrgfUa3aNuFe2jClrkOspjzJxIFntBr4AszeVz3rZvyq2Tz7V4YW2qsB3EBDVb0XvKlPeKa6nc
tp6u/aAH8x0HArzpBpu0kA2yBSgp/GLxFWZeflNayW6yaKA1I9n+fkgNcQmyMnyI0+Gnlojgi1vu
pm2D+fF7MxAAa8NVM/rjEOq/gQEXi8+leVctvVsjlpNsMThAZisvTLg4hNan5kiffUxAem6sKEj+
cd0OSW6IrkepYdd5KQtkEHUX1RIVUYDfOlYzbMnviXIYhgQVYY0iLoVpl3pKTEZOlHRPyVhGZ13g
tOCzISPDZYJ38ZaH6bsMRASNPgPSxhxmj6aZZJdWNKByk16eYfsVG25+yTloBcq85fIhmgNT6dTH
kdDPG0uz3Fv4Xnyg+lAIQjW/kjgpIpFOj/oY/fluSULDevfWowU9AKAllEbOyHy+A+xSD9iGTVLF
zyXGQHiqUGSXK4dr/vLKUPvhpHNxXL+cBg2AvGDAA2dNAoMyM1ZMPP2XbYD8NNzxMxsx9TYO7jo7
Uy66fLGFBxneLbu3L5BBhyN5AzNQUgOoPKKl56zh7kcacvjH0J5jKfdGT978fwMcFUndz2vyYMBS
u0Dweo6WVk9260sYl9eECKONJzRqbpikMNa1qd2xfN4w1W4uo+DAWibNZeW8fE8VEfih5dSTjOgK
sY3MsX2YOGDAzY63wgzY6A+y2bsMam+oONylUC2iKcG33uBZWopXsgSwoi6BD4m2qAgZ0LDyyW5J
373AayJ50I1KFjqMrtfFUT4khKOvWzQrwugPt0sDz4pmc50/QJnDa0izO7ZPYYNgQIpw+H7WpTjL
LFZ31zw9Uvfbb9ggrGdJ/p6pCvUO0VS/d4Hzm9hwkEWOMI7FMqBbH5wZuoBjiHyHOt/C5l6CuVvG
AxbJs1dLGD88c9KeUcXiX7wNJs3lBOwAgWD9liwfK3rOfTw6Hald3HOrzjD99a45ofPomvTFGeQn
FRQlqmr65wjZQFiZuKHs8v95ppTctHqTIj/WrZsB82/GPWiFl4F3af2aht9fLU1l0Y+PlkoYcDbN
Q9mW2YM5ICdE39GD/z99jzHFRM4axoR7bBKJAHW58IsA93A2sb2dLWzybjjnm7X5gE5hXAtN/w21
zCDwlvtSXSCtnJvRvJAw5O5tt9d828Zq3ITstIA7Nk9EGJfb7zWWHLU9sgt7a1GsnerQxuLvFdrT
GNoTqDNUn9YMHreIuuT2PZ2pzPSKHr3wDUprdHDo7tcH3Z2CYzY5VK7NMtsjDHfdSNv5eHciI3jI
ESe+JbH5lMpAf1hnO8urqU+xuK8DcWm/OA5OlyRi1hBVhNDwz6wXc6VoeVn/PK1fci3DO4s07Tfr
XNvL7OcA/s3ZJQUqF/gjlXIKruwIk9UUxKdcaHBbLQSsUfS4jlpTL5h3MBY8YLieePEmlhNNF11i
OyjvdRP8zyZtrT0IvG+YJzTG1WxVDAKy0/dAKjcibc9UvM6Xnb4SK8WVlE/iQUIC94clIWbdXLSm
Q2ClKtJt3idfhhYOd8cZtRNRhIh1htD4hEj5WUncPExcfrRhEVwLb7FnGV7zqyPDcUgL9UY2SH2C
4Bnvy9HdRk5OakSDXybz0g+Kvp1pQoGoc/iYbl5l+gHT574xm+M6qNXTqLzNwfBg0k/6w9gVJ+nM
wg+spL2KvMWPuL7/cdsQ2S6ZHW/k7AH2Wsdx31dEMGbTgVQqqLqWnl7DToJ3rrlOrx+BG9mFDwas
JUlPl5BGtOv3zSrRbA7cii/NjXzIsTq/yJH5KOd8fhwChgqTRJGZpCK6ksYkCFUYxbtwnAgTNUo6
M7fSF2OGFbeDvpiFTPhlrF3yXnXPJTTtvdspjExWKWB9JmXwVC37NQRfv+JOyYNYrgeMqaMHBjob
B8OERXQhtMp4NwistV5CGT6ZtnoItInYrWV30coKtn85v8xoQM/fXeT3O2HKqTiuBy6VOwY9kmkL
OwdPQZn9lE+ZBVkrBJkU6Sf2n9MP5GPtUcpi8iPFnRUyOxKovo1PzN6ifel56lGz4w5sU5/d6Pf0
g5Y44joDwUhFbWwSI45AwRnDyY1hJGcydfgdOkpsbVIHs0qoY2Dva6Jw/mgKX5mtXtuI6ZvDTn+M
Upt9aM5m2IaIn8JUOPS5ph5rol3IR3FPTY/RH1C9dwL+DhWT2fBV6Ai5Ko+bJJecT7aoKIlxT27+
UwjkqtkXlfSuSWX+CkaTaxjebvZo9XhJNUkIq9nsScG9aoUdfi1PVNsZH/BDX4I2K/H58OCi9v1+
pj6N+hwnSXxuUJQ/TTJ9jpwWohebWY4LaAknpx9OeeOIU24Mx/Xoy+vka3Sbeb++8iry6VeNC+t/
tTc1y6C4P6+HfgRFi15oJEByrMReQB7buWMTXDC9/bbL4oeYwj+W140v2L8Fy+uSrV+hkZhRX/89
/KPI/BZOBBaycy10qn2s0/+GmnL3OaZAf/2c+iHu9wwjgl1KkP0Nalxy+O+ZnQD9TVPMSDXuapfu
fX2I8+5asHB/yA3b8SGFV34EenEjyAd6sUbOTEyAb6KE3JjVDR6lGTQupeBrvkRFsW6HJKar72ua
1x0msJVbu4+1c72MY7OxvjFMMh40zb6F4I/hDKPQ3dqa/BAVKxdiqsOTNvKl75WDLs23OG/jQ+gY
ITQf/Z00E1xWi/xlyswEWqx9LJjCMkdMWprTRWQxDzlXQMKQytqcfnIxc4lZ+QxNLEr4Nv4mpuy5
6eWLVlw2L30S7kuCfG8Du+etaQhM+yUJe2bZnNG21tbOmAYCZZCLMNhV5b2ZhbVPglHD0EXMhl6z
iSQxptnHWdfe3Kl1qRz6/BzZJFkAdO93TW/ihKA6WRUt5EIDja0Rnnh4gXYgJPVb5T05JeS7Glwr
omT3hYgs4tqWg1JbDk+ZzQTLGtiAlGlkZyetYcDiPX6phvpNLGcg8+36AZXxedQ9H1jteAsWYUBu
tMWjGVQgEgIzOE6iKQ+KCx6moFzdKs0A7ytbiKTjbFyEShkrIjv88gpjWap6EH7zATBFGyFxRMZy
iZOQfnAdFpRj91XGZnYJFfa/9dls1MuzLj6qyPph5wQxa0PstuCFN1GZtaxtSU4lDLHZJZ6pn7tm
vIY5uhDCtup83/cbqA31ZznZX93AuWE6fxzoDpiB5HkwLW7x66bzeyzWjox8gsUoUjemr5LaeiKj
BpF/XT3AxyxcdppDNUUXdKz6LsXZfKQBLR6QOfS7StZkCJEHss2NpCHhpOkOYy++qrlrbm1dtkyO
54hGcVkdZQHA9lWBVciqxrRSWId1gcucCa3mcoEfo0WWtGwi7bnS9toIGBJ5+o915Nln3NZsR5Gc
TMWwzqL11JxuWqKzZB29uyNmqtRV9rJOFDonJwGPpp+cmtbaSwTlUMlkfSJxN7trWFM2EWiKH4MC
vDuxIsOWLS8NPqS7nTIsXC7/RiSCM/L/EHYse5xy/DPKPn81/n3hDTH+rWULw3fIJMvxRNKkrVNA
xWViX85oQzgEzsXIlmK9yYzWrPD18bIqGAb3A4T3tdNN+bX15BAWo/iDE+ia0t9ehczLSx3m/jx2
8xsRdRZlGtD8DEr+p2ktiFyLxApun9a+iZR5cVutwIZONdqBZSNpewhvuAHdw/dpXQ+tPNt6XAW4
ZM2RnMLSj1eBEKuV9vwtClnrI2JWfiTB32qZdpDRlz430CaWoG5iGVGV06l0BNgFlXbrcgiZUZjv
bcwtb2LkkHJtm0DPiAwlfQjFsTPY7Cvy6R9t8jMf7WYsEMO34dWsTJBbzAVv6zN9efn9zGvIEMyi
YZ+2oWKRE+2knei/enTPEGIUvhzIMAc7bYZdwjB5OzAZyl2DNKqlWSSTyC/cqSaIZpk2TLN+dVEq
8Smq6nMkDK7BDGFtbJlAZWqYaq3Sm3KobiNpbptEC/9GKU063BBiCBTSuxqMzjxBQPI6tU8VKhVr
2n0fI4g9yAsHZBBNbvKwTktNAcwNk8s2raE+RwgCNqFtTT+LVh0DJ+o/MmdGqj8ExyhOp7NRA3/D
1oHiBEAK3Yn5UvYP4SSS63poCL34+2+dPsjoifiHf2icK9p41oO40JqnxW924M/5aT7nT20x2y8o
M3CFctQOCXUAFifEONb7hLP/R2/pgFor5ezSuM6v8HthXUEAelY9tZ+BsgeDBi8riakJ/WxzozPv
sWEH/cm2lTqkRtWzH8JpyqK7ZeIx4xBeznLvsjabTldTUmZF8SwW/k80Y/unEFG3QqNh69OJiafm
VDut955rkSSXONW6x5jd6iPpPrBIEnT33y+ZWlcYkN56oLxm2zVvhFyP+G4os1Q8aQdjOaLG5diK
4slAez3l/tQxbXJjD3WXsMSLitSpMqeROJv0RrgstyNXM7YjhIdhdOWPaqAgIsV2eoxjcqsIuGoO
TjYVjwVJmQet4t35d8zNJ73e4Vi/QRbvM/4p9jj4zPXY72BVXLDZun7IW7bB3MV+M4rajZF1pFos
lxMZdfWulGBiSx0TXRgN9c9wHAEITFP1/Wz92vd3sYYdCUdsd0lvBk99x/oAuw1o7DjWnlpRB08k
Ae9Ugr0MyHDZf4yiZ89bJuUdRjyjvrk2HljShfuiN4yHosWG7Lha9fm9wTVxi3XLvZjQKaxXnFTA
snvtSZkWbL1weI1Zh71qcwZn6N+iIDP/9MLLsPotWpkxSTDgJo5zF6J7ifSpfuXiDbsBxWMHGyo3
cJPZ3jG131b12/e0t6kCzjkYqRs+zOzoNMZ8MZzkb6riR/g73gPihOLcDvRkYe5BnHJiWd3C9GWt
G5zWnHy8alIJiC6CdTTw82ynZc4xNjJjT2Bc7JeocF7teLCAHySeXyD0eoYpO2wmbQCL0zMEqcd/
DAsfHRk5XKNK60RCFV4bc+iAZHkfHfmm29YB7BWbfKAY9XEMZFzBmwElSGCgsjbQk5qK/QraFr2q
thkZYQQiazuAK/MBgfaU5ChQApt9dl6+2LPHPDwuambK9QvknJTglDbcOvBqNxa2g8Jq502Qk4Gu
O/E/UUpC2ogH2O3IX0LSexNssRjpB74WJ8cW9xb5OMaz1hK1ye8D52kGQ0Erwc0/2odYVrA74pdE
YjGRvpfLrYq7k4DDwDq4YsSjnKMEybv1uk3V4pdKW1x4yOR/m1ku98DTYPfKYGtWDZA0vQFf68yM
17VN5Q2UGCAiQX7UA+//zUp6fre2/4shDW/fsiKTYpXfTPtIo/vMliNJ4QjZh3QuwMHGo+VipyNI
28fzexWa3UJZtxHzzS1D4Hl4wDH+yU1y11TFeLEioohMtDP+GItfcq5+2RGDqNDVDsT3kZM038n5
1H2FaJIL1wWt/ybVk/BgC96RRndPk6UFxBp3/U0Pv1pR7qNB0aVq47gNiw963Hzv5uXog4FSm94e
FiE2c5CYbDIU5ijqTQvfeKX2OcA97rn6F5SM9wGUUzZJ56yE+cWWKX9k+i/wxfKgdayPyMvJjubs
nWZlRVelpw9EHsx+EM7/sC+M73Ii6mna4xNxkdaDhHTNHNpeDw9hLsczFi6Kx3BsIdgA9IybX0an
7nVJjSGm9msImP10Vvd3xLJMDTCMW2UzydOXHJghHZ/VbPvp5NExj2ZCMimV2iwWv+kgfqqyxiaT
Or6esE4iSVuFIfqx0vxlNdxUQjLiEDXmvmjLetdqH70yjpBIYz/C9L7HuQDuXJ+OOuGhXMDb18lB
dqmThFQFci8AnFwU4ICJCAxGBeNwr6JPWGschoGRPZeEmyYoUNjIDRQzunwHxKBt4d/IHSEDNg2x
/BPms3snzhY9SXsY29C+7NNKe43wojVZ6O0MffjtjftgypGfu8XBc5mWBUv44kQwpoei4XByGamf
mq59QcDgPiV0YuQY91Vh7pVAo8n1qtpOFZu/PgFkVHbdnj+r7xmUdT4khk3dpI9dN79zhExHohpp
bixE3LDvAdl7Gj/ZmyGzYE55TIDdKSg1y+eO1vu17r6ENP70yLF17BQBjsxRuVAnyteJ6941eYsr
vW6tDaQrcaiwUZGwSjb4aJolmG2uOwTvxcNQcSxCHyosaJetuZ+j3twlqVv6Q5Aeplz/xSDw92iX
B2aMELa15jUkZuug6iXcK32C55Xs8JqPWxMy0a6ca+9AvOPzVOhY2FLSOirN28aibk9lqH6abkVi
apP9zUet3XSjOg+4yrdQpUvuNWAAOR/+GtjJ/c7tD8ozo43s+J2MinqDRUTuF6R6c3xa+s5l+swp
H/+RPcdCJlyCRAy0sKHMt9FsuDvCrTGUR5RumjL9Nqw/9F63ySirfUsbog28HfNI8lB69iL3lgXc
6UabraLg7Nk1Op93nFvVzR1+h8o2L6zG+VWFsVhuGTGYxRW15ZnpByw2OC+dJPUmXPzjA1pFSUJG
kRdnrUFpnGT0alazAJHM+V5G7DJ6rycRF2HPKoz1o7G6tTYxc5G3EGCcwDoYqAYMZIPHttTv6AMh
pdmcYo5lMv92cP+i7zA3Woi3MzUvmmU5j0vGau9cbPOVe0GwEwJzmBEsiKFY387sqrh7Hg3SNM5m
EPw0ut44Uqqa+8FEdjHa/de0gL7JnSEWxOQykEwfxLAkPrn0CHn6BD9wsZcae0gD4k4wfsKoY8Te
ql0fGfV9cq9x/o8etBqpTi0BPMS070kU1Lf1HD6yKQIlATJ005TmldiCnn+k/J2WxqNsi+rU1TUg
196Lj1UKKBYFmNr3garOQXjsk+C5Nwe5w2iFszL6UfaNurd2cgASWT4SQPehEatY2FX01iXWF/bE
PyHtzE5JeZe15505k3Zl1eQPZaS7m3ryuqPU1KdOysjOoR7YdN0ZXlDhI1DrTjnxO5mtcXOsJvgw
bb+BGNUfTFERF5RkCKba6QTGP765y4Mdt2+zHv/Esz98ZoxCez08NKIlPkfPrujE8lOfES5BPFME
KgNznkSJTEaL5Twvehr8/NlNtACjVGz+iNzwl4ziHDM7lKe06D6glpF2RCG9E96rSwC8UyHALAx9
fKrfqm4efVF7n1PZ/i4aQrdimmnCY7dcMkJwqWgKwlkKXzH1SUYc51XbGH5Hku21c7xbZvTNpTRG
3qwFWmwk0WOIXP9ozCbnEU3JEMngsTW78gDZjVt5U2iPDSMn36Im3sABPMmRgG/Mq9q+y8HWtN10
B4MgtwwKQUSlBdoSUlHLniiKkBihQ1iL+TprI+86SsazTIc7WZvmPU1rsXMdJ/RjCOS3mC08JqH8
kqks8skQLO1Wh31Fkd9mI3iOKf2ncAr90S3c29w94heyDsqk99G5ou66pn4rRYreNaKYNYviFrcx
olQX5F2bB+UNlHef1eemw7UygBTxgp5R2JhdHSgUx8EdMC4RM1JS4YEbjDlsbFLIDFY/yx3hro3F
mdoZK0KMmNMJYf9NPXqzTKQbIk10MgdNblYWMgIMoc3jAJ/Zx+hhkh1QirtMqNQNQ0b+4JJ0y9Ym
Ji69hbcIxGMDcj/Ypx1SqmA26KnNR2yEFEOSJr7zyUgvMts3argTRGWEqDkxzwZuOh3ZlL81maXv
3cSD9z0OPwD3NVcnnodjbwWXOQvzc6odhlh3082I+iyE0HcoRutmKcLRIvi9xAV5e8Na5tUJFqlu
DsFtJXhoel3bWrPZMx6VYKshzZ1T69kdO/KumPNveoC6W2Gmvz1bm7ckYtjkKyCEDjHXMZqr/6Hh
OIVmL96iUrpQgkV9GPNnKMuIqEd0JDPuHXTlQh7Qz5ylga+fLTOLG1O/D0KXi1FW29njkF2KEP8r
a53BXzFzlC2gWgv7XODb2vYUYLue4c02ISYBvhR9fd19WOxYdkQOthjMmr8urV5AOiGO6Gw0xDuU
tqFA+DTYObawHHVtop8rcLs7miUmuK0kESrPSKJq96oHRABGzD25JltRyyovUfWi0c2eGzc5VROy
cQiTJbA+wUF4YehuXjOTDUnqROCyyUGjdxpe2Yf8GSMVIa0KjGe5qLPRJO1m0wqZaoIqoiX55Q5e
dowZmkWjox/H4UPWbXXV00LsyH8kyYQ+gbwdRLJZOtg7ET9wA09J4e2+xiB7QHtkbzGAH+xoLv1A
jJ+d6cRnL0Ayw2473IrObA4tA68N7Wt40eyR3M0cEF3W0ClXEDb8XoNTbpoNAzxPnZtEo1oysmOt
F0907wN6gUye2WcdnTZLyVXjyjPUtEyqtQ9BkUo+y+hhhkuydwXQlwD8Gpy2SxWBAQ11zdrgn8j3
rLZ/RpDn++X+VriVfpi0L7Jv2rh2bxaBNwAa0u4aLkmjEnED14yxmN4rQhC36BmLAzIYzvAZskRQ
kWQyIMfaQnhReK5ymmPMNz7si5PL4bmJBzM7hnzkfpVKZ8eKm9STDE+eQbRuqHVYRD1xzft04Q0O
eCZjsCnA2xLyscRbV+YdrOt9X4ptWLv6qY2U2rbc+JCANNV5fTCsbj/PVX0iBpzlYYdqKehp1Yhd
AUSgWdB+AkIk86F/AeXGWZ0PHyx7sm1gcv+UQlZniDecU+tTK9OJf18uWf+9XJ/lKOxAjyw//n+9
Ltev0nlXvgzGr++XjDfScxdL/ZUhu/aaIvwkxzZ4ipZXeV384FxM7uv3EqBKMC9hGcm6CkF5MCxw
2tA7rN+tONRYAxOUnEEXf84AHRq22e+dltVaRUQORw0MdIC+LWlpQAmHaZfI6G4sxMjOqA8lKdon
WabdecauGIsFH/OKQUD/UFE7bfKSeIUetJIZtq8Ofsg7WHcT7jacEhF3TzYm3tuQELvU4HAg9jl7
sHIWJvoQN34pS3HOQYZyM9+NsolPkgk7uIQ52aGFwRvFcPVH41xQq+dwc9V4ELJzOEuXhNm+fPCm
wXhMMj08GlH0s+q7303W3gTcqlsRV/0i0ngnwYcSUOr9s0Y3J1BOQHiprxZxzIR5RU/rQz/pxNYE
X0h0Jp9FJZM7kceHATwLuhFy+WjPVXxmDHGv+2G4j1USsKYQA31iTIBr52kfpub84wWPoR2ab+zN
jFfGKppTvvfhRMeZ6MNLMVc0+723YSAGnBORz1MQTSnYZoSRha4yYkxH+BhFhfB3ZG1kK4I6C5Px
9YxCmdMyv390lTmCrdLuETOWw1iF9s3ogR23tkfrp5ETWIeFiex1uk1MIU6GBX1h43rSgF7MN9qg
1y9gS7brq/8eXAjDt/XHNMW+C/UlTL/la//9yPps/Vow4LXKpt7w//vu+g190mzM5Yg+Ouac5//v
L1hfGoDBzpVtHL7/uuU/9n/90S63LV9lC+zof//x//7z69cKjcRky5ib/fo3UDqpI/mBT32oV8Wm
gQt7jioADYxbK+e8vq7ytFvYRHwrsPiiHS1ZPMGEEHv52vqD6zcIIwSj2XnJlt012U+Mb9kKMMtx
AyTvOqYNlhPyr5GO+WWVWuKBiBi1zZdC4VP0vPylm0LAE5az43Ijr7q5zGDhP9S376e5bZMUoVLX
d7yuzg6JNvmDGH8GlHUsTv/nYajG4paPXnAUdnuT/WzvRrJqt0ZUTYgC6rDxVQdhK0AaHTDihPFV
BtgLmt64m925KhDWoyCr/5mqFsE0EgZuH0BsRP9VSSO7l0nzOyPmfBfEZfLUTB7ZR1NbP4ymY+11
Nfwf9s6kuXElu8J/xdFrowNjAlj0hvMsiaLGDUIqqTDPY+LX+wPqhavfs90O7x0VgSAhUiUSQ2be
e853SAAPMiAobUZyILlHeyjM6qF3BFJ6ndwnIgTdo4/AbWdiYz1HmuFs2j4i25XSwb6ZKpNFwy1w
QPrpTsVKkWkG7rl2qVNROMhK+dnA5r6rps3YkbJs5yzL532Czv8dkeH9HQ1u+KZxThBKC8gcSQCX
FBuP1SbpsDwieuAqnEFbRZTgFzoKh8sAzv9Cxtgfj/rgR9/02d6k8NslZXAJgYxRzanV4CKqFlAY
M4DAwKaONm5A+A0fJXS921QCi3TqOQMmaqXw7U1ALuXa6Vv7nsv2kowFwp5Cw9o1YEOqHe8xjPMD
awKXIi8by2XRTQppv/m9r67Nn33Q6YdIb1wUMtG7Y6bZsXTvFCt2r7HVu1fSPPaqZXuAcGiXlUUo
7+bNqNg0LVDcbEVeMfMjHh4JsJbfzZtyatdZrUl5t3kMMc2/mTrSR4u0r7PSlOmN+S/QI/ajbR43
1P7kNnWS5g3oyVqosfeUhJ04YjaEIgyPvZe5+wOqoxNalMm7iMTpqNm0MkyfuIK3vo10rpQ1iXU4
UwIHxV7o1lDopes9xXpC1Y7qGaz4EkucZ6cbxYtppRZ0x3P/RFpjARat+NAMN3p00NGPgVrsjIjJ
YtKTchN4drHITNBPm0To4G3RzJM1roRvCaaVjfSU5jhvlIwGLivjJ7cgCsaOxvwhDYxmJ/rW2JFE
K+7VcCyX4WRrL1n+y8z/0RjBTkEk/tpWMtsoSHcOrZc4D2EFha8fdP+HjRJ5oKn7jObH3w5CCfZB
n+ePiOuCX7/DSccnNQqTp4FqP72QPt6VRG3eGrt4nf8Tw3W+VFD4xyhQkbj09ngsakdhgjo9jA09
2JC5tyerol3WNoRdLSQHxEy67KFWkvwhrAHoO1V+Z5rJuLGFVV/LoK2vGgEhKl7Iu3kXpcLiqLb9
1/xMgUVN36RTWdRLCnl0tslbTbtbjPVzDeEswVA8dozfCSE2VuIvGc1yFj+29V7ob+AUYCF1MOCd
XL16ga89etXwMSp07LPYt+6FayinzicTQw3N/CMFOOQPLOZJDhPEW+CDGfRMpTqoxR8uaFFRJulb
gaN/6voDYdNd9zXUIJ7XpJExIkIOqBCH6m541WtR7mIWybtQafJdpdnMFWFZwMqywh95rR5DaX+1
MlZONEbhTSjqKgk0axdazbG17PaRZT1mepZ8AIGdKyWZ8jFU8/aQO3OUCk/hWJePnkg2wFeY7xOY
mMaJ92h6ZOi5BiIfavfuo+eprIQHpmpC0z7N0QJliRRqFznyg9apcVEs46vBd7JSCuJRPL7aS1WM
tNeICW0N132ajrLRmuQe2uVrO3RfSUiGr+d3T1hiaCOnVr9P8BYBw8ZdgIjxHibIMqGovuLoPPbl
mN+X0/pkiDRQWdPTeZ+d5/l9IPKnkiuQPGkvv593idT2dxx2hvnpFb/fQED7SQypB5uS3zHvR4vP
Ce0zurUN3TFYy/zEL4KNXdFimd9Pk1Qwseviddf06mHeqKmlHuS0+f10flQgimQu/z/92C08zIX6
sJlfTF4oL55/zfyOeee8MVP7Y+ya7JiiMFWTMDiF4FQ8DsFAXm3kWWulqrX7eePKpN7XzNInCKdS
r8mVUToifqCUZQvqU+bBB9l1IMUdVzQytQebS6zXB+Mu0Bw6NbGnvVWVIBxQVXQuTyKczBg8lzRM
d+kTDf1kuGTHWAN0uNIqbRa5KRozX1fjAw3+qeGcnOfN4Gt/PJqfavXQHXPkXZhjwyO6+T82Vcdh
WczPh0QER7vQyj14hPcmB22nDml+Sw1s4jSM5ye2J9lj4sZoQ6s99a/lMA67sc6NKz4s486zK8QK
jn6dN6RD8AUwO16PgkCI0jblxoi49zZej1raqat725DJOZE4nGVeNB9jkWBM89untlRKUltt7IHT
fu1gjXX2EY95tqmQau/jvjWfbFDKKInc58jMdsJNac5UsXoHLpzYHRxXaxb7+otfyxOFEPHDjfmv
HUhlYHUMe6sCCtph1HCvrolgfX7J9IvasHdfK4eOecVNmuYnlWAZd9VZAcIz+SbqV5lkF2Yj/jfE
+jul6sNX30YsFFhGdA6FohxtdQKJG+CKKsd4mV9a8aub3vXfXRrPK3RBw6W1GW4ZPuQGQLHOWqdx
WJ8yD8ggtgU+F+s6dTD3AE2OcXeTNSGQV90Pjh4cc+omBFZxNhTTD1KdckSDBGJ+xfxav+2Jiits
5pDvZRwYJ9z34owglyys+SF4m2ItB1pA1A6OauOCu8gAloY+0mziuvyWuhM7g1x02Wp+yPffnLrt
/NjCK7XKnJh8GGVYwQQmvVJ21aV2k6+KReZnQCuFxbz+ZaXF3oGGgocHh34RhJBDo2wdlyr19az/
aIN6DBZdh3u4E8lz16RHao3KKbezPzbj9HTex7JtC2MxPgARdEm2bcH0/37dr7fp1pOPE2vXy7Rj
nU/WfRt3PtKcBlHuvPFF6J+4ffunURrWLjcsugu0+vJ4fPXHMNoOjRGewIyjLZx/0PeOtjJTQpLn
p1A0nzLu9BObmWJWJeINGkVbXjJc99J3cm7+XhFsi3Wud8adsJ+IpvDu41pT7ouwVO7TcthGljKc
f+9P84mBwZekyrHZVjI64MaoH3Q1SB+cRzQq48a0VFpmemWcxxL9o2Hn2ie6GhYkVfNuW4L+utNb
B4RX5YPTk/U1v8JOCq6z0HlKZW9uo2C4z6Rprcijs546oSGSrpvPqANCLvu8J8M1N44UHe2pMth8
ys0UNPICnA+RaY79vNMcQNhAk7MyrHYacTuLHqnmMyMUHaNUm8xQZbtycZU/mBW22ZLwEbcItRtq
l5Qs40Bd55MacTDJpFE4sljW+KkR4hrV63fW9o8ZwPHXrAOx3CcIDtHrZK+413B7BW57aUSl32lF
C0qwHMKHgHXMhpIe3YNC7WFjcLqx/GZOXcfVpqE1uGVpEtBh1NrVgPb0sUXjswyioXpOBTZLDIik
IfiNPKXSuhh6pvx0GovudlR++UFKIk3Z1Ke4chDR52G8Dtuov7eZpGxY46AQVlKFgnDakNBjMtwp
NKzoUBvMYxg7OfMOsYNNo+a4XcYwjylvOM1NGTqKm4CJPoKRbJ+ApIgF2nDkPiEJMEgE+iIc0aXV
hHvblEoCtSJ6pQfdExXpTQnz5Aiss5+ki+q7Hmvnuu60m9aHgu+Uttm8n7QlAhvybNl4ag8uKNk6
tTDuIWI0N+SBzsIrk+ygQlK/2WNTkNThNWuTlQNFwm5YMVCRQ8FEedt25vjiULFbwJjuLpbuJS9F
uFTcRH3R68KC9t/VKBi8cYuphABA19p6um+/YzUeqaaq9b2r02lMSiACmhEr5zqlnoKiZ5mBqf5U
leKY9t74HHeNuR2bhpkrie/PzB9O8wuGCIVNi7D5zkrq8Exji8wnJr2fMY0tNHLpiUInmXeqXW20
MWn2SRjlO3QHzH709o2IMIrqfpwfCRkKDX98INpWPsSRLS6l6q5+78L9w3kg8rv5BfP+yLf6AyIa
1oW8Z97YNcR0B8XMshno1wQcVmRWxJ6ckPTd9TIJHtppA3vDusu09997olz4D5nqrWykNpd5v4A5
e6zJY1olodFu/LHoXjQUrcBoRUfioNG9VOBi67IxbzSi7fuk5hKZdje4sPeGUxWr+U2Ej0ETpcCw
n99E0/SZaN/6vq+IVjMIlg9F7qzQ4EicBzkWy2FarQCKwRdqeObSjwqsENOqBrnit2UzGa0wsm4Y
Vod32d6Xg7A+kN1zCseUazHOyGtq+T/n/X1gVWj41eCBEJDwVCJzWtXTG0pSFFBDG69Yv8KtF2nV
TnG78pmT6GA5lfWh2OBErdowDnHApIaloPUEIinFiRX65yZwzafOhXikd3l5tgiifaKy8FOrUu3X
D4uuWnYyX1cSY5zdmjrkVaDKzfQUHddNaGF9ZlpHOodlAUhzg2FNbtnOz6GfCLXFPy53iiJJ5Wur
996G9lVoBE8oxCkD3Ux+kCPOB5kATOl6gLITpNFn2hvvQd7S4mooGetYSKfb7qrR5KfpNfUC6jNh
okW0jizVQAdcn8c0yI5UfH0WZ8fWZ+GPnYSaXoVYKw7sZWs2Z1k3+k6nH7Y0PcLuVFzEHufobrSt
bt91VPfN0sVEpRwHsl0O87POKP2VClp45aFfv/gaG5WBYGmQiL2eCGqHbsyc64ThIZ1tneqEUyam
piy7QgMvA2SVEZT1NJryi+feYGC7XJpRfnLS4TWVHZIEFPqNZ9JRiodHv2nWdis/mQpbuqTDpHsX
bJ/FovQifUX4xdq1DMg4Srqx8vLdEdG46Sj2LEPFPlXcIl+02H/wAyXaBJIq+cS2eLcIcal0TGOa
42UHgqQPnfDFytYj5QlyxTHsE/1Db7HEit40yMf0iTbyE5pB6dUO0SXWZrA1kjDbJrV+s7PhCrFx
aTbBk4gGsojSI7KDUyjrmxIo8P69z1GoP3F14uNXx6M3qp8YM852HRdnF/lXIvjqHS2ud1M3m5iJ
5FjpKmyWMN8rKiwa6Zm7vi2Q5nUINFKVQ97kyLWcKKKd3VOZ4OOC30h3JXkryNFoLalWYU9hdPkS
HeZKIj7FTuoly1xBQZkrFyAi7lri7qDxl0FuSP1VwwqhamNkITW2b92VUDOw0S7TKDg6lkeOlUIp
BvSks3IUl5DIIab2zUwQ9pCxVSu8JkhCRgZrv1lIpFKHXFgrLIGC9mtRLdrUWgUa0d9120RLB8zA
Kpb9d+X28sxi+UfqwRlqrA5kMrx0hr9lGJjqOrT6WwRt8Ckeo1t29egDHDyFIcNWgS+QupChR3G6
LeW9F7p4+tm3KRpEfBhYhMkWzQMpGzrVzmQlfYw3dmSARIuNW47mcRFxQS69YLQWBEzT5gOgvi9B
cCyCjzYX3kGTTHp01dPWVvmjz8Ci+0bYL3OZoW5JnxrPESjeuCoaIggrYN5SEHdRZaS8GF1/YtFE
LMvE3x2MYe8mwCionwJluAaZgYjKtyIatKzNtX7MD3ofXQ0X54Hqyf2Q+SQW+vSRwHKtGGvaLqCf
oKonNei7E4pXGBmI/1DDHAa3uTk6JGcr0MctBfDHGFgXuc0tI1YM5Nx2xU8mW9kiE913On1klOor
I4irFTOHYKBVKAL3tS6jn6al7NQgesZ1GjPfpNNWhMqGbqdAdlc66yR5tDVydFI1uzlqGewCcnkG
3UzWhV2gtyjSjVNGL+Qkf1LXQWrcRZTH1nHoX+j/sVr94RflsUYGlmnE35jqECySsT91/SqRwEYN
nbKMShVNJCALyNh7ZqxrCHEW2VJR+r1aeHuVESsIlG3ThN/q2KMY6fontR+VBVVG0khJc924tl4d
Om84pqz+l2NsE/soiW4uCCvM4uZC52Y1KMGjq/mYT0vj7Co+XeZGfWNg5w6m30vZO1C+kGMUAqVg
SnCGHrX+Ihq9i0nZ3AR7n+sH9Av4HDwVZ5+6akLzs2GpsiR6+ykk3MMf4gHlQRIsa4ps3OiPY1sU
C90npkOX/g8lLh6mDymT8EN4Z2CXrILkQhv7ism2nu1IrXnXdFNu8SGeCB0ruGlH5G5kUOVHHXCq
aYUAoZVTVKeo3Sqi9ARl/hDlX03uF32RZukpghM8IlWDkIABPIzTv1T9+OW1I3PaAnQuljzRkyqi
qR6hxFAzfJ2E5NrkIrU5u+NR++DGihJQJ3BH8QciC0vtqBM9s0oamAMhBv+zbV56C873zsj5O2Tg
3pq8PwkM4WgPybK/JKSInXK67LpDZs10LpQGxaAY0Do9d5J1cpT6iIQBQe0M1LYYpNYJzC2/Tj8c
GzExAQrwprIE20iQfpAa59xCo7lYjv7i5fKhtovzmJBhM5Sw4wfY84wapIeGOPcNM94VWk77vwue
zZ47C7X9aAFf/irU8mtQ3FMfqAigkhfh6ruuqVWI4Tg60FIHHt6EIiMLHA8/ZmBvURhvBlBBgIPA
w1KSNRajidDFEN1yLMW3MpZES4S0j3AKL+PeO5ZNMqwwnL0piCT0Jt4HsQS51Z4ENuih41cVvbPC
uLKnaHhKxvRupF3c0N81m/ZeUhUk82BKke9WoYgDYqwUTGwwQQOM24l/Guz8HMTDgzCb7so119GP
U/d5kH5Buoy2nEA+6pJlGsrHCKEG4lo1ZHEu2BVkRHAJ42CPI/dteK+l4g2bMYPzVoTJpi6BsGpA
CWrXw7JYq1PQyBcqDOqhLrpLWRfbsG8vfWoRpsk6G0UwFynZcsYke2i8D6bbR0dsEUNyYK4QtJZB
JQ+ePhJkh2h5HLozJXX6iCGZxW0jl3oW3dqWHCojZ61iKuVnr9f4TkVwC6ru6BEVlrvxflBZbgHb
8eN70tKWWtF/26lyrpTyQxuvfmneWRghrLDfpaG+VSz/vqo+Rr0+gxz7tor0jqzQjwQVb0KE+6aO
gR7734jgXdwaJde36T0rlMgQM+/503qkvRVkXdIMNO69wCH8LdL8kOhPCUBHMZAj15K1NscBjUiH
s0WSRAv0DiWH6yN0NjxC0EcD/XrSV+FmTD2+PkjalH+QIFlDhlGcSkeoDgQp1+16rGLGm5assZpR
cFFh21LVYoGn/xtsBWgWocpF4kbEB4EnUZXqrYunKGel+FmQBWF340AOs1otXXWblyXCC+pK6yKl
AkJNbQ+edUVaZbarbbpJCXd501E+67FDzeZmpzj10UpT9iECaJVRCz5CfGMi3xFpakJauhNqVq3c
rHVfPDN9Duqq/hn35cJq8/b9l7G0teU9rZoATzF0+aHylhzCHd+FsuFvI2TYQWyjpFDNjMlBZqZQ
9AUWXxyvLDM7aEa+49A/mtwqWc+iPDRRpClE7T3506NMV9TD7GVJFeM91PStEKbxc8yanY4A6oM5
1iKoCTpaqB76WqkclWgQb/0UVUwFVnI0k2998i0RFJeespRzT+mdzyw0Knh+pI87tCMIPj3LQlf3
dQ23Qo+z+3nT+91S165/ICQKq71rhCcPhRyVVTXY9U5DsfLsO8W+gp/8kXdEk9KiqQlyDqRlfw4/
Iz9Kf3gKmSYJWL73wvRepeYYK7LasJJNNK3OJ3t5Nn/qYYHSELz/Np5SxRm9qOJOZrFf9mHYDdnJ
VbLnaOzle2RZ518A36qT1cnSsm5rDhSLTTEOZ/CS+aaucofTRknvFVDB53RifabqsEbhIl8d7tGL
BEcCGNI+clcZiL+tqGyw1TXVY01rxVdhsshzu2entJnMgIT6vam6h9EAHSMSOz9mAm5cJ98Cuk1T
bx8jXTGoHEoZ9/S1JBYJBymnomTHVtHpHc40iKIB6yMpWTeetQnbWr5lTD6dRBs//AZ4a0dnclW0
o//Q0MbGRNMqZ0BvH+60mB2iwnjB9sTgAaAMWyhZmEUVn1hI6Zu6cH/Mxloz/RrwLio16z3Ao/JE
S1jchnYU3MINdZf3tXVDkFRv7IwYrVxDWB/Z5K05E7Lc0lFeWSSQSlI4oCIxzb03LJA0wMXrDfM6
mDQktJ+rZriJTE+fKmt87f1M3g/liEukbvehIetnnBBQMh0Ks2RnH1SPwA3D6pUFyd13RIoAtZwg
CInqnq2M2kDjgF9tEjofqNL2bZRdYz7MaX5RhZ50gS9qlU/MGTMlMKVQu41qF5dqZoKE6FsHk/gU
KSMkqJynpWXb93UQqQ+tCaR62RnIDmMkXS9DiY6oM126EYAGRpQxmwH6w06tYolbBM+gkZNKGqsI
9gDZv9cZxt5ftjnQQwunI9xp/ju6cLC2lB2g6vVVfwZb/FyruXrIrLp6CBy83DNn1utJji319l4j
eww6LNgJcQbFqZ7Ab9J9ilr+W4tVZijNK5xmCwMDSVW91wSfY61tbRqblneduWJ1QCYtxj4m81z4
FJboBFCPM3QyCiMSkEOTv5DFDPm8fTCdej+J1c2ob0L8zJXxi3gsGZnPWdv0n7Tzn5XOfMWbV13B
LZBbOQH2f11dWVwMkI4cddeURf+gU76K6q4leZcUv1/nQOwTvseIRJxaQuaFR/N/NqO53ndmFMnt
l5+y+6Z+gQ6AtXs5gdLakrubnwX7pBHK2ReTOjFtHcitxVJTneg6b2gDB/tWs78TmPBqr/SPshY6
YOWioSwW5pccyRyzk+bQSbt4GwNXoLVMSoyoCtDV2Xibxq5yNn3rA7EckcYOxWfR/NRz6SChsApE
FGq8bnvlZJc26fS2l+GOSkuOyq4nJuD264vw+9TE6ZRZj2nCbIKeZ7hV0nEpG3yjMx8dJf6bnTTD
vWlSkP8Fz6qQV8MrTGmOSBvgYtTDXMWG6h+IjGRBq8nHUaM5arA6PkbkBXMHMl7ILUh3zeiuSW+X
AHUgX3glrQ9dfKSFSR/OACdVViPltnyEINrBUvOi4kE2PVk0ZvuaCTFckUOQClYX8tkgTqIuJjin
yOQGQ0F6AxJkHLDuXaBPObehCHsIvE68F6ig1l7ouxRWVXhHExVjJt92OZaYtoXl2oSYelrRKbtA
5trp1+ggMSR6eUb2WWw067IZ4G2Tx9gRkpiZJ3V+OAjy61hAl6v5YvUQ31vVu1Yq3VZ37WXmDz7x
j210VJQdgBf3vqiI0sJrk5IE+2OMS4dFZiSGrd9yDoxAMuFEi4+ibglntyr9UjvodXqIm+uy78Wz
0lrXLofVGnCGtU3YXB1um7hlL27nTuY6dADzVwk5r8V7zxCsaiHxRFz3j/0kbXPQmSuB6RzavNZ2
klnpssVkfilL7+UXOthP0/iKxzZCkQrDkkQskxS6Ql3aZRqcmzEUO13LIG31YwFEtYeUpOYNEbs7
FSdSvuwcGa9zmLq/TLsOPDBjKIMHpZYCTARpQm1rYzBNIUeoEB0ph9FLg2umq6b9Omoo9+rgs6ce
uXScDotVIvc01f3nTh2QfCfkg3nKC8g1EzcqJmuqSlBjobDcCo3JYJB2KKyDmEGf4cWn8AIL2KS+
3pmcqILe13by719QVyDxf8VJ8RQ52taBj3mwBjFsCvoaO0CGdPBl297gLmprJYqKjT+D4SMPvLQf
IkCqtJzzIiFp0ySje936A/5up05VwpOs505nMIH+gB1gHmQd37wZe4fzaDcTvX9vwNlYWzUSH0GE
sj0zDLJUM4C24AOgdRKLki7+dV6Jqf+Fo6/qwjIdpOGW4xD644o/c/S1ocxNQZtw3aCcPs0IDndI
2lNWOmf07m0QZD/SwtKX2CmbC3s0N3RXbWkEj37iZ9dRHsfJKUFXWt8SPaSenKjyFlLjI1Owqu+6
Wnp7JU+u2cRVCGqLQNNOoZrqK9rObzh09Am8JWTMfoV8Hyebsdftrtiagmm4ZPCKoiaciG54vyU9
fw5H8Uz4YxBHEPf91NoFQdk9/uvvRUyfO08kHY791z/+ZquIkxzsTirzNVdVNWH9+XthyHfB+pTD
qs7gnBD0pxQ75Em4HPxWXszAUZ5HSf1sSExGFD3batNtq7DrcqOgM04rKqBRLR5klVbLoSstAGUY
GvOcVaZfjMN7FGP6GGoizejo60tnuqK8Hv6aSfrcSjPzakuhotlaHmcRahx5Mu2G+l2Ndd6Yprxj
MPzxNLJSbpE2niMcORSyzvq0iTW1XAdtzIijKUDiANBcc7csb5Zq6ceBXjCMf328VaXHQE5+yPzM
6zr1pqT2Wo+T8sGFR3Hr6ryiUFhpRxAV6i2QnkEKKJN+d0BJNM82egyluKON8Tw/rV8SE7Lrvz4k
5n89JBwRqCGqKVDz2MZ0Kv/4uIaZX//jb9q/B0OE+DwhQFFUG70Yvzpd40bVCeRbQH82aR4pL1ZD
LzN18S8ElYhe2miv6GXwnKAa1KQ8mgbFK1aHhTzWU12N77FZeafZEtK2pf7LHNJNDhEjb5hfEb9G
v09xMDDXyLpQ+6Kh8LxzUDTNCxmOmmIXz7Eq9DvPwKYmdfHsk2aEXf2sjsadNPLgsdWTt2CoP8eU
87sQRGu6FMafYtvyz225/dff0vwt/OnEFQK/qYFWSlNdW6h/OXHrOqZdqCn1iiIb2tpQjTjBMlix
dW2cm8plfAKHsTECBepgFNh7oGn2ktga69m3CfwKFbRpoXDS+9HxPCoQCfNzFtX+zipsfDMhAotG
f9KrKnnwY2XvoZ+jp9LAgNYR88G2qh8x8WUbLSbVO8NZc2DGoBzaqh5XXTq4v+LCyPryv/P/NnHp
r1eqsHUIQMK1LMtVhfhLEkhUMEE2MIWvrKGPV5GVGCfbSCZ0U0QwdOSV+94vnsJAOu8slPdx5ziI
j1gguHF4Tfo4m05hQDdB05zqDrVRFVbUMOfn8yZUBV3OTDgvpat9ZxiVrmFY6wcFzcRaR5b7v3yi
+S/+8yG0TRzKpi4MW3e0OVnrn070rHKGwbRMcDJhgsG4cS+yCfV9lBf2lqkIeq02ILw5SzyGGzJu
uZbvui5fKRMw8/em6Jx3zKnKkfwCcwtLpSWOETNfDSAIz7511CIZnDkzO+idJAf1oNarUfOZ4FJT
CWpTnvMmHJnyhxfmKtUuGdurGUiUxFPGg0LI+1Z0xWs8gaBm6B3M0V8TprzpDbJA5aIUkfPu2tiP
Heqsuz7PD4b0Wa9aBDa4IE33+Dzz55r1KvHU9I+QHlFMssi+6VuqzhQC6R7r55EAmi/qwi+aN/wv
9xVd++uNhXBNk3IyGa3Tv//yfbtMvmKp28rS8ghslwpdB4ndcCa4qJAPjmi+vlglYUsbpIItsRxx
42n0qgK9hq4XVTtXpRmRuhwINJwawSlITMHNgdbpverDiautat7mUXPeGBYtmkoXyj6qovBRgqY/
1VK+/X6FmnvDotMq/9CTVMVw1J3iztVPts08sfbM4n3wVIIW9eIqB/IDXdNbj2msXpSM6KsmGQmc
sb5nxKEX6+au8opxDau2fCPd9LnSpPfQGkZ2p9dcpcO03/EIKh0h9h9KpT4Y0eTCuaZhklD3V8sL
M+aN02ndRqiDjpIB97Lt0YApdCJIpk1sDgpna7sJ46abZCEr3wqPRd6RQsPsdoMotTj08eSeQACy
LOvU/3CVbp0jl/tyhvELyH31ZLkFgDOrDY8iUrOLhtd1pQax+Rbr/h7qrPeV9u0L8YT9sx8CPopH
u8eVnGy8xNLvC9QfLY68A/7V8OKrPi7Xoby0TkjyiVynpp9/w295b+HyNqZwd/DZsftMGM+AvLLW
517X1RnVJSnSbyyQlmnluDLVcWfb2LCMiaDWMZmpp5Vtbtr9kTBNJMeN2qUfHmuVteOTt+EKkK/g
HPkQXvrROl4I+OoxC9ME7qIaH03Mt7828z7hBrBm4BJckFVdf7m1jCpCiKvxP5MwpYskfE7JyF37
pgjPneulR5s+NLNPAqC6IGHx3PrN12DcGotZATaRr36ggOZaznM7qGJV1HpCy7YOqKdG2pZMnvZh
BGu1pABO6zqDw9CSvdB1kpJyN0ACc0frZbDTZU3UyGfsRqTwJG36oJg+2LjRETtXC3OC5odj3CoK
DfPE2g2m2t1G3X6OYtF+DszUKEanzILCUj0MrYI0nYnlVMOpVrBtOJ1jSzuFHm3UMWgu8Qj8b8gN
bWcNXYjLl+Ua0CTrauRGsxRjbhJlUBLzm/ikGbU2LaQ6aeGQ04yB2rSiQt3dYZ3Vd0X93YOOP0Kj
CI7FtFGAR/HNTA9V0+Dh/HPiVIKj4fY/51H4/zMsb7L4/sfffpCQ1FTy+u0T8fHPkZSaSQrk/5xh
iVk27z7K9s85lvOb/six1P9uCUu4jtBZkdi6/jvHUvzdMW3bJGoO8rHrmOZ/5lia7t+FamimaxJz
iabjb/9W53OgpWn/fRo/Vdu09CkqzHb+T4GWpsb//qdFgU4bReVGj+uOQoqu/2UGWoy4DrqqoG4c
Ty4dr8r2vlduhygSl0LD6JbTtcUjP3H0KohyiX5JRU9KAFDMmGHc0ACaJk4XLsc8TnciMW9hHIlT
33avlSwhvlDfXQLGcnYt93FcUHVzqQ0Hq6xsjplS0IxmRrUiqyK/0/n9dGc1l/s+mmZnpIlPQ/Wm
xeOwSEvMMAgpWT8OobOnPE7NmcX9fkOL39mXQ39KkC2ISvZHS+k62jb0RDLaeetM0jjuB4X3i0kA
rkt1l8Y9vgGSrkuV6ptH8ERHMxpylNN6B2Jmvin3Wou4LIlm0K4JlPzFUMF5C534KMdih73tOfay
BzOhMc38Yxsm5HdToFpWpa8uSIDATqQ5q0qn+dTx6rUVo2xtEB/SycXHT8gRtvTy5PtWuep9NHqE
GZELqGiPuEzQJTdvftR+Jar86Rv5j9ZIMRuSNuwGuyyPNn2an3V4bG2KxTsY8KrkT3aHTCBxnGc/
yp+K2t67dvsDon1G51PbJEljrWVF6CWxzp0q72n20iYlux1twqsXhteKziZHiP6hX/4YGueKoqow
NUKxQl44IFRWG2ID6LWvPU3v1kyr/4O389iNnEmz6BMRoDfAYBZ0aaWUS7kNIVOiDzLoyaefk43Z
zAtMo9HA311dVcokIz5z77ns6Nlqlk+uOV7Y6F1ZQcVz+zoQ5eGPVXKZ3Oals2GLpM5HwUAmsGQ3
sK9MI0Q9IEwr5m22UD5BNNv7qW6f2zw/5vRKfpNngnwr85/VaPadVJQjDfhzmd1MdSsIIm9BtO7a
iha7tUK0pL2aQTkOuxobQVgn3B8Z+UXJLSWgkwtMZ77XWWIB1oVsYaTBA8qwk/rdmECYIRtYKuOL
BYf71eyGjw0PgWN1j1gEnitSDPCUY69gPuNMtGOVTjTV6oIFQ6IYmdgRN2eryUZEzwl/R2Dtwvu0
mgu59xpLhtwDu9i2/bWSdF+FRWIepJ2fBG/OMZXT5lcQQ7OUTkYZibNEfsqiPyKqBke9xgpQYwtl
5BnWjRucGhEpxMEuQMN7Wl2PqXbSNn7dT0NAqZkr1exrtLrxuNRns8JUNauJEbjsfnyjcT/dwnFD
8KtZOKpGLMTgxRC2Jz/X7acEuIHWgYlJlwGFaVmim01ZptYk1y9uehED2lckgfBz0hyJU02sX60e
bJjFR5FU/zLHfiyMHPhPn/26TZPu54IUKwiF6PmoQTbN84vOgHJcmu99uzDqnvleqdUXz+94IDKs
NkQNLnFhohSx+SWROqIiYa/jWzZjzkJVFN8c2g8JEh3YntxXudYG6OZjLOHEyFUqunU07U62XOet
/J2I/Qosrx8ZD668Ce78wC/kOykTNvgN7T7sXp8299+KDAjby5egcAp5FXROmuqi0hfesOhMOnRi
JtNO33GUl6TivHXNgGGcgF69fl8WloHjqFsQcCyOU4VtW0k6WUpwIT/H9+ioN1N9PR893fnSbsGx
TjaTRAp7m/ICphRyr2AsoL9gRohyZaNoQdy701ojuwUWcZYhbti5FbGaMaKDGRxCeUawy75tUv1J
mS7wC91gNQZ3h85o8HO88i4yfgYD5p5spfLOcexoMZAlw42TNpXhyiFqrutRz6FK1at4vlH3nGLk
FND5+PMGv8J4GxhondyRuunPPY9SbjLe7IkqwqZYhm6DTbDD1MUWTd57JaGL7YqqFKxasGgon6TX
u6gaYHS6AqOyxrE/r+csEffl/Kmy04ImC0puQEKtOuVjrdEZ1glfUZIhlm8N9wmZTHaRvYtewvUm
AH+3YBVjlMGgqseGnccRrABTjQ5Qv0YnWCUhJMWPQvYMtL3HbUO/klb7uS+9fWuVP8ZmnhkB5mGu
Z2Yoyv4lA1LA29Eh+ye94SF59NInvSiS/aZymhvAa6QzHRW3e+s76J6mdsaHooT9KPIQZa3lz2iw
tmq9txrxULkiiRmMG76zseIUeFtiY4831mSx5rvcrylfVcgSASU2a01LZZ0EAAfqquETMntZe/CC
C1OcDc17Z041zNato/1seXvAqyJGLsNJIfGCf51ntzk0DjoSVu2XTHXvCnP+ZR5Zo7UMEwKgAo3f
nRkdVGjWctjI2HNvY49io9Z3tDwHKIbOzlq0X2h3FlsMA6d1xbMkiGMMYX5w8GeEqvbINqSaX/Ii
GSMQ2relWsktbBrAtlXWSMRycs3dAj/c5Tvj5+8SZwuXlAj2Ip3ivMaGNmMcG6ox0nuQAfgmQ7Ey
cNR0GGFstCBs0WOLjTROs81fen2LNA+RMRvNFslHufmDDe0VGwVjC6bYqOXsgLcOnThCig1PHoTn
XZnaLGU1dks164RB2EEyMCdoW0R5Boz9pFLLXc24POyIsZ6aiUa5Q9iWwIcJ6Obv7d6Vp25+Q5Nv
Pm7ulaMWs4nkz0KYUVGG8K4y08sijQSrYLORHWg8vsx3c5QRc0n+HscBKNZQr5I6QmxYhDmsqMBL
Zjj/KHR9Wlggj1MukBBtfzpWIExTXLQgPEoHn9PAIVRo2U3wwJa8G8EV28BKGFqi9WnT9TTJpLlx
0Nqg9cyA/N3SdzVcPikDrrAeoEaoOo2wqr10Rf+b65A9yNuGzmzmwVQl3b0zLS+JXWCM6lKU4m5K
yocdVtKKtcL7HReSUkQ9JTw9+fdQqZ/NtBImVbb9A97NY8bMFLIcJVrf/uCIsgKna8g7ZUMpZqUA
YCLRuPLmd+ryq0rL24+atl5qy+LRHVBjkbm8Bhss9aRq1Z3J+jyolpIXaLtPOzRSSqXX+61sWmCg
KLfHsZ3vigERppVDvBDpvdKC0W/1QBvCDjrQKUutSwuPBUo9S3QMH3dt4bxVBNgdNtWCXSI9hSGQ
9bIarAy18YHVxRdWtTR8XT1UKvQH4abb0ZTrBcIsXCUecZA0z9i5DdaAKUdEjrgGO5a2q/PiW2cU
6M8euUfYJpi6arzUm6c6oTWjlRnQqwWKMXIApiw9pX2LJ59/4JphddGd05JYfxuAqDJX7jfbvC5o
ygKlTjOf1ZTqS9lzpQEfBWq1K3PuKMP70hErhzoLr8h2HmWFajXjvvHIxBHgQfsU/pqRq8BFnUeA
vKjy+++e1++TE2jiHX4lrQhMla8Zn4sL6fT20V4ocwuVgJrsU44vpFFl609b31nWpakevgvzu6gg
Kr3P3cNWqwGIDh+L0KAFghsJtx9IJ7JV5Rf+U7/BXVXoP236CjINhmA0V79SP8zaRSUGwwuMOtb0
MpjYHSMgXSzwCmTwjkwcKh4cZptNRxx7agdL5zxsmbtTEMY2RDobMG6Twh/U7dC0xh0aP3aH6x50
PaI15Lneu9KC49PuC6B5/B4lgCMVfwLbRJwDJd98wz2GhPDUg/2aVj1SCR2zdBkPuHWc4mtYSSTX
vBDLMv5uNEqpxOT4Sbj1kuyc9LsYObi0T8Wh7uwfyd8O9Jy6q/l21TvpTXukEfJpNlpqe1JTBkJ8
JDnnwGVsgtiSNR5asA31VUxpYNaIrWhPILZs6htcIxjU5Goo2RPfVDzgthdpeTdWAJbLIYg3QjsB
tRCqWoyHouRmvl0POcr1qzPeGEhm5DrvYp6xBy28r7Fs/1Rkc2AanjBrxgh3Ik8gMuaip7ypxBjy
m51qZdo3VnFEMH4Qw3ZALRkPFHmZvYXucONeaEFBDLZNyBksUUYy8klnwvRgokzw5cTANix+Wmg0
OpHy8w5QWzqeEWgAmyKtektDIQJ7DXUnbp1oKCrfCrfx0BJkNM2cTNeEXF95q/oM7cwwp0PhZodc
XWeTNKVPsE9MsrHZy6Aad315RDza9hHsIRiWQXF2H5Hzr5GY/FmJvOSSand2uV9zCjmxI5ixVPeT
8qUBJ1DvIRuiO4GBIPu4gN53KgGENMWB9B6tj1x4AtAOIfH6zeuEtjC9Q23GzekPyo72w0+o39Tl
qclwttyxzfRz56UpjvV8lnxOpjhO7B+0MBV8+IEF9TQPe9sfllNun6blrf7iYemYM16t9oWjtavi
jNFevZPl3uj2pDAin+R+f0zKY5Ult1IxHehkY8NAFHxGuTPXodhid7uo1XFLkXOEqb7ruKb7mERe
XAOO+a+oA0PnMoz4ylo9zBTcqPQSQVoe8ifqx6EO0D7oknzIW05rZz9tqKjBmuGUsOABn+WXfnSJ
EnmuHqYLpNjug4M1t3zIp8NtThWgieaQSNFpuycb6pG1l10AfYG0Ng/Ircq60y/Jutp8suo5rtHY
J8Bu+LRC83FsgxlO6IhMb4kW784BzJcFrD/tYm+LU08UKTWuFa/FoVkj2CtoNIrJ454OZ3DI2pGF
CHNnHrxtX6N6b36Lj/bS5HicQoRbE3mqvnllpWuIF94RXMn7qY8sE3YuBlsOnTNjzdp7Visv4A9j
ihqW+pHHSvbfpbab53BtfltubM4OgANEAYAPLcXfzPcF1qA4bP17RRZ4rR956oAooREPkm1fVs+6
toM+y4M4PNgA+IU/fkLULiW9UczzxyuaDe88Z2wTa6zjMTNwYlzgsiXioUaGvJJhzt9GnObt4Lgk
RoQ5aFsZFMtzfd93Pob3tXzeUD7DkZvBGp1GCN/EHTH75d9ix5DQu1g/eU5whO8eQRpaFDiIHmN6
WhZ+lPBAhOE72uRJG0/u7T854D/g1SKIc7H6cfd/3SwlWujWUaMe3OFJ+SlrcJ8fQK4o/nBcdzI0
HqrlPmUZGHQ/QAEBsGGdSh1IymjNowZxWRKlZJPmBGfsF+W4ugG6Wnv84j1n1ukuRC0cmc9rKTLS
PdCMNYfFF9hLJIhq2BCak6t1maAeojPXA/Ez1E+uBS4r0rMLYTB4caR46NKwZYluQeAIWhK/wvyP
s6N5ReSddrFK4Uq86BqlmCZm8My8FgGbQ8UIYSG4fPv5Ie3PtrgnkWT9WvUd2XFVH3rorjUO96WH
D7Irh7gExQpBaKtjigzPYpIcIF7CKQKbqY8VK9L0UNpsAKhLzjZu8GbXMBtfcE/x2CtXw9sxVKNw
nbrjkAPDilbrMQdWUsbQZQbjAWU8siQglx6iRzWuv/jiyvaEJsKJmeRG5VO64N8NmYgjldz6fUJ5
tMW2Qkw4gK3nlr/xivcIq9ak3DkZ2fO0oSEiz4zDgjXWjS6HEnW3dq+ee+B1t4ezrt25YJJ3+DA9
eLDwQYvTrDxpnNVZ/sTzI8FBjcpDhQF+WZ4941XXX1wEw2wa8GQf+teBz1IPjfJs6juV+yADWBpV
JOqSgDieuSF4SZlDwBRlzFN4RzICuw/Vvi8/pRFX62tZRQ31H9TSncGJ0oNIB9z3XMs4aTBahgkM
aSOlfzhIBU6477xhUgJA19ucZQy4wxuac2/0J/4J20d2AaZiC1I7gp47Ji/CWmNtHiBXTOYjEXnI
ezLk0IR0c/eZe16NVT8BSiTNgzMDj8HA6Y6J91P/symehK8PYTPdgSfLLkQedAy1KHkD/GK8UlQS
Lb423mA6W7JIvN8BgnLx3BWBB/MVVXPpo49WDX94Kx0qXGywWEQMcJAh9vaVUKzQKc9ghtE08rMr
ygU6HFVRT1pjHa89hOtfy4qKadf3MR/vTTbh+jG3bgYh96GDMdIgDdjNI/wdcjHRc1eH4aHUD+4S
aGhp78Ebeyx1ZFRHrDeEtxsoU5Q3SWxhctFJK1pOm3Ik87Qw/6b+gKisrojNiAGy9xqxU1GjPVKh
U+zi9PnJzR2vmbKUgSIufNFJHfbJM3dPz708RAyC6cGZ3aAmz0JnOOJvVZsTl6/C9eecvORuZnje
89Efiox4s3P/VmC32Pjf46k7eO6lfEvUx3BA8N5H43YQB8+Imub+1lba7GlZyQwQu5HgnfixFSAU
2kEZj93K8bkziuvK4b3SMgfLD69iO81+42F0ie3iXslio42WN9s9ARG6GbB3S3foN2g0V7LiG1D2
yu0H0oYonb6RnRm8XRA2AJCWe05rw8NY9dKUh4T5Vhdz5OpJxI3N7T1PV/Ti2DNhHapdPCmkSezH
Ll4gL3IW8UcQDIjjZYiyIrYSDtI7whMZoLAH3HaDBewbr6S/OHfQuXsGOeaV+MVvRn7GRt8fVD/c
uSqZWMgfBYHJaBl8jflXHSzn6oUpDKcT7w0XLW8IFYKm/SAmCMR8n653rf5EFQst91lJ8SgCGUji
sdoJa68Boh3f7PTw3bk0m8EEEnGJJKM/hIWM8y9Vc5isi+2eW3MvP9WUkHH/hniUV7ONtf454w8v
L5tx1S1gvXHJ4cXkNFqNo2ufGMdQrv1o8m5xAFLcU15Rm1Q3A7lvz3tenHy6tNwD/7DVuPKfzomq
Hca7NjY/KU8UXrKJleKZrzc5dumps87FdoIZhPBE0DzqB1O5r+nKGWq2J8B6mWlGdJUtI630XLlA
je6aimygZ6XFERpLaI0C8PLbRG00sAMHdRkzYB+ByTPH8uBtR3yijseKL4CbRigPJRTILZ8Dr27R
f4XkQPT7eiPW/jMbIsEv4z65Bb+G3Jz5F1nMivBBB2jaq+XdGTKcDEIto4koT98jyH04jmIHdA32
Wv5qqncUJNSxyLSd/p3Kll/FXwaCJ+fdhIgW+6hPE8+gwwO4DRoM97vm6/w/8P7f668mM9jzFJI/
zePW/VB0Ltr6J/ORhNTa/Ba8M7N2pHSE6UGoDKuUXr2oRjcCSo818wK+OWHgNMdW9UK+Hc+42z/l
X+vK58N395QcEEOIMBfh/Jq985uBIx0iHg/7y2lDKkG1DOvSX6/qK4Pno0vcJT1fTp9wkffOz5bz
syQkHzL9tFDKh9gbr4hwB47ae0pGmoxm17bF7QJZ2r3dnEji4xxd6ASfNM6QTQP2dYuIm6qDA7Wo
weFfNzJyzeZQUikkeX8wfMsBqImpDTeAflgUN+ITyzCIj96jwbxLaANGr766E1XLcf+gF0BT66RD
8OPDR2Yu3G+HlgR5Mpqu1F8pcbaHnhYYnOSdN/rtu0E21XYoce4DLjejp2WJtd/qXXgIniMdkTdf
Jvv4jcgsi1DmnU5V28KquZ0YtRJR4NOG650/vRf5U/GRuCGNoEMlTDELSsSIFfJ5MXLQbIWWbZJh
Vh2MEbY97yIuxkY/GH3okq3rcdYAbiPzD4D0BVSd97xBUaXhw0agh2v7AAw9KBBsaEbhF9OzM701
zButTd87+t9YepiscszSSyjHqzYV8ath/IAX5Vnj0LvPxUaUEzrZDu+idlohsJsXd33a8l2mJI9b
/9GxnlDvCp6oLFwSaC+HDeiUiw5S/LkkQrdMryRh2A1xBIKerXDA2FrsMtKqPoQqLtKxK/xemUA9
dvdJxjtLlkPqpDhQA5yb4/KBQ5FirgmcVfsevft5dl4kAdisQ/1EpYy8dNUZC+9gRyuFam5oj1ik
Hg2b10fNw2dM2+0YoIQ+wlF6gWAfYgU9WdvJy8eIyfRhXItzKouL1rn+BLbHWronA4IQOjqLw3qB
cDGhQWW0AVCfWoC0rPsUQhrfD4nNsKIOiwexxhkOw3qYe2Gw7tpIHqaitARjna7EVW4sq+YD4PtL
iMyKq+UJp9sQVzJ5ymuMlDqTMMtS3r3sY4CUTpHjkddHdBB7sDuQ/p3PtgNieKLyMt1clEM1Wcdl
sA+6zR42Veq7dpvLswSIFM06HGG70FuUcMWf3hpO7LXKl/3rcda2hY4xdQK6q8Gogsv427r1aerG
h2bs90qRXQfswAGRJyRLr5/ET4KiEeqpMBz6wpZXLuXEkZ/I4mmGiDfbtTqph8wvGfPfyh+7PjXL
zVpGsiSihC3D4Wp404bIrooY8FmnzWZUaYBVwpLcsuPJ/00oo/zSKq6lXVmRURD62+t5aOr1s62n
D6nyh3bjeiOLZcZJtOPdML5bRv0wjgtkpM2AYso4Z5L6bvScBw1p972JHZ06kUyNTCjxWJLBZW6F
QcvDtnUQ3rGtydKFjcp62cYgawIwphXlmJcNRVSJycsCtxNhFE6mwYscwuQ4x0jAqwncQGHD07mQ
PVj+zLXthjafBEuyEcfyb9bl1mOfARg0hM1CF3EwIvorRLqwHfImGOQsfM0q95t0/pVZC91pTYNh
rFL2pXMAxAi0rkbIDQZK3O9V1viIjK9FywRVCrS0GSUSMhwiP7wOex2G6tQM1c57cmbvwBKB0BC7
PkymAx4ty968rK8pJbjo1xL6mTF0NdX4BF27AKRBRuuqqLjPa+ilns3agITHgg2O+mLBzPeN0TLZ
LnX3m/fRGtZPPRD5ZeIgCKKuLM6ewdxbYTEHpoYRqChItUqMT620cHgIRleM3VnatJ9bbnKFeBjQ
mgT8MLaZvWynR8PMkOBD11Aqlq6KZUTZrV4z9G8rHfZ1YQJSW6nvSg29PPIJ2N/Ms0VG0qKAW3+c
mFUjOo+rrHzVjOaKijOaXZMwAPgWPhIrwpGzkVYORLpsPKZ9Tf/qEq0bNA03BsNSbFvZUdrYYTWF
x3l2X2dIdSzAeM3kaH3MbnZIDPUbdF5krQptZaOA0ST+S7E2btBRYGZQiHFxCxVBk3ZNH2yF2CGx
lNQasO8hvWR8ZzrXY6GCJVBqvIxbGyfYrKwyYTZcr79VB2HfGsojgl89LjUHQbVT/5aVJmJngfah
91mMUqmFgUMiXD0yIyAjzwLWMFyTuXOpFxM6GQ1Jv+WGKguYWHNIU1pgLA962A+ViHGyna3bz+4s
3SdWzsjpCu7iBtKoyzVXTjVuWDKXaiNOPS77xs59DP55OJJ9pGeOfp+4698o6d5JmOdmZqtsz8Lk
+FtYK/BhJSgVFPYPKweKnQ3w+Lf6s1euOsBsDrk/O+8OGu57cnskGYceJ7sGUzsjTZVtQ7Hr1/Rl
6SiTu+Ji1joIq9TG/rCxQ++hxHlYDFSm0jGwyQe3Wi+ozDvo8Qx6ubhzaEh74xHHx6si7AuZANkO
VqxFzAh/palbIqiVBztt6tMAiATm+g7vd8ZPpt5bU8ooZS3vYdf8mQ43x2CmUQ+40dqKU+c4PeTq
XMZCqd9tAhw8VvrJar8O4AAIuaDko9RvS06SjIW+X86MmngLfRvXH3HjTIsdx42N8SFBJh5l2W0O
5OS4P6iQ6nXFjqo8KLJ+T4qFeJEty7kAqay9uyZRE+qxvgsn4Pu+3ek5U/P8jGGf+Q7pA0Mpcb11
fRPUODNu+PMklGXMzjO2BZuhzMreLed2amu9xOXcXbcVijG0d3Upn+H5NLT2DHaNseRtt1xO1WoL
CskdqNvzZUtsxrGzeN1u1qp0Fa990zAWZEwzmuS5E8timGQKzCuDI7R7967NQsPQciM0GybvN1qE
3Gibu3UI80x/Vjzlc6B41em6E0qCMYdsQwYj6b3ma9MNl9nQPrJh/LKc+lioPbo46qHahBhHNAdJ
cudWZVNrvHUWE+AOHiNONcgiiwu0QXwY4JuwCIvPsWQoiWTjOBf9QyeYUJVyILmmvRIP9/vlquJT
61a2VNqHyPKU1tzjmm3Lt6Wk5ScIJRSTWfkmhRq8INqtkmbbbiRC2QnV32OyGuTYSJDDqKByVVTn
OR/euUI2qH7Ndz1511SXNxH4XTaAMVEbncF1jVTRVtk2m1bqsnzPDhphJr5XO3zZkzg3Ru5E3vo5
6oTEWAQXq5bV7ce5Ruvt1hfy1kOj0fCR2963GJAfsrxtcOZEzdz9rMk8cHJP9NDFM3vIxxlag1Om
Cqgc5nsSy0s3m5AsB8f2hbH91Nnk3pbaYY3k/UDCIyrZUjtoU8I0yBQKWTXLPam2WHunS8mFEYLi
YUsIcQ6dhHX2rPZnmZND1yB80iVzrJo4ZafuYVzx+phm1kGDZ8OXd/JBE8PDphPzpPOHWoau7EAM
MU0a0eKz7Ut7MgacRtvn9El159J8bBgfRmchljgjh7jOcF0lqF14v1bzQeoJrv7a/kxIx54MLHVd
S2DP9g9Jhc6ChYUFuioCiPxVlnDWjA7/FGseW0P5g0eR4M/qGfUMI5ISQdPkOV/1YppYBWfGemvc
WY1KPA7tBkt33KzOL/wvVAj8JJJoXtaBeKjK0Nas2R+cmUS/DDt9bSV6CNj4xUtZSwH9/p4zsuGd
UXxJxEUR/trWJ5g+creelqlnlktaBit0TrcFq2bUinVifSJeK0c19rrVvZhywsiqNDc8Gvek/FFF
SfIMEacBmsE3szNPWWGzKtEIkRi0YTzVtXeWXGl7S3SKP89iRvWAE+vWuwoVL1OBghiEDFeiklxH
l/Ad9y9JqyeiEs8ARRGdODgMl4GUP6TgmmN2GAYw5WkdTIeJAFqTSXPF4sWw0s9K/BLiWFeY41N5
xbsObUPKJdIho+5G5dUpmVmqusC5P3BtdyTOkfBsu7jCub+KflcgAUdPtAcQJII5ywtcuDO6Eujx
lEZZuqu+zdGuQ/Jx9ljPlEAl1lpXjS+XvldXtDxaNt5do7zppFJ3ZoWC+XEGauNl756GeLZZ0t/W
0PjyU0NlgWiOEQkfUK1oasjpJFoX2IpNaeQ9JITjOl6qsQt5N9dKi1iM0lmaCYA37JkDMAO1kI4P
LlYwbu2G4dt6JG6ITibvX7fMUlgfXlwoAlWhN9G26OzM1SIutj20b57IZfgoTcHfInH2RsH6r5ek
KDuWjNaWeZPRXaelP3c4fYm9usx2dkaa9CuVIZrhnFTiNAimsdJkUpJa0+swNnmM+sBfUvluuFST
W6kPAH7egZej52FpKhnfoj9rGcMlTgQVnNBkQn/XHL9gajopSihpBw4fV8+rV3TkUwymcdeQWw/X
h1GBNRW874p+uAWBbe8auOeoTxB7teUr1K5Grx/TVWXB51js/we1p+g1DtK6XfGNWsXQcAJslayD
c5uIGSrXUuCg0VOPEee2vWzdci4BAoVaS/Nc5ObnYtsRjBjy0BCUi6ZluW5oEDTKdaeOxvO4Trt6
s8FF1cz6x1w+r0t/bWvnmOm0bIPJsqjWiV7DTV+CNRWNSiBE++aC1dGRVvFA1ER1p+tjkqr2oSUQ
FzYeVQfcZymrhEXLShojw6B2oYOeZ5oJopN0ezF2hiYg2xbF/dR73FUkf9UKaxjLWI+TMnaYOCqS
lW/2j82097WGQGbgZgj7bvkZpJPskAEL9k4eW5pb9K+VohhH2+REirP9s28JioljHTRAEXulq762
qfVCY5ZRqSQH1Z6sWNWA5CR1R+y34LOWXaIQPmJ1p3VR+njrkvONu3SxbUDRA3nrjCGy8eQnCA3p
z5YC/T6ZGarjnMpBPJnNdrCUvo1M6FmqMgOLnatbH37XaxsT1nT6QnjYEjwEETYbiUIwZmUgYREj
KG0tITilc04zBnQoDB5M/P1gO8ez69X3Za72xLjmCLLsmZlKY+0GVLiKzNKjJPwAotaPwH18hC0y
74vVPWkAUSDFesWeEEJKgm179qDpx0tKwZ1xpAetsQQob/s9YDewv4s5HBsC4HzdLKunzKPXKrIc
q74XjNU1bccwNcEpk4CxEViJoXZqimyfMspo5tZ8soEi7ZEdl349GaFwhHJnpKsXux5jiSqn/7Hw
IBN9Tk4VyZnMXpBNFVtZISfWo8Zz8MCx4WcRvnPKeb20t+dbcix1DcZYzmuJ7Z5SUU0Kmi3d2P3n
jxDkLsdWzjqS5tGI6/KsGObG+LWQflFqZdz3YgHVpn3OrY6ju5d/Q7I8IdC0ONe4lnA/TrHWlg41
b2OHWETRVuHF5a3ksNJtbWTipANaZogMTCWaVBK11no5knbqHYTTYQnb5IlMizAdV3z+LtrD1oF4
VlVOubcn90sm1shhdcvLaNECzmkfNLecPaLfoF9s4LwcfdrjP6c/UUi2mok2R5mNOV6FhmRM5Zdb
M74ttTqN8F7NKsFmijqvh6ZJ7lNrYxVZdkWsQ6dHbIQUClPW2amzw1zM1aG59WPTTYK7DgZCVvmp
LAgfVkBx6BNX6hE90fY10cINBKSo7EkvzHtvia1WiEhZXQS8FcxdsbBGs3PTeSFdBD6Jd7Qcc/jq
x3wn52Rnj4r9ZRuMI4RufhnIEeoOzVhv5/PFbYv61KbdwEcEOkorzdNU3RL/jJH9NeMl+I5skT2K
UocR78TvsK/6ugnnzeW/y42XdVGn51wse3T6VK0Vkhfe4z9nZXveO386ivS9OezVei4ACQzftuK9
eTVzwkp3V3TVxguMrx9sVXE5C8xsqnOyFkAD3F/IqnNMieSPmBIoinTnl07Yww4B1mVEJKCmmIid
YX7vJNg33ckHvzYdqFqEwJXUKmiNGr+HL0IOIaSkhXUeYdR/titg+A9LybyRwqkZm78soUVcOfRi
PD5mrryZBMNRS9dFlC5utA38faVj1oTqoP+fPHiR3Zwe8vZoUPsHht0cPZuaGC6QEeYLkwZQf23L
Mq+aUwkJGK2eDUnhhuxItm2+FCb6JMfpfvqM/23yDOYcBVA2NyPerSzGWyOjCjzKZuyU7LRVRiAp
1kQPKEyQzoq3UxLnRIMMVsw4OWa+xl4Nr2Hw2JAUi0Z/pGXsdnppBs7GllfPybpekQoPJfINtta2
10wXF9eTobJY7UweLUzBPlm0PI5W9dYn1X4kaVodYZLWZCviDGMHPIEyV1Ce5Z31ZjOroNQip3Ut
Qy3j5rbZi0G+TPa5/WWptw+taUd4yclZrcd/dq5Whz6aZV3y119pVpL+4s3Jeql2dd3HiVrvTIe5
Kcw1JbIZHiJc0Z2goU5j2O8ifknK8VxJGcvRePI8FJPKnMi9VNpDCq83NhWHpw/pWSnQdPd2dhgY
7TmsBzd3lHuLrClEGviubCAs/pa4OoI/D50xZGUr7dCgzCYTjFnIaJCbZG1YkTO1bEeR/hv7tH7l
MttpNwaKI+yb9hDwikWfChrZ2lcZ+0hH0JUSOUw1PD9O2vIiclg4njs98lujEtZ0ApsJM+XeT19G
puRY7VZuZuGlBAcomwiIl2dvsbAbdbMF0A/PwUlVk2rX9hwSg5ofunUSz2Q+YUMQD04LXK9E4EkA
x7sHGZ3legqHx2SLJ+ExEmnfv80AVBFOFhptXGuGWwGOoZiZFySdicIfjJ6PcYDaUEfko7iQnGBl
a0hIJiP7yB2CsJtO+cpGHlM81mCRDBPftb+220CrAdxU6hSTMGNQEmg7q+5t5CLcEgnGttoCG2AT
XB1OzvwE0d70haM+ke8k/SFfTkrbA7FHUAeHpcegjBsbu9C+x3M8NCuREU391DkJ2SEYOANrXd4c
GLw7Vgfq9T8QczPjA8tzgnBso17PG1uALa+xeyiIgQnN6g+Vy1YBbDTyGC9J4v9fS9jNe/bTEC2W
p9nQ//d//a8XLfwavv7PP0QUCcP6OP67+bN66ID//V//w9yZLMeNZOn6Vdp6jzQ4ZixuL2KOYFAk
gxQpxQZGURLmyQE4hrfpZ7kvdj+nsroyVaqs7sU167LMMmZMAHw8fs4//OBS60/+d9/8t2/vv/L0
12wvy4Eg9c/ZXh+XL9/ytOv/73/+iSP2/q1vr12PzIL9m3A8SLeYc/z7v43f9Guu+1sYBi7TXrgm
2gseJCuIn33yf/7dcX/TDG8/FB5qgUL4vPU71cv2f0MlgZcczxLIBZr2/4TqpTnyfydgQz/zHa7M
pWyEBhw3hNT2R6WBvku8ILGL5GCOY/Yd5G2+rTrAHSOKnPd/aJJf0NeFpqf/+Voez+pz55ytHNf+
ib5OIBX6meOnCCamqDEabk2pcuxMCMKYw4MRnqoGOTG0aY1nA6ljhdtGAmYO0iesmb++meAX90LE
LVxbOHST/9O9+OZUxhIR7QO5/X2qTXQsjnjxYo3rwAbHVMX3ssPw/a+vCofuH67rW1DdPR81O+EK
8yfNgnqqu7FdBpb13AznTR0NHoKKuQx9dBZdj0qnSFUxP8ZDZ+JhHyOoCww69sGTLf58CI2ItRjj
ELyoWOQK9w315rn8tFRwMkBQBal4mXgIwiW/cDIUMSN2I+mbRnhRc2JWp6VcglelKJ+cy9jBgdEG
iYztu+XWIzUaWz2brlooexdg8G/Qb6H45fqKEnhizCmwKjxhSQaEYLn3S6TdqCWJQywblKhPpYIx
t069HsdeoepQa0ZLDl9hzwp28L1uQkA6ZQejwjzP4IcQT1doDZcJUOeky4dj1LGGrwtH4tpQwdXY
12UMLBehwVTbr3ugGsqQlBJq+XW3JWPbH31zDg59jWr7h7ZCtxjlUMK2DVL44EwyCIdUZOawuW8h
JwKFD0bSQmZoczJvyS6DbAlGijwTqgmo3gdD5p/MMiMhaU1o5W961J055MetMT/UQuEbacwa7ZvF
dvaIujoCTXiXm9NBi9pTqTQ6ddvOmTlThxoJq3rGHnDcUQBjxzChRSFmqjOAkukwDTfxEPZPUVgP
F6YqxWjs6Dh4CjjAMfhvjMYog9Tp54Cowb4r2euvk9lZQI/rPqxg1Jels3NwdEbWAhFOcxeXBme2
oJaBWDcj5p6AJwYiLoCviydvPbeY7pwxmBFitJ0Uak5QJou7gbc0qy8xanndY4FRnL1hUBTbykDk
BsccKucJJUnyYm2Ggivp8brZUIKsrrZfWDb1G0oGh5aSibkfPCgVEAxzoN1waqNuK+piPM4Ow/rU
TLNHzFfk0l8NVq8VM6UoYtCQiTRxuYSiqYgKjZ3VeE6niUx1/wILFcDk1BmUt5XXR3O+mlxTOY+1
6pYH2NpTvbH6XhWIANvm0O6dOCmyYyGJNo/KMhbDwBGrDj9OXm4XjySNwmKTZlbwZGIU8xRRYvkU
uhyOP6gBOQzEd71G4xY5qG2qobCQeEH9K9nGmsn5gMRhSXYT1Yoerpude/dxBkmDRQoNnMcwHEp5
5n4x1Xb8waoejDQMkatUyFnjDRhPD2Mc0fqxX4Hf9WcDjV8BKRJXuaCoy+3QRRQBgnREhb2QThtD
AHLY5QuvziiFyRAw5dyDBLYCaU9bwws4OTtGOCe7HJ9YQPhuWFCfUrM5oLLewcQlrfWwOKRbQUi1
BebgdhObTwMWmM3ejDhnH5o4cYDrOLJ6dKYenfW2xBtyVXdkos+5y9TeLiQ4MdMLjeEbhhWu3LQy
EXdR66KC7RKHQZqc1Hx1ZDq0O0LG6G2STmJ9QjSur7YkmACI1DBvkJ5eRPIZMZcRAG8USmSf0V0k
2vIJKw8Y3lcTsSrT5UOeVe2paDFeZntAjkkOOG8bWS3io1sg0bnn1BXJ+yKdPI4XmHXCfUkCLw8w
tWjHxyEYZ/tTxFfdl1w21NHdDE3D3C2au3DJEB/Mi85Boomz7yunhI6YTPVuhp9Eh6OlUVt2vVfm
aJImj2yS1KjFUN7BHUjG99y9Vx7yesZwPhd2GQHq6j7pnAqIfs/aGIUnuCri8qmXwcIxpn4ArT/V
1ke/rTrIMb7AlnYBdCL3uWvVCKPGxT0Ww+fSSma5QeI4TI+mgxvu2pINoDWOHAbkkdxVlzbUVquY
aAbmfnRQxQVy2nEggj6H2HxaJ9opkdRSe49HHIyS3Db9CFA4bo9buxxm4zhOUdVTJSu+9oFnW88i
8ZPonFMquqqxccAbo3Dj3NgWBT7X69V6DHJrg/G2gaWmmKdLV3UYw/Wp2Xu71Gxa0pgWTPBT7fT1
3mFZr9YZdecADeV6WZAZh9eM36LAC8pyJg7r7mLUnzxAO+V5kCNeWqB83NvCxlJvq0S1TNSsDLhz
c7d0xkYgpwkpW7KKFSs/4+iGqwvMyH1t0OVfoqICPDmMynxh0KplYw2EIRT2ZLt8QPMre1ZuSHiO
NUqz3GftIjDwNdtYbAe3wJwet7qck67wQBc5dThkDzg1wCW2wiy9oothhbeI34TlkWp50D2j7Ba+
hubYjYxMv8QhyFD1HQJr47xtBw6WQNqTMJiOarJxBwlYXeNNUHkFnKR6SqqdYtrcxSZhwtpQhnvH
rtcBQ6xyPPv8qisXTNpHcoZR1MR0ZS0qpOuTiCNIWnrq2rKikwqHjvo4xCmrKKoaJLhnVdozarH4
xwJ660ZdQ68xYqypxyBQTiG36W5DUvDPVLYg2Fn4rFbU36rCP6KbhuLvkGD3TUERFch1PC+cpRG7
qYG7FjE+WZCM5HccLVuEe0cDrHBOgtg+1zGma6jSqdzeDRBQo82E0nIPsSBZooNPDE/FIgkkjkMx
Nlm866iJI88Q1VkOjrDGYhU7Hlg2Uo3BJ6in5ouHoeAVVZpQHkojE5xRI7sGv0DY8+q7QQWmsmpB
hzYs+y6wODzqoYS1YA3MjvUOwT5m7mFUdNpj4pJZRw24CezpXuFe1/bHGCNjVMFcyv0lgPMmcpcB
Vu+SoF6ewNqbu42IJaBqU3YWCOx56RIw5D3pW5bksZw9fImWCOuEAloefHzQTzidK+xJjMJ1Ykwm
e5gOTFNc5XcRfPuQhAi4AAfbH3KLlPXctk0A8ZONdxlp2dLVY3A7muZgBVT/gOY8hI3guJvXiQXW
3JdLLORODsTpDRjwzCrla07a1a0OhFSBb2Nj26X18oBJRuIldzUjkGzE4JelZ/jAFZUJAxfu+GSj
x50ZQnESTqqw3ExWgfJkU/X4gYP7ACbtlm3Ub7wqhh1HPb4GZx0XFWYbIIrk01iGA5o7ME/rXetP
YbmXBjewC3DnqQ9DHWvxPindYXyYhsTQKT2vG4NjaPRsQlOeBlAoF+Nj0CF7SU2OKiXoQ6Q0RnfE
FS9FmqbaBTP+rWSZIfStZ7yE4zUjGolnvWdg6igWy1lbSQSKfnKW14a0Mvqhg5OAzSSeoz7uYRO+
qw2FIw8svWjaG0A/Jp15AgUvzcZ17gBPRUBNTbBVUCdmjJRrP00fmEwxhaXOmkrnskTjwN9dHxiP
Jj9g82geAp2Hslc99YOkoWgKy5myEzsRag1z3tmQ/93ZL+WTZ+SDuuTAWOQnpKfNO4kGULSRhozH
D02cEYH1saLGvoqz3CZPPKclWf0onn2sNaIG2mUhogaCyVBzNLDqUWiC6Lh86LKqjI+52xZ3TWN7
xUaAWECoAj0yxFeRcgrYxU2X1FFgQelP6tzEQLEYHLX3Z6dNULZqsTLox9n8OrlKfYhzGwBJH8Xf
0iLX9W5XmenXAHawWLWVnz2E42hE+xCutEtK3Wid3diiPKdXsyARzhrB5dB+WXJjBDisGphtdoOY
3+1Ulcv40VUAG3ZJ71jIefcVHFzPn6oP6cCB4raf7ZHaEjzhcNXF/WJvVCACOOiEuRLiq+kF2WnJ
EINCB8LEARBZ36IWK18OrflMF4fOq4+j5NUeZlA33djN9sEYKEgf3RZPlSM6F6VxtMt+Xo6JiGoL
Kpob4jb+3HiJjQNfEMU0rQnKCblhn0XC35OWLORNPOJu/DSifV3qbcgvEI9IFnIrZCs5yFGUXvyi
dEDd5eEAKgDZ+wy15gGAv7PM7XTszRiphXiAxLUZoN5vWgy1+hPHB0TAXKMlmS2qrKs+9V05UiUZ
rSUmf4cjw8GNB4G3iGPk7smf/dY64JzW+F8zh9Q/NC7lNOeA/OfFmaiIEJL5xteMZDs8mcLGBmUS
LVIprD0oS7mWmClcoZDpnd2wBd3UiJHyDOrNrG8j1EDnQIGyaKldor70L4TeLPHzuTcIXSrXrnC1
8iZyfbz/B6G3Ll+CTlEcP8TDgGBwM/mDJCqy0Zq3EOgj+bY0oGUUgZkiAvNaJMSXBZpRNdR4fTcj
wqijrD3UxUJ7khhQSJQ4itC2htspJpo6RcnUnqPZ7cDxVJBDhrRGAiUw6cAfuYPf00y/ZzLIO/2U
hvrjf/7Hbfom667+3r9np/4rW/XnL/3HXfMNswj57Vt/+9r8/Mn/hWmukDTTP89yHbvi9d/2pNuq
b923+Y9iSPp7P/JchvUbSakQ2SIwOWbooFf4t3QXb3mgPhAcFY7QyS391t/yXeFviB0xLEzfc4SH
Cul/5bvQPLJD/uf7QohA8Pb/JN9l/Tnh5Tq+llYSyAZQdrN94YZ/HohK4k5XhjidJHW8zjzy0xCT
gWCn4f1C3a8iAxN5z/l4Huz7GC4VHvGW+0WhoNlqsEH6gIwd0hj3S3WQVPg86McS3Pv81kPs+UPr
/iJh9ucc1T/cqvdTjiruDA7ATTFxLrl28twtV8WhM0MTwxjO2BP9i8tZ7i8v6ARMUHSfQuvn5FQx
R2WDQdu00u3Sj/Lg+CiQ8XeBwcJinSuKFgclDymqEU71JpuHiUpjrs5hcu6Kl75+mNu3EqR56oOQ
FFSaziUyAgb1k6hdPY/pC1sItNAziH3qJShgWM9WT8IoBASXbKfpeSbwnJMXP0UB/y3nE8J9A+GE
O1xrZKiKLJvQEisuh90lh1xIRnxmaJ7BWOGK0BYvKTpvwZCj1nEoprepfMiMm5nUEQYSyWPb77BM
Xrw3NbUg79+s4Tlw461nvVXe/Tg9Y2uqf3tJKNMAYp2iEQLZG3eXT29xdM+NSPxUEzBbMBYgHdEG
hf1cDmd4b4sLjA51ApXgSK/eqK2tEPODW9asUyFW3EYDJLrAEjJ4ttKHoIB3gllunr5Bxxl4DYWP
8YzyVPTd7Z9r795YzrxZtNkqgMKUNc/JMG0QbUGFFKzEG/VdYGvPvlYPgEeIEQsWMIxLxwDwOz7H
QCZjbALpDNsncUPhMuK81p4lbF5F3C3IsXa7AV44+x5AwxVmEqLPkITGSWYytgWFjOqmiG6y+W1s
znpu6HZU7k2cHLiiD08tlM+yeNHfwH8kwqWblrFN7B56S5ydHHLpfDORZqJiBDPinjqaas444tR+
ueqA/vE0FaIHojzwvLrFbO6jqTOwSwQ7UQaHFTgS+DsXjKLPv2z2QZitGgLI/s1NHvQM1Pdvel+q
EIE+xCHCe5Pb5IKteO6RXZo5xIjsgcu7HopHjD/XfpPOvZ7+DR+pH+h7ObzpSydAg0EjcmRf6fvi
UwiFAr2iz3TB5szd8wyMTAZO30BPf2ORSAH9cgYZlbXi5Ty6qcaH1lyh+0e15iHrnqz3EcNcoNd4
BWTtqrvBt2NFgv9fbbNIw/0hxf5jyQiETSmUkgH1AdblP26zeAMGhd/1nP8ATqWltZ4/WiEpvKuR
DqgjcQuA/JEBSbMzAmoIp1RrBdmlLa8t49eS0cHGKIKeyGxGRXWOgmteXB1Oj3+9tOlV9u+lgB/3
SU4N9UthEQ3YP91ngq8jWh8sbQqscd1d+WfqL3pp63GxUVdwLf/iiqT2f3XNIHAch73JCoOfltO+
b1OQ0CXwcPOEpfoqwifMnAE9jfsIfTM3K6nY0yYE42WDtocHbd+BphlcenhI5HxL8lu0hK7DRSMM
7SHVgNfVgCBIB3LZ2dTzRX+L/0q7myLm7AvwXH865YxK1Bqqi0E00vcwfvpygw4kAgq4kvLbLWTI
2XBBDEJ6AYlVghPKYARU3TW1+5Uaq3VXPC4elEnrXHMk53w8Rvz8coUnhaArRi1wYC99fxXIhfA1
PlBEV8sv9G0B9QecZaItzwPCR3cBUZYk9KiCruYYureC1x7AI4xf9SPp9ojtC3nGlV3ps8kj1/EF
QnCvLpgCFRgHfdOue3ZpEEr3K9FqWSiewbxioLhmqC0AAqPEW8Epov5+oYd160rYYPxJU2Y8VkAD
mUMBde08kjSh43kjyWBDDVf9gr4t2l/w2GV7dv0Lb0uDB7c2wryk8krf0Tm6wYIGUw5kf7kfovid
vm1CkV0kYwQd6Elkx8j2cGqfTZSyZh6M+xLQeBa6MZ0QqZov/Jpa3ru6ci70Iv4jujWgUOInprs+
x+9PNwq3R6O2PAufCr3brEbjizrHjxlXw/9yGcDIkWx9MGwpTMM4pxXwnE1AFOinSkaO5nGJg8Kr
y1agy9w8m2532ybf4qMdBsoSvRDunZt5H6CQCwvkN0grvndQiRBZZzBjuCH9uv7vCXY0IkqcI6/N
FDwlCuWJ17DG4GZ5i5qTTPbV1xGxdPpZ95oU/ByCFaA+dcRjmDvdfvpJ6G99HT0E4VOtNvoP/emF
wZKEPBfjVA+BDj3DJBv03kW3ShZC/qIR6TX0HsnA0Yn4XYG00m8Iubfqq24bHb7k7Ckmsy2rMIbk
ORkldMLkXVGLZJe+MLH04CgRsei5JfKsMKS44Zl5pzfzA9Sx7MrWp1r4g3tkzN/hXJEDQ/d2Yozo
H35f4uhUACxXfcMKTh+4uBW1MOpaFx/dNFa4BSRLKJwVptfgCFkB+4u+Q262p4VVXq35ECKO+hV9
23F4qcA0J/RshW6O7h6qPCaPibuXXrz0SNP6O/pXUIDb1kA1DaQVRAIzxb5UKLUwulxVbPTCqz/V
UAfUYxFtWrDBNFtTbPSM0iNHduWGmy2krZcjaTNrSk6KfIHumAtGP7up3SKxWJrIJFyN4BprxTkW
Ff1UFdSfGrcm5rrJSkG/GA6QheCOO8lRBsFiwB4u+gb0b2qcvf49J71SG1ml9DxCulDvo8NA/AnP
CcytWGt3KNgPsIupC5Bn4OM0DjNDP0ShJ8q419tNLiCcMAv0syDc+/6MJSp0uiv5jqDga3irEQ8P
/Ut6UdKD2hCsg/OFdDJVYRZn1qso/lIgwOCJtW5Mfbfcvn5DmreB9d2kSqLf0PsawwgEq152lvKR
u0pajAPbilrKWW93eoVicHXGpTYIKugAxpFuSsPCiV6s2YMGPuICXdJzZ1guE4tGoORW36bepcBr
AEES72MGJW2kdsAp0/a6a1iJLJbguEGdgxalv3SKkn1BX0HvtOX7ENJ9LmEm6QWV++pyNg6r3Zo7
L0fEjobPzyP1St2PNtu0YA9x2z2jgIdrHGcVWN0+CF8zhHhsxJIjiAvclP7iMO4L5oi+egYfg/MQ
UmxPrgFFEHkm1mEeRLe13sAcuHKL60KvsTf6IRc2xHYuNzRtEZDxp7X1fqHHmN4/LCJD3tKr4uLd
O9GmMhilPgz5GCTochtrAjNNAJlOj2M9dvUApAv03cxcSC+CIQugbvkUrKfsLnp0BLRzza7blsXm
ff7k8CjTfq+3Ty743h00lF462SWk82Md1lvXj01jIFzVmzJidWu9z7yvr7ymt8ppYo9l7urdKJFX
5p3er1nM+CpiYuvRpdGF3jojDCYT5gRTmcVv1v7mTGxaX/80b8TTlf9nXOKu+z4p9OuNy3sSK+iW
puEWY3szko8ziU0hZ66fGT4uF6rPeiyxe+kr6zAhZXXSw1xv0fpB9LqWD9hysY7pPZyL6d6hwyya
Wy8cfx2D/eq4F3jEiRY4VoSg34/Kf8jJTJhzjKGDbEUV9RBTWIDZEnQgwjOa7I4dNUDms25OHabp
McVmq/+k/XhinNgIHh7RTNTbl57PupPLmVykqRfvH9tpKPgl+kt/3VbLVU9cvXa0aKK76E1hZADG
lfSfy8OyrOlRqJf7tpRbvd+iooy8D5dnzZCsi2N1dQlkp4tuFf1iy/RiFKHrt9aNJJff8z0/sEK/
OIfbf05evUerAV4TOoUFdAvDqj9H1VZiAUWIfSwyk3inn58NjrGjN90eNpmSnwfqC97VXc4svuyD
ehfV6xBlzvfxr/9Gd+zH2kQDs9qGFNJLxKX0FqInpF70dIhBu/qLtWHQ/HVvAxz6x/iXpwh8z6es
BkXkJ+iJRTGKAoUzrvTAore51RQSVLCHxKzjNno9Gfa6RQk49FMaesnxrzPrrw5b+Ije9fkYkUrz
1fAvQ0yAwgeJDPV+51PM1eu3Dmg4O3AZax4A1lz1DHE7+31xWeLHCk6jrbo9MYb++OhddT9jyvk+
+PQA1Cumjv+4kEVi058Jw5lpRBB6p9Xv6B2S8aWX1JG70HEGS6PDWNEv6X3mfQ1m8SzyJ19sJ/OL
/oWKXbD2DTRQwEfwHVA2uypiffMuOhZ9f2o+poNJohlGHX8R3nBAgDfEf+rtRu+Neg99b6kfk1OH
KZavhVtYIn8EOLb3wYLvxJqlN0w9cPUm2Zcl2kvoyrCP6A1A7xukpGDzfZXwhVr3ykKkjw1sEilt
ruP1nufTc9DICIb5F8pAhiwJgABgstGWQ4X+ZdYXHZhE5lmv8Kw0etlGZFzfj9CHALDu/r2eJ/ZF
74F6/W3YfnibYKcGklDaZ72K8/Uuo/BlXtiV9DO6tD4vGumj3ol1X1IMhoDGWsHOyeVZOHX367WS
r/z1sP3VoDWtUI9Zy0ENXRta/GGNysfCVniATHrJYS3iH73D6R2Dq+rI968vZ/3iAB2Ytkca3PHJ
Ef58MKUwEiNa/uN6epwhEaBHPENNdwHHGh1DQiRnT042bXey50MtWbtp+qC+I5AipNFHPVqZnpzZ
/r/Tdn99k79qE9/0XI8EpsmqZP25TZJowCFYGwkwT3Wc3sc7HfzoCILup13eL/f/Id39VJf883Oe
+7+XN/9fmA0XIRvBP0+Hs3PU1U/6/vobPxLhlgPgE09KaqyeabqBTjT/gH0K3rHIP4SMMtchU8OY
/j0N7jq/vdv76Ow53msioOv/pvAf/maajEg/JIcO7oZv/Q3u+vsW9qNi8WsrIRLdGtn59xSMbzLC
cQzwXWqAAVazwU+JcF8AafbIBa/TqL8Dn3IDSGaXBeaNFI+qIYhz0NWwEL6vRn/HpDsVOneQJ1vf
TvYiRpNafu2zYWPb+TFH9tZwKZNDZ9QwHtT0d6r4nHm3AJ6K9JgGHCU7gZAOgg14YeIIUBHgzTqp
8Ip8D+CBHRCP9az6nUOabigQvGBPbfvXhrNaBkJAzNZr+Un0C2EZRDL0Y0fnDdgLCgbAwlDfUfNz
Av4pxl8mV8eOK9jpxujJyA6w20pWOXs9UOoLGpDWL6gIXK5l/AQKGQ7xrRXC2Njb/Q0CFShDF+Rs
/XWDmmT3oRxXHgdxom2jGynB4gYOIRahbKN5wDEFtMHGQOyO0DYyrlUBwGLmJppN0qPYyTm+9j81
/Kg13CnvEsIAgA/RvNas9k62i+BNROmmdrsTjHarYrsM2WHMGigG7tD7NjjZiOG0sATMz7l/k+VU
C+WlWcL1iBmsohptOSclvqPv1lfQVJvpm5LhzjaImakaOrgeSbmdB+2fdh4mtkfEhYEVqgUyGqIS
CIzs48hcwWRwBZ3mCrT8PcJBnjFrEUO2Xyr2J2l9tqAC+fYxgkE4RmhU73qSXJivKej6ufOSlm8h
GJROQbXR1RRS7qgRlcZ41xqoiGLCaOMJiBqFiWJtP4XHBf5vB9bNAt8VwziocBAoPPwi8ImLZHFr
WQ+lM9EJE+J1G6p93KuJEy2He4SkC9ynawyX1WG2H0dc+bwiOMoIuBwSP87srathOdklSM/oNvAe
8VeBuLNsFOTIcDAwpkZSyYJ6El1CxN4GgY5iW7Ktn5E16FF7yI64/yFM/hSG2LF+tB33XiX4yNh3
od2sE04qZkJTDXcT1L9M3S/oCOCUtgZ6sF3auwatOtfBxxfF1RYybh0gLiTrryrZ+T5+XWffec6i
hwSl8Xgn5dHo93ZwRfWiDNKTqiYQBTORCyeJjCBAhReBhudkVrvZCvZdhmpb8THIGTSwK7MJLfwl
Xg9TxDkFXnho3JgV6o6gGlIQJknGcc8O17KNj0Z6kE1yj/YTsTKIKQ/JKkz3zDlf5/Grb++9YYPp
bqRue3PTBs/oAaychs19mMj6Y6FTP8O/3GKq2qBl9DmIow8JvsVYPjN4ma/1sAIPcoP0PuqXr3L5
blsf20Lb+FI9GbdRh8xhi0gyZYRAlnvXWXvCQNeYSkliaxJjuw7w5cCtyA5uuqY99OP4NPZfbWDg
MZQqlb4E6F87U7H3E/QKffliYKRaaqF785Q0YmtMd2n1ihvw2WyfBo7IEIxShOu0h6bqRswIT33z
lixffKSGrAj92YihF34p7IdlLi5K2rDMYUkzpBra26s/Rjr5UczrdnJuRmhFUCgxcn/EVHQ1AEQC
67ZNXOtQVAg3ZI7q1sbdLG6DLA/oAnkqamx8y++Klcg3GUvyZCIRUiG9ZTfuMW++dL69TlCYDdDY
mhy1dUV4itXH0VEnK+k3pvWQIZUWgv/1kt20gMUclq3jFieH5SKWLTlL+zbq/J2J2ImTy2OKIsli
gB/hQJWnlBumFJlIuXzJSk2s/7QkXn2WIHJIdSWvyt56WdkiLqjFSovYArIcEvEJFH9Vnw9I05Es
8j3hrDob+bMxcnRlL0HeJ0eosulOi/Bv3XAsPziu9zROpOJEZHsrt57vpcyPVQOIwVGBWi/LV3Se
qJPM3rQPXUPe1ifAuYhlB9Yns03fVFokOLdhMxFO/sly02cLLMY+i423MPFusBEsTti13HRe9BFf
NQmvUlYbj+PCoXJhm6vyOBuPaAwBIe9CtQ0Q36ks6IaKaLdoAmPjdPYMM5CFfMranRkM30S3kHoo
3XGNAwCmeWGQwrRKH3O2rjZVzA8bAl2nvE81MN/QQhiq6pPPfsvx0zYDZLXq9HucmeGBpR2QNzaU
8bpy23uonUailnWMwMOqiKbhiJV4WmQog+IXiwkmkDRkIdQyqB1gXOR1HqwCJAQQkbCsTwlKMmgn
zmtXgs9P2vR7B4IudJptaLqk3goUWfGc+9aBB6YF2yY91PMwrIwZBb0WqD4R8r5zX/ro80ScS66d
SulYkLQxgOISQB7CSX6dEYMxEjSesvtlBuheoHh+7NV4TDJzDcCwfQPOiKCE8yVxYgeFa3ZwOH3D
fpAoy47+NJyGxvw2CXa9tmVhjOYPyFXt+r7zMbKI9w6U1wJf76H1v7O4aflsRDyDdGF9S8ZLkbac
IyVWvoLFPg1BqBX9cCciX+3t7rYwi3mfWotg9YbFW8/RzkmXYSun8GMOBPBU+FQS1PjFgua6bRZk
i4Xy1iDGdW3hqRslzgGMDIm6NxLTiP48d5H1cTFzsXHb4JLIT/2UMQPCjkXMrg6TyZrc+8l8ANp7
544Ok8NJXlqEOMDBIcq8LNAtMxXAtMIOOMZexArlePSFfUoSc7hBIRpp5sDCYtJPbrPUjw4RCjfz
3L+Bqh5OoIpXHY2zKkH9nFCywxwcLZFcPrt1XdwmrXgZsWTaGGFEzCDKIxow7WHctjMOzlGcYKRs
qZ4Mk+Psg6kAtoXZGYj3u2jJ3A8Zpjy9BmyVBEjhhMh0C+A+COqvbqulyh20ZJAeHsAArqUbxtsq
qc+2jaqnV8AY7XN7vDNL53GOc0BeFdZPKb702xTKR8eYOoaF9+jgn7PPpBnszdb5AKtUWibceoyr
zU3fkfGAB+Ce3Nl2SLKiqeI042GKuvhIXYEqdNbMG7TY1TnC3djzEYjtz4H0UQuBybpbkOpEwrb/
AG2kZUcN1C7rkS3l6YgB2/rE06Gq4H8NFwsZD9NbO1mJELXqz6Rr+10XjucwQ6lV1e3RtHBoTuen
PAtf5YBNOOA3Q6JXjFqt3Wc1AtCrzML2+BREaqNxUw0iZiObkWXVxEI3bnHI5LnCwRiS4pQFQLFR
4UQ/m9ASpfoW64Qh3hUKz95yOYr+dUErT0CwvuvQprORe9CCke7ob+K6vXMKlLyviXhD4tAW3+zw
DqUiSdBQ8ARJ9xiUjwZSwJwo7kCd8pB3IPzi6hyaxt7Iv6NdmvfNh5KEUUq81FHlRtJ78O6VOPUA
jJsmORb1qYlB5AWP0YhQY1UdzJjzqnBedR0clBjof/dg2SMY++gwA/8twxvoldeqL18NGz2DksGb
71hnVrHR74QKiCmAxooXmX7GFXtX0ntqIMt20xmAKOhfVcc3OSrw4aM/ypea2LVHgdTwrg1qIBHi
GaI76dryfdfkTx5KIi2j3yxPNroog/rcKXlJsjuwt1RWMQord8Q5CBBjSpQY+LaGK0VIpch4Dwki
RaRqnWnTjQnS3UjCdiexXHB6WY3Y+jqGeeOYN56onxywDMB7w3t8kDEPwnhLfHDnEIHazyFJXk7+
2C2hwOruFyM8mXJeobL1ITOGVSrOXWkcFiY2sQ/KlCjFmO4nNeQgHPdBWe0Qy1ktobhR1elIrD0F
B1Q57lHjWQvmUBUuG4ltbt+AgL6DHn1Q7rKN/aOVfEkmn/G6kA7Ch2JESrnVZSNLZcfAfDARDBzw
NIpQA5beG4rQNiTNib4qJhSMytsAwtgyfc2pYHXI6GF/CtXp2wBvbV44JMliO7GLef64IfWTY4kE
ejF+VWClo3uzQZmUsLO4RZlqjXLmrY8Si/eiE+GS0OZhSS4D4Ihh+GiQNKuEyyr3HHnGOibiD5d+
W7DVRaWeMOJYIKgcWNF6Se8ACq9r4KOwyj/MDpgDf5ujx9WhecLyhGqKH98liHCrxtlHDhgpkS3P
Axru7MubDOnSDnRkHeHt0ARbvz62c3IPMXiVkcar8G8RwKg1FJ/QJRVHhWVjYCMkcC/q+8ZhtzPu
zRiXsXs1QljxzWOCAvkozmH6Gfju2kzR/rb3YYlTjZedRpKJCrXSLseAbfwKpCPy0bCRD0HJAUBx
1eiaY19k0Z6NP+7SFjEdZJ5DAMm2Q5bUiGCrNReVz49e80E508lGTxGNtEOFlEZmV0czSLZGh+aw
Y1ExuR3q4QWI5t6ebmzjxkf3lwwTcdcndi/g+Shuefc5Ouxz/yEJINrHpPi8U2HaJ9O6ZTJmqFnl
SOa2yPSXZXZIy08zXqFigcJ7rP0HWGSblkxgGF+9mIBgBJgdvQ5ZSC6TJO6drf0xLNQrhf+xRaK9
V/gec/pCFMpZpYzaoKYHPrlSfXQgeg++vavnO8RSNjOidzYK6wgvHrEDXKMaLiHfD+ZtjA6OHIlz
F9he5SYKDqlST5b/NGmVkGTchjD4be9gDxlaO/rQgODL6AD7Pc1N9dShoVRkMdAoTqMQGzofJR/Z
PJIXfYoigWXEl6l1P2DyUk27EFYC7mC7arrxuVVbPEesEk5CQr3vGESIvgrvkJOSmBoD1P1NiaRF
rC4zHgzKeFtQUUazklndIZPHCXYM/x9XZ7bdtpJ06SfCWpiHW5IgSIIUSc3yDZZlSZiRABLz0/cH
1d9d3X1RKtnHPj4micyIHTu+3RwmyLcVEkSUHmqtDrLM2bc2LAqrSJiIooCSCD3By4oShF5BStnH
6BKdFddHhWeABKwr6IZPssRgB8bA9mLn3FRlOB0NDi8tu8b6U+MSo4qa7sjzskAmZ/JUqy+svx1x
fh+Zg531Y4uZ1TOXk+MoLF6CHiyVbUEPXw49LaR44ljYK418qkCjqgBMS3iHtCivahIfTbu911zM
htucy6YiagqDFQWlCGdNMFqpt9ajBf2CNYxaB/XIbj1Br/k7a4ukArbXPt87hrqVrICxVOh7Cbeu
0O+OetY8tsJmUBIaWUSpY/4pXV5689om0OQ5GzUoFJXiMBab4ZaTehNPmHdNLwCJhimMbAjrZbJS
Pqwd1SSaUBw7G7s0vtgywN3CWyxf9YKLJm7CJFK+Zlch+aHaYFuHg7/cXVrIshSs94CAvePD9y3x
NdnPcnlvMwNOIoh69cWOfgrQf7lpctp7nBtyW2fD3mgYOIOvuMMQCVcGMtgcPUa0oEuIrYlcEiC5
szjWXatxnbR40ClkC193J4YNLeFTM9g2EpqHNSIkl3tpTW+zyy7StGfl5lqkKOdtiyIxvLswNxYr
8EY+eh4bd1WGlYpIVrgng3O0PdgBJphXFqtVVpr5uC8PCg1TR80xGIUfmSeWlnavmjnfc50M8eoj
A++cUCpbKWYG+T15b3OhhrFqbAfzZwVuVGRbGOO+jFab+dGeTvFqtTf1U5HPvFQJ4+czcsquUS+Q
aXJW3IbChSn/qVaQgdvkrJjWh5Z4D5jdwSfG92S9yQhPSRn4NYwZpPmwWAeYKcxRqVsYzjhgo93Y
WaWpo1Vd1J+WEhtCkz9SZsQw4tHMGvHiFv0pIzUYEr0GuE4kvAqYtxWGvYbNU6w3JwfG9OBMZ+F4
3ESAM+SD4t5tDkBzy3I+aNF3gjtImDrlwgtEgr9OmLuMbqyOQkkoQFUn0PduK3pJkRyuBqFOUGcr
/UmM9Io3YxFPtRJ22UmUcsdTwSP3mDLcmVSun/bTS/pnUyc0aJx3XW1QKv70MIGAN7Aw9zkwMgGh
sotYVEzjaJOq5V7R9ae0eeEebbO3yPvsnU+iex3vmb1Rf4GPXVbaqeyPgEYC5DVgbJryvjTJW4pq
0y6Cu2bZGQ1kOkPsZ+aSA0wPwM2Ndhqr+JCljP6eXHsfM83XYNNvJGHnXnQ2b7a8CrZ1KnjvBFqt
02Kc/+Dtn4ocuUPCi3ZHO5j5O2qAe+oUvn3CSor1oNHcOT2AGSILgLwwcc0uoB98W+gnY29a9Fc4
aFwGThweAIvqJH0dEKvS6Fb2+ua+iDYoGFrV9XNXELtTE2KzkMoQP6l66Cb9Ps7ePZCoLJkfZT/u
CRw+Oml/4WnAy/YVe5RsphbUPJxLy/84Bxk/b7TqKAioKdl2VeNoP/Zr5bVf5H3STQRlakIb839+
z6OJ3d+VoeL9y1lDtoiDEeS6zVa+piJpUeoX4/yvSX6KXPF140Rb6XdtmK02YDnsC4H9cggn4sj1
6Vmm3+xTbXncNtGEeVu1dyx9bCayq0tdx1pxmyQnT1JtVCJoU1YMFPvDsQDpemgAHKszCmNXwM2Z
r3nckofg8jchHRpNYp6z++NSJMcUZHqM59Ws6YHgyZAOzZJoT34COmd+zQxBVBvjuD7ZZjxuIsEl
3bWPtuS30JKWJVwkwir+dR1b9yWwH6WSew8YOwhzp2XLhOMod5ut+F7TObiW5Awe0tijDVGzyuPA
L+81ZTuQaOel+5hemVEVGCzEUqs9ySIgd85nTdeuqXFiirjqyr42ayuhQehJSaC9XuGZJsYoIvrm
wfT4xd7OZNLtoeY1yCpm57fIPxj3ETUvJNCSeDEcMv7Ccgy9Mccl0x4Gt9qM80PdMMNe6ZTul8vE
bO5R5qoRBZq97HIO2rWKqn+K6U0myyFL+p0y6PsehTeDfa5AWwP9UuNtjnhKe5J5266nXPwANQDH
EEu459s1FDD9b0w0QhUvKFPlgdwg3d453NUqY87AICSra94UK4BnRAnFpJOXYaov46IiwkGTH/fj
wIZq2l2m7Jqy1J8OMOvAeyP6eqCiB5fzhlMdBDjVd07XfqrYFXaLg2Zd2EMh8Og04nFk7EbKljWB
OCf0glhTr7iC5wYEjBIsttXU+CNrPv1rNs7blMw8tTuXlBiNCGubnN6Zl44r2CUUrOHkPLlU0nUX
HWrztZLXyOoOOG6YNz7X1p+aFNOC/zY1JZMeiSlumY+ww1debDKgBsuHRxvTOvXFPzN9XWBuOcZ4
mIEaJz0Pgew/DO8es7dkxBmJWQHFTFAA08ugcOoO1mDgcA+ABnwGOos6H6Yi3vRIiiRk+4DJj+Vl
BVYbBDfO9hMc8hp5Np4wcqhho+DjEluT078+dXB2RIZVPt/lWfxldN+F9yxpo/rysR7noND+Js3T
0n6OXs/WFIWQZvgmspo7GAd1erc9sO4dPIE0bJITsW/7VAL6N2I8UOCXFOU8R7ovWSvE2bIlMkNy
9nQOSo371I0EHbeJzrmX8rnDx7RYW3TxxLqsm7iZsMNi+dZA3hnmDO78L0w0g53MmD3unqg0coMa
fQjSKXrpxLCvnJpl5O6PoBZd5V7F3Jeon+DpmFb7Pd7ByvlHrv3W6EAE6cgAK/chrwgdg9BPd6dZ
+VPqWKdMa44DYzPQwGzqbmM7DaLVbzBC0P8LS+pizwg4vl3me12rGVMsW3eEm3tpiUfqsejUI0cF
S19l9mVls++5ACGVS92ATdY4eHvCNFNenz+KlWyLPjTceo8wNFOiDvNNGlic1TZYOm+VVLgzmjfg
63TucgeRKZRDfZnBeJUe05vyOrvzi9ORvNP0hJ/AiYyzAwIjCb+mV5+snBwKl8BE7SNJIBC4T0l+
gaXJAkb6uuY3OlG0K6p7rd2q+tmcPodGHKVLfmY67xqFDGKmM+R4VKbYKt1PXfszmLkNIs+Z2Seb
jvdoLHkTM99m91mR5MHN78vwBi7Ecg7ae9T/Y33AGwC8WQDa4hchzKfifWmvkjNrUqFYmcMLq8l8
nNUb0Z4g8kg2AFk1mm92B4AAf93Su4/x8ncsebgEINRWngcUzBw3W0vwCzLuPKi84oOB0fB5gXas
gWHduHP7ManLa5Ggjtnc6da8HSt5aBCDYs9D2P5YBO691TzGVVvDcnRHyxfTJ3vAD2b2Oo9Xj4QG
DXifXp4ajSwSHBZe82ZkTKHs4mNEmHMSb6saw9mN5003yKfC0kKq9JPbQDEDNbjXu3GnFw+ukxHD
4MB8To+ddVa60HPj14Ga3+JcBF26Wkp6QAl5g6OsIqqWoAbZw5t3KnRu5dmi9c4I5MoGHzbhjq5y
V5XZi8kkTrD/0GMcZPN22+ljUFW3LH92a+FLgqno/vZxNG/zFHdrhE+lxWuM49pTzSBRy1BD9ta8
/NDZ7+YEiJKVkdFhu1nLz5Z9X0iqmQTyJc2f2kbA+RWg5s82ZpbM/Siatz6zXwgk/9dD6/QIBja3
Rt+A5wsNoftreO0wnOouXEoHmbraFkAV0pr4tRcv7OoEEh55Os1NJ4ttJmuvASGpMt6OntgkTLWE
mG7jJVoqFhyGhKeSgg4xePghLOAq8ypIliTIhuEt4k+3pH3Hmrx3mIOpfXec8SAPCUjb5kvKzG9d
Gbb0PkubhZ0NCz49O1UWJibj5PX4v2bcJ40Fgbgn2HE+d0N0tCwcTFmy1U20bIDYCN2Im0feB+jD
A1ZO3R1OZNweYu2Di/Aw/OMksPHt9AREBWTlTN5zaj4RlsCFqw1f3MRKcs3TV6c1d627X5q3rLi7
2W3GytndSkGuFf7ax5rEHOhv3l6+aCYgyIseHXIlyOaNJBkK3yWcAm6xv02x/MtJywIqegQ9t5e6
QZIq+WYD1I8ECPrco4VXZaCsVqD5u9TMk502B/IX9nOfvWXNBGeBqPMRckHl3Ef31iFwkDu0lH2o
jGVARNDI+d4t2aVafQQYWlMMBI3M/nqzjstV7DtmMmZJKpam+YNC4Lb2sCawroMPQcDKBOAoYxLf
DPVxzTFmbnhi8d9vuGF1izJqInnafar4YBA/qpvxiSVappMMRVsIm43c2aBE5UTASvShAECsEvoz
klRpnKWevJdD7i/S2QlMio7GMUAGW2Rj7oPzjiY3Yr8qpx5R7za5yt/YgW5ePZr6HX8QdJ1dzohb
CpRPW0fNfXMlykFBZtKytw390emVHYkMWHk/de3Qo9azDk1+1rc6v1PN+yXhtAbb3rH2R8UiJvu/
+jhcOAtMhslYNsn/fOiya0UjoHNGOXzwlkhgPGcpZE2idWhj6/FPnf+FgLlL2AYAGQq6BaJl0QXO
ZwfLxoU2bcQfg+msEFD8GGTHNffUfREkY4C1AJjKtppFYoM68+zqYfrHicQ1FRQs6jYrugdRfgrr
oxo9PG3Jt9JwWZbRbQ16SMdPSzmBCACA/5o46gU2U9Dx2Vb079F7SBbtjeobe4ncSiX9cnoQCkNz
yBjSKhmS5sT0O+FWNwEDJ5QTSqByoTNPBYFhv1bOS1z+VKSBttG1RA7LjfmasWE3c0uaELLHApdv
KenNHwVkz0jt2UU8thPBs2UJyQJrG6D7xfzn1vLBHb3AjpJnYc0n1/RIGXMOKhTb4WUGlUy+yK6h
thu9N7v8sSpeg5Obunt23rEZ7KOKICRu1wZZzSwYaEab1sDdQa2NW8U3E+UZJwYnAEckbwvt3Fhj
Z+0voqephczeF/ZhLB7IU5g51zNifYBy9BPs9PEUF8OhV5InAP9uMd6GTvmnE0jSOP1pIQFOhfrZ
1QR/ksWgEQk2MGjtcMzGrm92zl6piuehzb4dQv9Wf2Q5l3tr+S6GIGk+MqKVWLO+qmBNZf2tt3jX
6A1cRkadOV0VEIUsKVouU+58C091U2O6qJrmYnjR26zfFcfcp5oI+Y1hnReMZPhbvPXL89owMJL/
6Gxeu5wcXt3r+XwNiF5EyCR09T+UUYdSr19Kz9hnzSZ67MlsInq6Plrel7Z0Ww9Ga9uRyOqe5GQc
xlq+5BAkHcwHWf9W5GqQC+XbUQy5db0nARkDfsMW3tw1jdSrGA+CcsOMVq+kxGErQVZOg8+e1xnh
PdQs5RFc01G24gglahvrlI5oAqLWgrYPVDmCgOiPY3I1vgSi76jCG2Hkwctiiwe1pQLXtScj7kMc
Aeemb3+mag+ljdBPO6hd85jAzaytMYjdJATR2zEkjpP6kgyhznEWK/Gm1gDdTcwlrdGGtxphZwnF
bG60Vifr0D15sO5Uh5PGAoqT9kSfSKax5aJsBaeU1nZP7sS6InyOMLfb45jz/mSPC0lhcNRR8pq7
w7U2G0jy42cERctmVDEiEDJbePRyUuPmKtqwBeph/OjL/hG/iN/qZaBSShgGMBzLhqyBEK1r790y
njIuLRBVz45lrCRudaOofxkIQEUC4NZqxxrvENPJbRHdx7HY9Gl967T27Dj4sojl60lcNfIPFzgJ
4XNwcFpckoo++cUsDjUbt2ifsLVouAuiD3L7PvT93tGnm7KiYW8NwM6ZghmL0vCUJ95H68bUvSN7
ny9aYaK74c/qRz+Nv5Ke6oQPv9BUP6V1bMywZK5YKeZZ07s/EyFckXwBU0sepHGEgs8R0B8UqENq
5NtM55b5e1q+eoWgFzIj5iLaL2A9En3l4A/Vt5msund3qnR5lJRkShJSlpCa/FqtT15CUQdwYnF+
XOxLlZiCdl5wGxOBlVeguxYy0UofEN52GfRXTH47GA27qSLEr1zzi4aByHtq0GCkNYkE9tZcHJKM
gNaOUWsG7RRYNszasfoAfbSD8cZ2SKwchkrZ9mI/oVmUVAIMSkY+HNWIj6kJZnnvuuSSz9MuWt2p
JnNfmmuJ2oLVIrIdDEgkmLjpNtKag7IO4WLllUMTw/DN1ta587jP2wfLXEjPIifVjkJekAct4sM9
7/Kcnea0v8bRQWoDkQlOqKexb+nxgaxxUlGJckGiRw/ZxCmOt45UP43LE8R7K+xTrVfXqIx37afL
B7LHGbiOilDasQWJ90q8QsO4Ft16uSMrpOOdTX1/xL/lOe5jRW8egQIu6QwrG8zRvSEEtrcHjOjL
UbEUXvf6KSNcmAwZBIQP0/xISTbjDSALfeeMfKQgi1d6yJDh1aH4bQcHbe6SO7jG++G57qpTa0X/
dJOnWBBNR8bGo5IbH7qkVDIqO5BoMKWq+oScnIwuD5peeZhmqiJI7UO+HNRU3ejUSnjUVV9m+s7U
eOF1unD0i0bfOzUbY20zPqTuvDEm46jEiDkuLDe6yGxfdewdixwNIfpKSfYpacqKPH5RYKg3zoL7
pd7dGg9INGG8brecsuUrx8A2yWHbCeBnhFkz35rNN1P5rhFSJhyMXvXuQouNYfuPzddsBIZOd5Bc
O+5PdstJ0cVEpz8rEwFwxAqkVnqvY5NcXgz+K8mfSNPo2MTEYjH21vHRdeVFI+DQTrKjSTpwizfO
jJ8M689SHUt1gEzM/5cDzrzP2nvSM+WwRlpFVcJk/2FRH+P6UZ/+jhWikOlnrHf3QKJmXtlRw/Bl
yHu/uN9OiZDCzUAp2008JNVfkRh0+dZTUo5hwuYs5eNFQEkejTqYXRCVDNXZoCQeWH6m6vihlQQy
situKoIBjH1QGJRoVIIO5GjlMomRdgCjCIdZvXSAi6hdbE59YKYoPRopL8PGGzGcg0f+Hp3ko0Va
FxYxA6nRX1oOP9IJ6BOmP0vEsSA/AVdSSlX5hQH1GqTFgWpZT6pS9lup6dtlRSe4Q0R+tLZNeDTL
B8yhfBriYVMX861fmqdGJBdrMrZyZodcquFqZwRxji8dZfnfgF7b1icoNX/lGnhVRyYBu/WqdxOx
qexNKjWhsR2ZkyypLJb5hrh7s60+DfNEjYNloHm1J/WVJaCvOMc5niQfg4zFmxtPvlic18pr5m2t
QPdSAQrtSlANZmbPQdTOaKMVkccYqeJHS/FIk9ApfHmIqRE2oJHrJ3VkMlonvkHmSIUddDA6608/
spFgmeVw0XizIRG3u8LuyVFiVoyqULCOUuwdkd28oU/3EIIZ03PMLRAKN9WCejcxlgowahQFp0EE
um2KDIcWq/tye7IXJHQLsiaxJnkeJlYQO/umND+BHyWnjMiZndtrhCimzg/XsH2wwPeggNL5mFro
EEIhQU1J9J02DvKifkt4fnOJDmjNqq9jRfAyg1VaeQQR4avacuqiV+WsJch/5penP3QeOdPJe1zc
JzGFVD7+ar/Q8/poE2BcSJRkZqflWqHj4eFfiBPS3KrZ1eW+9OKD7sAqj8lMNzNfsF+qEg0uo7eO
qEk7qY8q9WxtHyv2jhKUPyb5TOONkECLp2gYo7CEdfNsuphS9FF9LVOaRVIGTS6bluCKZiLYxcyY
V3XOv6HjCLMnc3wrbIDgDLY2SBAeMV7ABKPkNuo1vWEPwW49EUR3SvvikHudEQwD+9lWMvV7hUQ6
jMMMewlu4bOWE1aVyX4b5Yx3AGURzTzTBU8S+REPqkF5yUzdLgjNNZ4aLMmN1mNvRBufcD7quJK0
W6Jm7Ulrps8MQeowihY9bRqmLYY15ZkokBkWHjDr2mGOkbPcYlWGb9lXqeFdqJPqecL5MscPKaNb
Iybffvi3oLmVpEmu935WoQRx/3noa9Ey+/BMGe0ReYJMVuF4107ePGxttkvagangmO7WtByHc4HN
NUxzqu9Y3GQxqhAOBoMt9OGnoA9tKxx95otBdt1ITnTLyvDyKNG6vPizwefg8m5l1l+lLBB52BwS
+CPUnUvCXuJSFXw5BqNem9owttjK5HcTErWa2UVeYKGeDjI9Tdafsur2QsDItf6tO0OKhS/HewFu
UZCnNFnEorD5LGIu/hqd/aBzwmd2kI17pE82w4OiWvaaQfOd1rtiRCdjzqcgmLvme2WxD87sqXvg
gm3r55LQFEQjAiSOq491EScRQVZz7iKZwO0x63HZtvUoYnG7pAONZLQtm4PBypNQ5Tl1zpzbNUO7
0oBxov4Z1Rml8U0g2hq5igiJfSV6tglJLsT7AOJN43KUNqoBS1bTxIVOBheEtY1kep5WoV7/0EIo
FAfpzOk+YjrQ4LBdHa4LA3RymzDRXwCKrPuSJ7BjPrCSrTWSq/iE4jTTA3dnNQ2RMKyIiBRsd/kM
jSwKJjMY6fQd68+gPdbscE0ZO27zHp4yUoOfGAbsQUKpMvB1kU8RT/pSHZTS2yrcjibSc/KFLLot
uzN+Bw58+DNVmKdfSQaWlpnGwCpA/qescQEIgKkP6wBJYcCxJp02f0XJ4gHTC/bD2Lv2jV6Cg4UL
RoFmkTs38dLoPVgrCJ/9VnHePSTcPn2He8g7zq/hXRGYn+G693COXUy2qxPTmaki3hZEaUsjRyQL
hQFhdSA+rkZBrN8zeQTICs7wlLHogQhVa2E8fOvRrb5FzG0HLrtRv0zkDeBglvMEppIw3HBkU6Cj
R69Z8O/wbkMSUdrQiZ51zCIO532V45MrnqF7nHJa9KR+IvPKbP8tDTZ6/dYkX016kpic8Bnl42X2
vkku8bUYwp1ZMU3yXW5YY2Tnd4FFgMt2PtiYJyuMxt+ehAa2etx4iFs6c8Xq9rb3YxecLitFdbK2
lv2tJjSGo98tK+Ym3jfVKWM3SzNf1CmIuM76RJ6izE+iMM1eKkgpFm1orhN38oMTlAVB2qaDMDHW
kAeNQxD6flRMMDG3TG0FklsSBYuFQ9lUjhNHSa/elcZ32OlLtatByyLdYMaY1r5rsR2Oxb+Yarbv
3E0kXqcxVG3IhoGawq7mo7MwZc9ogdRG3dn134lNkHZvEKvelNAi2SKLyZu9DXO1L/X3Nv/hot3o
1rCPOS2NVNCe8GnIJHAMSjs2GsujkT8v9rckoqX4Y2H4bL5ECnDH2+I/tUtzR/CXUWMksZqW0HcA
yoRhVKT5FAxLp/rmikdnJnxPk3QlbTP8m0fQF0LX7KNGBgYBSSmscGa1DYw1X9IJkWNeJKzGZApU
Q3w2CoibnEEfIss3O/gf9qJgYZ4hbBe9FT151nWkSXK01HwFjbyrR7R2vYmn7djMX4lVuq9yoJOK
4ua9JYmSDQbBQKAnYJAM61G4KMhOSTyC+8Bo23phzVivModcL50NfCiphavcG8iVj2bxz4uGggEa
R5Viwmo0bN2hchx+oFy92QW3J/Yw3sE7i168nPaTjFo3SHrQhLH80BisfpYwOjclnYLJOIvGskZz
6znwlUTV/EQf4z0BwT1gC+8aa8117l9UHnuT/xCDPUEnumspDwP2CWhAPeMKhFudibTLSpT6OeXq
oaoeq/zcezN2TwZM7g9xho56m0X+PLNEZFfLqdV/IhLfmRIFy/jTOYd2fG6Us1t8wXq6p7y8eKId
inmoZVhdbRafer83EOKw0ow28Yw9S/OsCmIkiVlTSgrgSvmlml69wXzwvD8KezvK8DtYXC9HoxjR
kUnHSMbzmoJiJuUpn7Cf4OMeb0IdKrJTSh/27wdR2w8L/OFN19IzL5G3BWtaY40VHPNrHJi0iUGD
j6S42hdya2BaPeEzA5G6yXJrUnlMFEoeUhC5H+0y2cfCssJiyuqAm/+tU3ayaMar1ZNg4S68ObG0
D1lO2AuVcsze0jmt8od04LzDR8TlpwGdXHL7qegovZzG2gmFzEK9rqej1/CAdCX9it5Y+BfIFRoz
1bkVSnaOGHPWMMoeeBbg3KI17htjJpNXTvtijl/dehAXvW9JEcldmOxLcXYNImkWRuOPkfnAAOsx
LTqHvTgS8ozVsbWUeErFqLOZ29nXtkQrL5tRbNPUxld4Iudr2o0j4JXVdiynub5AcMcnndWHpMk/
PR2DAgWxFlDTgVOXC+/UrhfKc4JX2M2vbbxyWunK/IyMOILN/mjzQHRp9jlb6oT8mu8UaS2BzBvG
2XnxjYSz+nGwZfLYMlDhP4hXgyUf7VWk1shn6MZfLqXacycE/3TfRtzvbYt5xu4x8KUKfH/GnpuG
l5Ome4ZLkcHwTuDoygpBIk0OtceGcNokLjm6gFAWqZDVlUHDrQaCn4iwBeTisexUr90JlWKsEnBC
Ry19J09wYCTFE4sYB/wS1BEYP5cGa4IoufpbTXxUXXZkM/AUm9x8cTLc5sk2zg6shRF8gAJNlXye
Eh99TowKykbl4JFeqbmCu09LsTtMBEHWQ5SGvz82GxV6vpaTIpczHVy/5IUi6dbXb39/8vdLYTnz
KdNBNmFo49vfn+wahVGKMVy9xvNONB+jtf39FoIrSSuxxgojK9rtloadSkYw05RqpZ769cvkRMt/
vvz+3H9/+PtP/7+f+/2nXTf+37+trpbk5ILbNvgIbm1e/tM8RJhZNJlBBlXQNRyju3lazLYCMHlm
kZMhQqVRs//5Vi0dvN0enIsjoQTbfonrEOehCP/zDzSOV5VtBdJ2T0o9shtnqf18+s+XIYs22Tjg
DdZZ02ln2zn9flf/n+/+88PUqo8GjjwlG8owyf/3FwhH+VZ3Y4Xe0sxDC8sVwqwVMlFbAqzRUTV3
oU4m0H++WBmzPmP98v/9XNQoxVEpB7T0zOGq7Zzw9zv6eGSofEaTQM8w6Ws2c1cZ5CtPlgDU1X+M
kQGVokq67twXoMBqEVV7odfZAQH0lvSgz104xS3la2oxex3NUMmM/+fHyRQvYfL231/w+7t+f2lP
JhhpU8T9EZiqnNFw/+dLv9Rt+E206caI1Cz8/TJ6Bp3Qf39MLkXAfLRHODDZXwimSP3b6a0eWlbF
Wo3rNBhaC+tpGdy3uoOgR/dFwsldqUrtIUrQP5SsfRjW3HYtk3fT6NITY9s/OntBuMRwqGNscYOx
owGx2qm4kJhZXHrdOy2dhkOZHR1/nHBkmVqWnO1M/4tBx9pLUwVvYHQIrSiY4e8XFjwlKpCC9aGv
m5CAJpdvwazrfeV1vrKNnNYI40V+5nnc4Y7GLINXQkZC8es4fiHcpGEIlw+hw4ALwYo6vnLHS9S2
ig+l1wZfw46fWg9h22OMaRT1cRls9VA6y7GsRmwFchJH2AE4EjCa1vbMJnKOHLcmfYnKCCx7wTCm
Ni3AqwJsAkplFpnimI7PduIqrzF+72qgq9AXKwl0nY4Nrzk5kF6K0TdTgoH5sm8s3l5Tpp0wcFib
VUpvZtBbdYp+jXO2+1RVHTdLoiQnfcVDQ60VR3fu9l1DfknbpY+Vh2wml66Ald5QjZXyJi6L05FQ
P4xkbVmo9KmGp9ElDaVtWnlNfgMloOTLiOWHSLUAJbKLMKbLczWzNjhHTKasbgAwzToL1pTfXzg3
yOgazeax0nG7AMSyA6tAa4W8O/mAoF9d+hl/aNKGIZ/o9hNB1EHagi2u0ZruI8Ytqvnyo1Wz3tf6
stknJSVoZihEWtpkMFQKxanTLCC/VXe5eU4Xs2ULSXzulg/VW8a7zSakg6ct1+V80PGmJUv2QzYD
tmpNy2+iVi/DUhtvvBckKZY16O+F0aSp1XFASduTK9JhGYPakYtJYuVcvaZR/FOpsxXqWIWj8og4
hP6fC3nJjFnBgD29WmVLfmJBBMVKW3Pqqr3FXf44uyX4OBSiOlUcZgm989jpxhDoCEc1L3Yy6fbd
9Br77uC8pTc0yv1/f67JVlVat3BSEdZy7aWKEVLtblCKyfQzchFkSCO33y+yTMjq5I/UDSJooMsn
V3uBdKqvW6NEzJBcx8sE4loNCC9tz1Nq5Hutg6KRml0clpoSh0jkZSAMOTGMR7FxuAi75FzUdnym
wlaNy5DbJoNpiJp0qUhq+hwHlufUF5wz9aUh3/Ii6trz+6JFVaHQ3stu0kHcloIMW7diA8pqA3uV
1GTbiEsEA3zLwBhDjMX6Chx7BKa+n84U/OnRyCBzr5/GfMH7vAyYP7TexavYGV2ztfv408jRzWKv
10LWJllEnXTms4RpDp0mzwqL4ZPZq2dCAfii9ypjwh5pxr3YXClhoaXOLdGYmkaY/Q4Si7rHQuE9
LxJ1W7dgw37/XU2puzvLNG9dQ2h6U5ntXVc651ZZbCcp6m7sTfXYzc707tA7MUl1eFxeLOliSpUR
KzwUgHbWOzcQI/Ixd6K3AiM6kynGPfwZqkvekKUkSpg2GatCvaujpC7xJetTDVsxY94me4Bjr4aD
fJRtgU5Ueu5DzOZrqHaODPNpJnPIFgSzqOrwUIhmeJi0+G7H7HPzVpu7ck6iByNvXF+nIty52qCR
N606BxduLSuK9j02vNe6myGlVrR1OqkdL3IcB990j+rA2YwXfTwyI3k0ehZNgStfhNfph2kcW3Ku
swJ/0fw8YMU/F+Ba/Kw3/ISkp7+1Wz+POkvgUaY2oZKW2TP4/FuKZMLbnr9QK5V+RBVx1NV82GkG
TpRGKS81A9QbeXHSiZ/dFVUkMdCyklpaQd/gnvs9pCIio1hwy7AyJPqj3Ujz0LnkeG6w/a1JJewa
Oi2RPg2pGWE/OWNomWl+JFPbJ88bmE7LIqE5i0SDyseHy03yBTmYGdgQdybp8P+LufPYkVxJm+wT
EaBTc5vB0JkZkVpsiBSV1KRTOOnk0/+H3asZYBYzqwEaF1d0VWUIurDP7NhDRrf1f79fPikew5rU
CeURB+ak07vBuO3dhG6CMsMHqONW0lKcmxcQfmNcj08mVCvDhLiz8Vr/0qazcfefL1RYIIeZTQ5W
NkuyA8fz4zSGxZntq9+20vfeM7z0q3FKHnoWrksnhLGvgwbn8ERxSJGmycV7ShphXBIWq53IoHMK
2fKP678LOFscLIvoQxgjFwuP7XO0bf9+WP9CuyUG2Wwx//tEz6NzFzQWvTEKE71u7v/zwC0TY8y8
4rcFeEYQxOhvpcHBLhnDFAtBiNTjpFZ/EVMlDh1fzhsGYeSBzPE1zgvrwgXGugAo4DRQV0gWrbeH
qZjdD/GQ4S/N8v/+XT+4KLkKMySyP72eMdNSl79EoVG82XMPNok2syhwPetYgApI0pXHO5ikAEdC
6lqP71olzd2UYWYLUNEKGyQI6ZlsnbAU93oY24gCgb2dWwWCq6uvwxz89RCU914AWxiUxWjSNTvL
+V+Y0sctensXxyYMWDsDYLvQDVX5hbM1jWzX4kU+MAK72ow5cRGapNvjChd1EjMAnYjY64awVBBS
5kwnGgkk9Z7L3ejX6Z9ptTh8ZGa/jFXAhoKiuyLt3CHOD+S181PpYlbuC5ewFlt/2GNIiLHn7n1n
3M3VdNGWE4V1f8S8y0Fndq9Eoh5btRx6alcnYYmdZXLrk0P4uGTJcwnTQe8nrNKnLF5pW+GTKzys
SF2Zb5p2G2b4NJXd4Wms0vjkxQqAKxm02slMVpXlslDzTKFKgVgGwrkc3YeqkYclqLn54d2anAPF
Hy1H2LnZ0W+7r+w1F6CNt0oPd9w/1Z25mknagKCOwZnfm+JLzTvtA2HfjOPtrKH7ZbnTwLgILo7k
Tm4G2XCigIMA3WW2C3a41jxWumAd7q6IwYBNqB9tgQtQRMqUzC8vaqw5ZhQ/4GcS+NY0sRaqZlRW
vQK9QIQrt5KbsRfUJt7gPgddmnxZeWlv6hYfgVdTCTRa1sFYe2/V8j0m+dE0USRNY2kBsE9vIsF9
JsVyJ9rpM/C5bQ3gweiBwL8eKHy3JtVR+eC0x9ZkNOhguS004bfcdR/rzAsZMU0GBcD+nclTsxWZ
Z53mxgFPLhPEhuKWgsYnw0qiUC//rAzpHa0Bs1eqgMPTrLAzyreZMpoNZoVuY5q9c05m+2wSPuhZ
Ix/sZrrvnb6/TRxxn9Rh9zqVdAi5FS99lrScLv4N6517SQbkvKWmV6PEOXYqMZqyW0MpYxYGHxg4
gJdZux4qADpjekydTu0Yc6xuWpp6lBt+pBbYlrnobkM3be9jFHSMGda2FgrBJTYwWXYPXV4aH2af
7a1geCpT6yK7rqWstj8ZhP7WcuglMkOXH3fKLxzXugPpcoMGlOlUCxPySQVWYnKXZ11O9ZNPlvGW
U9urstOH/xz//nPoi8VQnIzA+g5sif1k8jjANvWeAYTGJWTv1Ro0oHCq3M9iznAL4Emn7Q5HasO2
F+QMsKrmTmMbZEw1bHJz3lreqHaMW/vNUn6bA8DtFPBA7McEQbphq8eHOO/HK70D28ySdMyUeubz
CQnVcAsdTQ/eyzx/mWkMX8XU31gEyP17IR3TMu6iKW1XsZp0mgQwNPFz46tVnOCJ2MDJsw/9/CPm
bgBpVD3yhlOjPTOtcsIp2PZ8sJ2T4wsnRrh3ev/bbxz3bOpf+p6xYM2nwbbknuD2hzATiJmNdO9M
BRnZmM8qnz6G2kgis80xmM3WftYN77flEIydun8GLIZozg0a33pMj+nD4uLnynCikhdpR/otWgGG
Z3zSfrHsDYW0nKsrQWHrphTVezpbf8Lx7Zsyl3YES8/GjYDxHua+Hdc48xdmcwp3ccCKG4WDwEfO
1+8MBcRmxDzY+VvPJWI75G0b1Sjvv+F8rfvyh36Ug/LJc9WCD9WoaHSuXNFtu5xBV1l1xgYL+c60
OjNaAkkBIGJiCo/I00BWfa/4tGgY3jn5B4UPyX5SPZYA1d6FlcCYMzR4EBSX/954lgX1J0NevitX
vYJkj2hhLDeOawGcFsyXe0rE2avL4d3srH+imsrbgbB3aLENmhw84YqU7Fmy3Lutrc4z4AQlQIM4
8TYtwC8Prbtzxzzb2rhTBr9+WFT9kboM0UcXQ+GUMLimXYb+l5YFEPrGJiuy0zzkj9ZaBdzQiErn
TZ23zo0pwAyEyT+7qN6zGRBFkBKOQsU/pMpJtjKEyjMHyZ8zWXozFsTgHUP8a7wUmXnSX8I3XuqJ
zremZl4zc5LxrPTWBqE5hpNzD2WBY0HT/Dr9u+NNGmt5+92GHN7jmR3cEABGY446ove2nmpwheEr
kjYn4nE0cWcggsVlv/Gs4HZgRNzMab3F4k0WeYl3Woz3dQVyqb1png2PG7oymb/U/TsXHqI6M/un
bz+C2IijB7fOv7qSdh+VlCj8LPCxN70nFIJveuX/Sxpt7ymDIsdN+szkFgkPRDyK7KdIvOfB9/bO
uLzOBUOltq9slAWGhIK20tY5On5BoaY3GqciT1+MwmdsOeScYJovV6U486nWu9GBe1mjRSK2dq6j
Kf+Lu4fccpHq8nafZT2LS4DKSsUkO149M0ERgHclQfpJrT9X5hx9SdwmKHEf6NR+dRaEMc+lV9D7
ocHcP4Xr2HeRzGW57gfADEqz2zp9+0qxTrOFhrFv6uQcax11RRzRhjNsMhsnIcCZzJbc7hgAu9Iu
d5ypmDN7yLkU5x6kRUZfUGGU9VMbYR59yrV/TjAOjmuXEYcvtLcxvEV1JthLW2dhzC+yJSTfpSX7
zcQfGHgLvIeZ5taQe0sZdz/O6ua0vgYxVoQa/c/CxtTjIw3o1kenRcyQ/GhVnL3rcXie2ToBv9BA
noL5TpS/b1i2vIp7EYl84DVADOvqWnj+HU10m5pLv5lfVQDxJ2j4rPOaW1slk9+y4yFRviS6Yd62
pADAc5SnjDJl5qH+IRaPcGnMzRizo/W4qBwEA1k/TSCqc6PeKOGbB5H+Jqn+qVCd4CJibef2ualr
LOcsc3hYRfsV9ljOhCwflmo+1aa5p4sre87wjE5cwngnqfioaaS0Y8D9NbsSqJ7xdQCTd0xRl3iM
Gc6aFR4O2GJ0WK79ouBTzmhf9qagqU4X5YtTdweMqp+m+TgN8knWNZgEu3M2gbLpNfHWNwZnYjfP
p7Fh/Ylp3TXbdKSFr2mYEnQPTp5+BEVo3rhsUrSB0YzRTdW2yr7mmgpcm+YP3l/9YGYkFqx4xN0M
aI3zaLf385IiOoYJK3at6812N2jepNanwF4PcDbhLBkh6T6/eKozh9hSNYC6HKlYMcPyWIUOUUDv
UUrcI0He/8vi+UataUIiY3gUJVphTtyUomMPm9zDxCMQU2CHS7z9KfPZ23WOgg4RPzFlIRum7wp0
8UgpJint1N4hOT3kRB4O3fr+jT6MG6G5iKZhfjJD4qzCe04DakAHA5+DVn9weePIEyPMlPqnWFN/
tuO3G02A+Ma0nTfLGuybeq5TiA7WrxrKK9a5AWERtt2cJveFjbDXLPnFlpQSpIm7MxLvjR9yYUKY
v5dzCvo4xHMzO8sdYD/0skCgGvIA7BcpopUyW5D6Pfshc1DYXFOX4f7MoadOrhdxi97I9YQHxKfF
wbIWaAnQxApsxOxB9rIdzg6Njw+naUy0ESwJ0ihxxkx4PQuyp1BE3ii601tGB3yRu9Y/sqkfS2l3
Z6NgdgX3YKnLW8nXKbC96UBB8G3IImVhiHNq/13E6szSfFZJ+Dd7DORAIuJygx41W84TShugw9Rm
5y4+l0V1+6Qa7svOfyv8BnRLvc+b78SQdzyrn+1/ED1okzUpGwJNFV8zaVLLbN2Vubqdk+lax1DD
U857TDbpj4gJ8/DKyR77DFFcHFSkZRTInxYaGETnzeJPoIEkuysAhU9icGu/kKgvhu39TL38GueA
VmBJJxpF4GjLFz9PplNVHRs3IATTvc2MV/kAva/c5yO3FqePtDI3s8H5emOwY3AmKO37CZrMMol9
gTTBJZBqHF45goinSTo54/PSyxc8PlVU9xz/U9GaN+ESDKeeXZ2D2SfeM6AdiQP0ANnoTG8hXYgm
TCd++ioPr5WdRs1Eim0KqMkrLP8RwzBGEpwWkIvnt5Cos8tCXw6XybJfvYTXLzgaxwaDuUUBHCx4
wrmnzLiYDexWWDAYpz3OvU1qwjBAs0jz1791l44VuFR1lBc+DxAcnWgpnfbMIemt0wzj4cFsG1++
1NwVZZ7KQ1FSVDgBXvHLDCHXJnRW9OfFsL4XAmODk9B7kFFnM6Yc/hcnYaFeT72PldGxFvjwxg2r
xYxdQ1/PdVtuvCAvQbxjaGK54XYEDHF2YIeBDTvA8H4UKYkCz/CXzdS7KX8Yim4z9DDMWpyiPca4
DtW6QDvdWB6/uB/DQ2vHAFsMrnQqt0CBBG+VeKB0lDMiCJIbMyzw7nZvwUrxscb4te/Vp2qxGHgD
6mvZ7Ap7OIjSfuptvTwoOgM5LfKr56HCHO/ove4HtQH4XnrWfZcV5zjWuIwHygiZw1xkIuKNnkzM
JF35Iyab1TRItlNQvrFn8EVOQoExU/Nl7LwzEmW7dULvYrXqzu5f3cIWkPXGKMwnfPFBtUvG7JOo
F8d+0TzGCA7bOPfv1Or2bTLd7aCdPg0NmKSwtLF6xqjic2+C3Yf1hwlmHyYW3rRKfOYLI3nbt47V
yGIOeP7IQ8iyklsbAPK/kiZsdoEEaGLAYj30yT6h0XwrUazKgPBy7HUkzOgLPLTuSMLB7SQHNfbq
YCkfmdsRAwqJRhll86yamBuBjR65SGhXdvJTIQtypoR0wvzjudXWpbGRq02Cys5SiN2Cjo7KJ/eB
hUZs5sNMomns9qywu9AIwx1N0FApCfEbDvPpWE/FXV9Xd33I5NPrK3nJNWcrt8eEHWTSPeQoVGXC
zp52inAB0CiRkfyZbRDdRW0e4hZZXjFRXRz1lTcFsKqHlnTchrMLIWubBGNi5ecq0zvufkU0JV+1
GWN6bdKbxkJ+bRYwds0E2iGkkaP0GUjWBeqMqBh/6ApGRbzsuip5LXErFOt0Pa7VQ8UmDSNeVnjg
4I0xYD9XcVhs+xEPqkjLZ0DeBxjgHTYlYt2AGv1lPKeCAErsw2E0vfo6FMavWUmD3IivN0kgH6gc
vh0m8amQ0TYN7a03eSiu//knSIFNVJfwSBNmChDH8Zv32VQeEpZMasXh+vsYt/qZsGNCtU/sebzR
FIRZHmQeWTISt838b+gnELRw7Xoc9W2W/oGexOpmBctKfjzgtxlflCVPHO7qgxdi+Mld4m0W5aub
NHPUzvRwzpr1VWXYmRITv9qc57uFOObG8qECjiI4Jut2lZl8cnDOI1E7064Zh3uRjSc8kcfRKPQ1
m/Vfy82Uc4G98S2fPbMnO0ChMPgCX5/ngsiYO0xhRElngSkSS1DGxrR+PWC3SLA2K2en4bhnl8Nn
pga9M6ADdA4FC0Mx/mVL/TZSabq1aZzhhsBjOi2RIg4nLc71VICLrVNi9sgx84TxHaMixg9Btnq0
SUCwLI7DP9NMXiuIT3Tb1Z+lLGbOTcNDQFH72evW9qkWqx3EwazoqjumZG+t2UwbN00hCBm0vSOl
cn7BodPZy97xeDfyynjjqDnf1kHBUGPhFhqkBtMUHrnGns/l5OVXDpW6RB2edSw4jdV6L8fqwDH6
bAwQH4zFNDeLN6QRv5mNuY90qHsYRHpokIN6GDE8+yCZlkzv84zf2LWXKLd9cre1isYMm6WsnGJD
rSEWuKFKtmgsfEWq02j6SDOpG3kKToc781o8AAmdAjoYk8aq/IkOGt4QslE2RR6L+SN5LlPTSFl2
eR1m3T3FQ8sOVzdckTD4pXJJrzTowhshIp5gdGKXz1hViQ5UUxewzendYiTTcc7gDC36b2bieaNV
H+w85g9nUxjXMneTO3y2QHLytynM7F2R2VQWOOTH2wRaEPmOtp+jiU534trQAhmu4Rwbs70i7tGT
jIkyBw96mKb6Vgq+/Py3x3TCeQSLo4B1y48+YZusOVbZmD46uS4YuHUKWfHrc8KGbXLlSpgdHK99
9hphMxNL945maVazf08F4bUqMbQ4jPvAeHBVbcFsUUFQopA0x679lJQBtYMLx1NH4RIG2Aus77lx
v52Y19HXEF2mdCUmusXWdsSndovHvnbJd9bqpfNIlC81lFgJxAL/ECs3ikhRYp8Lw68giHEZWvde
Ufzgv381Ym83NvnnzN1io63gMsUNRBFNMnSuax45E/dC306n2YKdKEYMWbV6LpXc5M3AoBCz+m7u
F/WinR6cczMfyczcYdnH0K+aYVvUi7eBM/8iUJ5v6NBhJwE3uLNi2CV87zd54m1cTPOTj8aeJcTq
+yYHOcjlaiS0QH9fgmNdjfuS0eDG7nMaA9xuNSet/4+AjGWRPIrRZGvFCeqvkm3QnRlX6RuCg6zq
K9LeGqA9DeJPdhk+V+rEqox6xJaMAQDOH+IKGEvht5rqgxlEhE0B2rGpxHYqvO+51E8YeshGtru2
x9JqzU8lc/zINx5C49TbSKR0EDMXplkaq4xsKBAToO9KWHn9OB6rOKZskHN6HWfOKWVBwZk1kBrA
ir1QSJmLjjK7BO6D28OGZDITZvVHZSKajvNgsASNp2UKOOwb7rS19tkk003cFsGhxZBP6XO+D838
E71YQoKAYzu4468vwWp4hPrMqa/2UMDjmxGChq7gsFU1ZvuWSBF2cl4SSj7+9zZr/igFDmF4x8ve
n4rXFhPyVHVs1DXgJPw422xMsVYDFZqCEKF3uBYNkcHFZTLoNYgsBtK1J0k2WnzwRigOkwhguGGJ
4wOzTD6SglIgjAVcMHAffmXERbiDXsvUR3PqnItZW29jh5mzbS3eCj/sbrBaJyjIy7brhUdeqm6w
uBI6mHFWcu4SDSfIYpOhS9Nh6nLUkwQJRxd9KCYtnKa4xqwEk4wRrLH4VPyWZfPSwhKrLSM/Kwu0
AEkfPoWqxyGizx5uxhvH0R9lXZCDcYp3z2m7o9MnX2ZGstLgJqz6bWPCwukGOR4sl67L2ac+oXsW
FpI0o0MACsmd4rpLyKj+lV2iAWIFH3YVfjVUhBizvJhB/kxNPUwco61BKJUbzpD73ga9NUHrYKzE
VN5lW+X559Gg8lEQrmTgOe1GryM9FBSkYmSOgQE1yMQOIwuD4C7A3sAHiQgK+egM5JfHyeDUxxU7
ZEpMUG1kvetsuAn6sniNu/K/H4yCJFaBU1g4zms3tAEfql9u0vLbiP+VhYfbyBcECFApgQSS/u1M
H4TjSGIlxZOVjM2Z6uu/zBt/hhHDYSq12viN3DFRxBUd7nuIm57hfDIB/ErMMeZrB+kcmHHlY4tN
iMfUMUfRvv2m4PFk2E14xM9z8ZJOnueBY1ttjw/GSIxvMJBpk3+YQM65hjIXJtk3EabXxcoMckgG
dnb/AzcZN825PVasHGirVKy3TFk6UiGbUZeQscbX8GOcnH+eZ7EvUQTIiQG0sva+Yo7wmxF/T7GA
4iVdYeNfjPeFuaQbWTMamrBNE/vSO6fnwZXdiEblU4mSUrnNqvRSVSuB/VjyEMQjQfPFTu7w9Oz4
INw95gMid+bMAkbi4Q9qBtxCpZkxVvZTHjNIqpD2/QBhnX5isqTdpy7Jy0+uKSIBmcXjJfSiIfuY
A3Oj//bgun91SP3iEFP11atzyfVxv8zxswoCcR7UQcM7PPWW3IGCSo/uQAksfecM1UIf4YUaKz8d
n3DV4xKbituSlXkO827fTuJSqJAInsSd2eHN3XjFdDJAlw3Dk+qGnuWEPkHHDRmTbKCA3+QYiHCy
XNGSjpRCANJrIX8rs1/zoTDrsnJ6CTuyg4MxvZaoP/DYwovjmQ+FA3eni4NvVmW0YHvBGDOzefWG
wrCUaCOKZTT0fG2WGMqAREbi6EiA7gIgdf6y4epHuWpZCXq49rWh4g1z++HAsQNdwHLSyA7r71ry
G6Tla8u8lIEmFq2MinBlDCBz4vYAPbEAXV6cMqpTCEwl9CS3GCfG9t+ASDxN4t9kwFWrWUV5Ccyt
e/aTfsZxY3V8x/UCbYKIibdwKXMzb0uv/M7uiEpOTNFXcU+0wPg0ilWj511QgsnsR44UsNW3TOlu
ZcAKq7w7g9d4Y3chkblE792qabZTpd3I4qSVjRjn62wAvzeZn5WngfWDwHAwjdUoOxN6CgC4NqCO
Kth3CzidhgvGts6N12lm0Vo8OBjEbyA/oLkFWC2aAcTXtFRvy7LPi+bfMPknK+FPK117P4Oy4g9C
fk0cBn+CUZaxMCkb4mNthGeREf4qMWeHiekdzWR+qDW8EYFp58YHXNqY9RtnD3OrAxJIODoqrPbD
uKTM5gNGii7T9/5lyNqnDjsR8ApATsOMQqbsJ+5Xe2ULIPDt2rWl6jPXDUQV290a3H6QNUhCaUxX
MFZuabl/ZqWhbm6mOyBnRe8zz2TIs16MC5IIllfuZoNVwO3c48ghnLLfAH4tHJwbx2oeyunsz2C1
vexi5oQ5xuW9ST+0YR2dEZecZXJLrmvF0+fYdxmqKQcsEP41cRaX6gXDZgSjM6bvzOl3IbMenpsi
2K5fDklWhklWhZNC67u0+TDZITcOEyf2/fbdQt2RHjnBJp9fs1ING61YWSangdO/yVJQ+rn+5ae4
LTP/soaAJ93fAuF+aanMAR2/LbJwPCy1QRIUTbt0ADYvyfThdyHNPd5hrn1yWYi1MvYbsLbmtQsv
YxoCDcr61zSAKxo+1en0XUDX38n3Jee0IgeAvL6k/qlM3zl0yk1jdVSPOu+soDS/+dN1GYyrAToU
swuyc3vPQ3j2tXvAwq4wAnqEbEIm81Od/0pB2hmfRbLKCEard6ngqr3YWI5EiI5kWdBTfUB+wrS/
GJlFRpoxEc3qg72yWYtvjea67+uGc9ZEAm5MUUzrcJWYpkOmWhu41p5LE5Qsywv2reuC8x1AFC9W
vUTeOmkcjFdRypD0DEpQ0lPrasiXstSgyaH2WhyZOERBGbEZyjDF2ZsdjOd8YSUxfQcNUAxnwXxx
HslO2VNSbuZW34ZJ+ZhU7l+1nCWZlJAveYYyuenSMAAGBFndm1BoU+QdTthk+1qvP5RVeNuLQZ2J
lq4XdYCLqPhnOn/fzIVHvKjbcZt7P4YDyi902/tJCBIaiXpObfQCOdavGOCJNsWsMQtq601XxZHp
oZn4yJEMACZmUD5Tmgk2NXy0L6dgvoT/4DtIODa5gX4ukY6idBpz2AUo8q5A1eeYVUTKh2vLh921
V4YSGAkC57fyxG2gw2CHxkPGoiPx3ANdSBf6TVv3y0vIJhLBtQiwclliCDUXiBI2UaisBo6k2wLk
f7A2Uy/8e4Ml+2Y6GMb8L7W7tzx16SVLHzXNIdKimEw7V57sEW8VCmkaAG9LqUn0iQ8GsYoY6IwY
V3nyhHVIXB4kH7GkBmqeZJV3U9axsaeuJIB9ShVkNV7twmqvhiLn6KTdsWLG6VU9BXHJeC/aIdu2
DRfhaYqPgSt/NCMCY2Zklac+pmBF6LEcLw3BLC7vGnxAbUScX3ilohBH00HvgUxz5PQYWSGKs99b
P7jpPN4k1gMqDLb9wjQdmKIRNXX+k2rjoW7Kp9wZ35YY2wCa8E8TWs124GAmB/eA7+In78LiiJV9
W5K1s+xuiAgT9YfQ87aWBuIl0y9agXx4M/WtC0aVDF0cYIUkuS6IOULNn2+qgfRK3wKaDrHyM8i6
S8zFOCnHeMGU851Cq9wm0/g+Z5oZQPpiAr7dqIp0hnhaZoQCF5PHUtBaLgckgQm5bdE+El9ZAvvD
PlvI4i0uOKJ3mGtpXxIfVjejCNWf7O++/1vr7sXuOKobMZUleX+VhjoNBReQRtefeQBvsRIfgc4L
HkkG/EWX2tvWzR5H+62hu3Vps+IWU/5GUTdLBJqi0v4w9KDzjelrtKn864aLQ895LzhIjpl9wmoN
KbSJNBFU7u1fRKafRIfbpx8tMKJuvrUbPLNiLRP1FBdJYd4zJhgjC81lm/HGmsppMFbUl44t19D1
6zy48uRP/A3a0El40yVr8X+rBC7+4sbX3CU+ngBUIsoHIVPo4kmZAbNUpE09vMQh0qnn4z0Oy+K9
beiuyGXLQWwXkvtLyX/Lnepg4xBvIVk2r0wJyMBjmd16GQ52MkAskJ2GCgGHZOdegnpk0r6GMqzW
AjbpNO+hg/Axz2+JC4rTalKK7ZmdhUj7W0tdPZ+GI8UQwSVmHeUxoJhA0DA5zgmxXLXuoIhfU0qy
vbe24ey90poCNzdDNKresTy2u9HkT0IVwb2Oc5Tnx/H4z16v/+q5uA+rsL2xqvl+xAIWZV2OiCu+
MTRWZysk6NIhu/P1hNVhu7u0IPZOYfnFzMpX/wlNMDyANYWAnGNepDoqaKaL1MN1KT25CziS2+x3
HC8Xov+Ge7Qrxrptfpm69XAzJ8+jXeyHcbTvXThNnkUIO1Ds8WaKT87NuqNo8z/RFIe+fy0L+emn
QwplS12bmB+pmiIn9D+kzXLTYtWMynRYhWPJB2yHh9gSf/HECMhqu0hMOdpWBQUpwSuOsW7nKfcJ
AP2rVHCYwERHtcflqqa5eszUp1dUCCqTpseurHe1GqxoGTAk+1uRg8AIAjeIQmG/S2FEiqMaVc3j
S26i0tJen0QGHWg3apwhwE24t7B/Ervxa9LV1W/OlD7KAt/aOTiYitWKJ6r5lyoUDh6DflbZwnuH
iHCDhfNcWu6yAl1JLK9oMB+k2GxKcQNt3hMvWYAPDmnbjGwf9dmaGViCTVi7g4zjAAcdG8KWYN13
QpVUFvsfrgNNcQzQEsbg1USq30uP0WMDPetE7rluPLnB0dDBRelfZRPSxU4ozUhUFvkr3aHE4Uwq
FnfyHEJoNdoXt4VaQpRTOTBQVB6fqpR928wNdiXP9W8CDiOxjWs1zpj8Dr065Lb1nUwzypYNd7Al
dAuIwwd7jm6gH7JsOkz5gAC2UrzmzGlJiMvPVvp8IHVLKUbh/kto61wCunIaej9hjGIuFRVbhFvc
3jUM5DflwCbQ2O7PHH7kYC8swjQRWK01QGY9g+vNNxqHUGTj4Y80vfR8SdfAlgU5rqLxaGAiqMGj
RRQ6EPpLiWMFafqmHN+L2C6P7HpzZCfGcenCRwqaF5cARtg5ezgTBk31xa1ce82YbRClL4MXNH08
jsPCV1MYqOBTS0EJZ4VelYAQAZoysOM42fr/NEh4+nro6hFE6xiJM6d60WXNESaH+98D7UQJHNyH
wf51G/Xn8kHsxsoLIlH8yABBn9aiTYmTgl7jnEoSMq80HYfsOldn9EoWpZr4GdXI7CEx51o8lYHQ
XJYcLyDlxkChr6l+SnBL4MO2dwM+sI2R1MZuthle2pa5N5teQJnwr8vYWnuRQFdoFnszKL1x7Orq
Ju/+1N+BRjl7APXy9sWI/xAWr7ZVPXGBzWBOoC17pbvN3fxFucz4Opn9I1PyblGbBC9RUbcghAtS
BQBCOC67OWUelGXSOpiG/UI1WeNVZ78hxyJTyfpqSTob+DoXw8o7bT9rxao9488aPdxzvgBuhSN9
Sb7aBAtlP3tUBeP+qVV/UOuCElRno1O/iTXDv+ZNb3J4NHh3btzfQBpfQtr+bszyPze35H60TIxj
TgEeg27lW7aOu6pT3j0i59ElF3jCOEoIOTY5/zuIz61HoBWJ5I7BGYt0iGW8jIFnpx+Oa7xrbhA7
b2xesXs+9aFJu7h+DEXf7RZL/VmaLGhb0Mrh1FhRJF+2cgVz4AfB/uMdA98fjgxQFj4n/nD9qHH+
VII+AXiNDK4SWx/RYH6xNm3r5JvlC4z4isFZ05Nfy9r1N/nrxvy4pl3SfH5bRImR52NwJoaikLJM
ecwgJzmVt08TTF0yPGOMwLyYyBPnfH6c5qQIW5JrAUMKlNjZ0CGwqOIaspAofIwVTGl7XeCJfS7x
oVPFYQyrj5ZTQaaT87wUH2JhSTL0rgk+Ootr+RRDwbDT78JgH/ppa+8ss4f2w5XJVYi3xP7kiTtN
7IIlDCD4jEwGwxOWmnsORlEuu28PmAS1pP70RmCWAj81voSjvmNMH8lgNVTwI8JNVlP93ra8C4rr
gNt3Z1AOhVNuKlwHbDKcTs29HnAPi61dh7vwwmxk67ogJUrxwMHjsxudbRBfY6TMMHEeXEgltc2B
YXUleJoRhIrPcQnOOKueSHBrX/0lNmPQMbTnm4kGnykURy/PD8pK31wJxoGDquKd4Ub60eC65hhP
U7O1T339nPTFqS7wcbZXZY2/lngR1B2xmtzUWbHNCx5PqKOO9zibCXeU+SY1gntV388zV6D/+z5W
alb53/9b0+r/0se6/9fcf1X/+v/9t/r/sI7Vcii6/T/XsT7++x/KzmtHcuXatr9yoHcKJCMYJB/O
S6V3laZ8vxDtit57fv0ZzL6AtnoLLVwBIjJ3G1RnkhEr1ppzzDDL/+clC3/kZLCiQ2vG3Y///cf9
T/38Wjf/+w/jnzZ9PaZupiNnr79LJOqvSFbN+acSunB1Q2FoAMLpkOOa5VUT/O8/lP5PR/Is64bk
5G3gdfjHXzJZXYNppiuABZnKtcT/TyarYf9bIqslLctUElUOjhAalQgx+PW/ZB3rHQwCVQQwS9r8
0woEWfdDc5UiXpmM8q3GPppPd2vS/TJg5aVNZ6WPGTzgRdAFPUju3HrVovCb8KZ285dP8/IrGfZ/
sja95Ij4aj44a85a/ldi7PzzKccRfGy2bZhCiN9yh+OY5nrmEbURMEjYqQ6Ceir0x94W4jIWCs+r
qL3N/e39kptoC8pMe6cjyqIcVtqlMugYE1VnQdAFi2ZWmXjhWUb60xQFhJCpWFLLTV9SN74WibVJ
ta468r2lzyCnQPGxu5JOZ5/nMA+/r/Vdrmro2kon+Icu7FI0EMcehBZjF4HCiMk9/FZ7kQGTBYG1
TEBBMdU7O/YCC4j2aPpIplJzAJkjafH6ABU2+DTTV9PVLqpiJSIqzFAbe0QlNbSz9q9iSr0rcCyz
AWk7J6brxDw6PpehoALsjC8QGMJvUeHUiOFt+jqzrMz1rVdD+uFTCjJcM2R3CFXmLhNYtq8pKoB5
OGBzXtSNNXERxJnbfXisezd9nluPCzwJdLF//dsqzmi21bsOwpr2iyjlcFGKw2jo72ULLalolXt1
O3hZQ8eqWYbaN03OUN2q/SmV8alDwnhxjMJbYTJCQynCdeEYF9+GYePHdGuDUqTPqe4DoFi5HYmq
wRjTzRAaaSIqD3eTQivgY+sA8tvzJfi3wG1GtJ5msFWNek6cbrqWkkZiZvjJ0cwLrNU9MfM1nuDO
9YMNXrrh0sA1ugwapa9e5udUWGLhFqHxLLSKmDSzgPE3v42JJD+DUHDP5myKU1EJvqfSfr1rdW08
wpve26O/BxhF2TbmLkiyoSU6F/8/zZllQ07PgYSV3YT4WDnT9BLVyDKlzEiQJb4gdqbHu8HxfskI
oFv0Wngaar9ncMFKsi8arDcpIpITzUaUVyRQvCcTBxOtAD9oWbOf0LCf5dDX1xw93SWONCSucGUQ
vzgniTD7PNY035A+WCD+ip+N4UwktyToUKn5ETHUXvgDuMjOa3TnPWow5VVeAtjetZ8MNINxJONz
sQ9HUR1HvayPfD3TXusFzSC66iWbFS96eICMaGJgPajPO/y7fGWmRSSKJxhqRNMWalRmrmluXTMZ
jd9R8l0RzU0fGgB52dFVT+tGvzHk7wEmWx0eF5Q6PslmMXgSnQ58HNrXolspNZvzZGNfVYpJtLAy
QqG05mJ6E7b1X44+FOm4d27WMDEJn7+7xI9+qPBl0lPvqM//Afjzj8iNs53b1o9OUdgHFG+n+u4W
nS9uNhBIZntyKYxUO3jBCP86Q4bAmb5YNQT3fKXhzJNclc/6EB0ixy9R7un6yzAzAh0cc1/zvLz4
SRp8+y+L4d/XQtudtwxhIKCxTfO3tdqLu1GNNh3zxvBwU0V9fvQDMGG0s0/AYtExRGS/mdaLDzKy
EhrT9eKtCGkNGfAMJ/dcStc5+1hMKO8yk6IRicKoTcn30faf4ia3sAN6ZGbg1PSYAdBt64eTDbPm
z/8QQ/6eJm9ZjmvZkt3PMWxpGr+t6lPIaBk81wzRdtMNB8n9ILRxK0KDk4+H7bK08ulYWZFxEZGl
1r1d1ouy06mpVe4++kHL5qO66MWHIgqBGeVdUHsXsMz+qUrB9HpNY6wMFzNs3ySAzhvX2VborOnd
wH/rw0zc7q8MwFJZ5C6bFr5LAyL6JWBLXqaxb6ztaFxojjd+IZISOqUePuGLmww4NV/mvr9dGdX1
ftE15R5E6SFgrtPwJLvWvfba+D0FEPResZbqevSRBaHxwcTfQfxUaDvSUKL3ISQiklFdU0b9ucMi
ipYlc1/bHKeKMBq41MQ1PUysowunmtrXvjDYOsK0POp28q2bXY82CpNdLWF2S+O1sk2m5Mp6AyKD
6coZnRPnQTz0msnKrMgeTq1uia9hEfQMape5F+xDhykELt55mwHxyhGRMLVE9oSed61WnzxCcKLI
205Ngt6qZWV0yPCoClMS7OyZxyZNxrU7tik51bDrVNjh9bPh8El9Zncw1uSwnQFL0hLoLcxHNONA
BY5IJiQQOrI1SR8CW/5o+IJQ5DC99PMrxEPsAoWfnEq8HdB9HH+bR1F9LnsZo9wduIeVFsPNwFth
Z46NJDYrHvXa4BXHElHSrAL4vOh0rz7TtcJRnpx1La5eG3T8owq1m7CniMmNnULKTuVaQ1n4HAnO
Ng5ZVdue6IPnApXF2oTrunTBlGieLS+OJYttT5NoOUXO8s9PhqTk+63codIRlq5Lg0fc+b0ca0tc
6njxecSLehN4TCLrUXOOE3rLHa0i2v69rI6ySMgSzPFp6ybxwg7oLbv2yPrBOjUvxPF7IKwPZc1y
Kq/6UCFZ6RHjxKj1hxfpjcNZ1UzjR9SXobm3TWsAaNW4SxJps1VHI9bqsJ30hVLo73IUJ6r91ho8
PRAm0h2lx9U0/YmTsJkt3U59eIU6W50TbLPCD/d//kjE39YKCmDhstxZNjZaPpp/r1AHXZVimNPl
0qTZ5mYdAIAvce/2+hxzJzZMV2fmqB9eIyNeJvQAD/rowC0qJ7UeiaA46m1ZroVube3QdHZ9xKQ9
thKx06myr1qPpUdZffadnXEDeouJdFqWR4Yn4zLK5XYYrOrEPKFDIVBDUsOCt4wroR/NjG2a2Spm
ca3d2T5YhZxBw0PMqX3fBMo5/vmToLj//e5AJ21IVk5TShBWzm8fRde58LtnOxwbJFyUQxlN3TP2
zWJF2dete/Qqj22V4xpBpNekNTe8I9oNk8XLEPY+g29K36yzXSAPvHXMcjyEAsqI63Omdqgad+jl
m9tQ+SeT0ye+a0N7VQgfHqpcwz85v/UKzpzSfFWjJY9obJFgT4W7xL/C2QHPX8FkFb5arqpgjYz8
X4cHXyd2ptG53+iO26XETgId7ubHGlY0qxEvkkowrZo1R6niwzPGn62hmLFLhLGbauZpoOpn3OoH
R2IFiYhqoGA52uZe6wAD+wHYfNzeV+RyTIll6d18GXfezxKbfLWCqhfuNCW8w/2SaSgAOopBaN7t
sHayXq1jzHBvzIFNL3hKU19+Cp0cQ1UbP4pCXfO6XSHgSj4GSdcpb0fjOAUDBn0M0hDHEeJ0zEAJ
g0yMh0y46S1lCl1C+79Nxj5EO3srHIek8x7i80DVf4sikqI6+EiQm4KQ0BC4yZSXASMQqQF09lv/
6KLAZeAVyNdkpLRKaAlfU1y2a5kCuwLlnKxDW1yi2u+eR7vunuH3w6ski0Dv2q1fYwRKFFlHdqN3
m8qTFWTLiMI2DPRZiWYw9OMtSTWruNCNs44vb9OghDBEXx5ddAq2rfnXofnMtUhfWeaEDS2l/YoW
Yv4Z7XQWLzpdQU8NKdXYWvrHGARkIPUotPXUcB7SvP8RS9c/UWh4x1/LraJOlj5oBC5RUXz3AoIb
NeHChWIK+GhQ5lCiY8wwMs+GL5+5l6713kU8vupWVL3qPszxIvI/rFhjltGRQ1Ocq7LJn0FHZ4ce
rRvxW/V36Mc9ZIXyqvuESLdZ/cUIZhtbwAi2ud9c9/dd7ZxZi3FG3/99jjVoIG24CY1C3tKCQZBi
RHu1ITvFHqjlcL7cX7EXdjS8yEOqXc1mUmCXOzfGIzeCh9fIW3sjp4vBSOWPJ4vQ4nUyYPpE2miu
/MbRt1C1iw8Nwh9KvfqhLOPqzfK3Qkc1FU0oO0rv6o6FftY0GxM+TEQQEd7DcN+zWu7j3RjP2Y5I
cBnU1ckKkIB8RNnbo0aaC9nRyridZmaS7tcJLPQm3oaEGdDUpYVqmec0ljAG3Vy//Ppm4rCExie9
+BD5GJqSotL2TuNDHsUuMVtEiktgavp2CsPX0S5vWs6JxXf0nuwwDJckUrpqb3BOPVReZl9D1PWr
bIQlen+rSgfWfgz9ASwIvhBDC5dGTgxNE8dEIEeCpLWMrG09HFlurXg4Gc3A8qy9GB9eN4GKyDJE
8tHizyvr37ddpc9tFmpRWiqW7v5Wj/qA3fh/UKAgNoYbgmw04WR3Ty7SuYpSK7KEvgMP7569EOu7
yQl3ZQhUxDZnF6wvHgeYUuY36VUP0kztHxZlJ7PA9BFIXnmq+ZvvJBhE/QnJHGXxYaHACWu9vca9
tb0fVcLSy7aNBuUGtO6XxAqDXR3rUhDGh4xwqhmX79Vcc0ZDCAwyMpKVJXMbm8Von0YPvNl/+VD+
dtzgQzGo3Q3qENu2lfz3jZcpZ+OZFVVjXUwznQ/szDRfwsmV+9G7YOSJboMXdDvDBcpCMRAvajcw
d4aygivZM/sSSsJTxWymBZ19larbW5mOlm7+dT7DbZ82e6oucm7jLj6O7Ma2VV96fLynMGWKhpFL
U91sgCd0obYr7bFdxg1WCxg7waXSde+EjBmdIYOiyI/S76GnLlakp6/CwOQRCfEIXaBAJ2ow4CwC
yIS6E+/+/DmJ/7Ar29QmljQpUkzr9xaVoQc6Y38+p8A29W9jYJKN3cLY5/Ae3hK9wyHtU7u7g3xM
0fyy97Yc6PtkuJBYuXK1DKks05+D4O95CRV60d4Szo605IdqJiF1nfE5OFj6EhYaJgE18d8NGhOZ
FdGBYHj1KEtqs1byqPpOimMAjL1I65fJ9cWLBm6AEmGVpMW05uDUPSXx4LB99cNOR7b85w/DpJ35
7wWs0m2HXqYuuWvoUP5203QZFncD08jC6hSxzs2QH7FfsYkmBl8wFyEtktBK7a1zih+649EpEA4e
CaIbrpWDz//BQfbjMNV2fLVy20E8VK4HaUBZzckX4QlJq7frGXYcmSA0/6UAF9bffn41t1YtS9o2
I93ff/5pUqq18faCToMOWDCBciXZSVbpBk9Y/rm4V+bZK6kxQVx1NJqg/pWQrrQq3hNrW5/vNyKz
N5JPA+S8FXlby66kcX+HYbEIHSZwAc4wObeuVK9x545fGNDhqhjq/Jjo+qYoouSW6x6Za+FqhNVv
ovXF/mYYIIPzKSTqzBoPf/7ieLB/+5crxxCm4CamCyxRGsx1+F87wXYyein0G6Z7eBul0MmutmaL
cZNu47hLvykd3+2vI7BGPGM/pnumi9kln3S0U3kboKswgYnhVkSSY/s+lqi+I8kp0zEBe6UA711S
c+k3pG3tJjMc+ybZirQsWt8/37Qc+HxrokWCRJJTjfD7VxcSeixQu7xjtjJJ7zBJeJ2yMd4Al84j
1t47VkahP7voADo5tis8bEQhlT1M5846IOnYjhx4d/cqZJhlARy/mi12p/RiRC2us4ju20MRoRyc
pvaUtoAYSBZmAMU8bwHJEAxhl3+lZiLSuee3lSKKH1Vjf0uGPnykg149WnX0g3n3eczT/oacFX2K
HVp7VebTucFv00sC0rTpKZVRvOtLsPF8584mg0i2nGSMczEMn6yWs64IZpOjkz3bbVieAzdAxVWr
9OpJlzkxohGB1HUq136Isd4r7XgdBlb0DhxoF+WV8zUxdHPtg0ddwL82cu9nl2sMsKrsizOWL558
uZ+G3RZsQQtZ/dfm09oBy4F0F70akV3aWvGRtuWtcvmisTvhWwqGYPXne875fYeZbznF2c5wDfs/
tIH8fHTASnBI6N3kubXyjxK/5q7GJ3QWvjeDqETIJ+iT5SzlZzYMe12kJA6SYbg0p9hatEwVznnn
Z3s6GM4a9mr9bKX+qReAJwyjeMsrF0sLsIirVmv1OgkcdSzJk8CpbH9VWAEPZqRnG0OG7CdxbyyD
2rKfvYBgZlnB8Sh5BLc58TFbchChM/jj4VctWwBBq5By71u830TXpc+B21ZPRga/ymmt14HEyU2F
KCUpKR/xMWiv00DcKc2cZkm2h/YqkZdOJk0Vdwr6QxFFwa2vXHIhEmP6SqI891wfv1QWcRCTE40z
nWWsdrlTipMWF/aOlYR5d+5410iLSQKpqER0A3BMjXsoZCTxkkfcIJhrSpjnQ/HBpd6zDXExckwJ
adc9J5EWXIaLPmF7qRxo/Mk8Xx/nt0Arx/+yVZpzHfXXaQ5fOPskQBD6fkrYxnxD/GWNcclD8C2p
k6qmVc2pNNGB+rUereKhkde2rX80igwEkcXusxuD+LVTjahU+CmkARDopotep2nVpjtf8BOq2PyS
Tkm88eVUkYubfUUBZV/YpjEXel72X4ZRhq5+3x2UI5U0HBdeETuc+/tWrxuDQuQOZJ7zzJfQNuHY
B2N0recLUW7jrtexR0VmCqUJP/S1IhHgyNkaMwu/4/6fim5gr6ZKfkgwVTwMguFvNkQtyZRGhh3E
EDuIhN/v72AFHon1md1oXrGZsII8lvKpnXY+Do6LqN6BPHpXnlHtOrrEeFlnqzoXU3aKtTACqllF
gG653F/dL4XdhYtKl4BNsBM+hyjH7aza+aa2CbW2w5g1xq9aHCBtCw2wA/EwbWHDj6RJaPYrh9Ef
UW9Xn1jrmtAjhinCOG8PNqxWnCegTMLHDOP/it9Tb00101BzRy2T9lL1FIaFmL5qGT86TUJxISfN
xH89hbusnEhK6Gbjy0R5HdLZvPp086QZZc+u0TISJ9aNJ3oOI2TiRMKuXV60sHOuEfpA2EXpM7Rn
7cAvcmD3kBLxLXm7Kgl3TNrEG1yK58yMPsM2vPiUE9+zOr5kCBPiqME94BOflNaxdxN6LsjU01dE
JwYY8Dmceapa2EHWYvQFFOP0JIFNUwBp1lUuaHEyEyK3G78VUYvmWlnvdJesJbidRQt47NmsSF+T
bUFMVmzJHd0rMlzQkixFa6MhVe6H5cT9pR+bs9a38apqqiMq7frM7CrlVjwQPqcO0zgZT4Fu/9Q7
eWUus2CkGd5ipcjZdiV4PCqKbYB6HRWYFQNTtJiIlt6aXLt6NanJfetBCj3Izi3pUVgcq5soPUcB
S6w++OmNeWa08EFm7LtE5SctqklD1+z2xSxqjPuJA35TBddipGbsa8KESNSJX5Qb+UcznXGl81vH
+9mYhrUzTGP2/Q1ev2+U8f8uQm/1XQGKQZ8rhjrudOZCOTyl+e04XzwTA+CUgv4r4VMxX6nO9LiM
jd0lxIhp9Jq6opdH2nzwTqAxweR89N2menTGsP71igD32ahNHuP9V+35t1Qqy9BUsq2WujrFnpTv
Ud4NZBmJ+BGsmrHFvU7vpbHyda2nZDBogL08M4jfqhQirhkV1utkuBdHw0+VWeihQJt4J6/bhXlc
v9oQMaApF9+U3fm4r9323BElewx4hpZNOuTfmC3N4CR75+MfWgJSm4grYwm5w4CzguV7qH54erpq
Vew/+1qAQVSyL/V9RbgOCtyRiPVHBr+3tig3Cv8UtEKB4y7HiEen49h0lf1clV70rAonuBmxVd0S
Pmu8RNTh97fY2OubEblE13V2CcoMuIA/3VonNp7ul6hKXhk7Fqf7O5dxKvRhZS3DsnxqvSnZ6346
LELoOSvZFP1jFGjdr8tYIqScCrPdu4W0t0FYT5s0kuVzN5R7wFuLrEj9bElCVksSyPwSKmt+sKks
7aAodnmp7SLhHEbWmxe9svRd2VVzBHv/aek5/CQN9oikV3Jo0kk/FEM2lozZLK5e5NKKnWzGGQCn
8qLWHgOh6+scTfWCsaFzul+84XGIymTL6eKrmxrLso3KTxHBNMtK/8NLNYYt9PkA4m01Oq9LyKHG
48RZ5bGdhulRIT3Vo7XRmASUznWbLFV+rMwZgNmFqOVowXUw2Z4w0qbPqleknbSyOOSJGx7dwAOr
m9ClryTpmWHhjy8iq2oWmBZGFiyFl6mdUMZJQstEYX+Wk/1VljU3ShtjmmgoM6YB263kkTQDntBY
C17G8VIKQ7sYqOQMyj7OvxFiqYUbMcBNvfjc9na7H2KwQnrirnINk3xIMldmTvgl8w79ewEL1cgH
+eCXmPL1grmbTUSPQBL2ALJ+j43uRryn49evbGf2sm7FHvtvT2izBd3ChCuQ6E9F2H7X3WgbNQ6K
dwHUSORFuK7h28L9h75TIzrzY7xVJLinABRNI+9XLiTtMfsqprBfaxEJ8jb0E+Lj6B2fsgRXPUqL
r9aILzdgOLtjTI8UZfLkJrMQe4bmhL22WjpJyzpdFogkuvxnEhFJK4sYK45TvrmRmazaOjjLfPiq
z0AULfYPHeXiQ9JTkyEG4YVGozt5Eb6dbDxOnxl/1yHEEUcbl9u/zH80w6DvdQ4BZMyQFzC2tr9u
BJlssnQZPuPJcQUnE/eEhzFZOrEICUYY44dca7G9Gd60EDdUFWyRtUe1PSbBysMNhZBVFI8Jazy6
MB0mpU5SjMvU0tUtolPpyizNeoX/Gs9Ejk2X0VuDvuAwyO5rWjLBU7b1psbSpCknASk1P3kGv1nd
tpXnXtBgE+OaFjUZsohPHnDBGgjsTEIxEoYo+rRyJZw+TMzxaoiZcRZa1iyF4+2DZjoilifSLkNe
MI72a0jEjDWT5Ss2xGVtdac2JVxMjao75ocIS9iiE1axbrJ6BSHjUFQIHGrQRg+yt7B3Dpa1GrND
o7wnO5ycHT6tyBl/qno4xBXRjZYTbpqg+jT83kMPWx29OPKWnk3Yk5LOqvDoNEHqPjsgxPFEi1fy
EAAbyvbKB8/WZoDtji12Fa8/IAYh1NzGlG5iPHMNuuw23+iyZJIWDmBhZINYUPSBz1Ag+gJEZVW6
pC0ZrofLKaCz50WHMXvpzWDcw49pDq1FQnQOyY3ZAZkZxgxrRB+z8D33i9t8OrbCM5fot8zBGZQQ
Y920TgmPioANlntRRPsuJLKdcKEKQQOjOXhCIfjOn2HJ8VCbGOaWIbcDEyWWHwdqFC4JOmI1sAZm
tj8xiT/nfvY1G3RQpfEnHsNpO3kXzhdbnrBsm/hmvhcoQZWevwsf62xE+jN5pvN6gfIk5yDZKEFD
+BaRhvQgi5bf3oD07LpvjLYhTvAsgkEk8MyyNhAZmTo0FZTSrkAKnMBsaHMmHJUNxCSpRbfLs3fH
GRmr2KyYGTCJp3iIH4K01bY+HiW+Usgb0wwtKSDcp5iQuubcefFn7xYkPFcNrfEh3Ck8R4ua0gHF
JeOPEcFEnphbKiDushZHlGmCb+VHXqlRnBybzCepE5dRZczY6tmyJcTFqYzdjO1mv13hntdXje28
BybO3si092Xqn00OBqSnFt166ABBjPm4Tkl8JyPEKxdjXO4GzlALAqb2siy+TNEGs6i5MmaFrmE+
xa75abWy3SZT8V7oc6VnZDP3Uj/4tM9ZNLHYDW20joGqrNzaezHTCeKloy9DATEq6fflmJT7riDZ
G7wjzeucPgiwdwQupm1vBJm4cWxTW7f5I8i+BbotlP8+9a6tf0baepJYi3M+zXySaivaZDkMkl5Z
Pr45kcAn6RKhkhdk+JVmtfLi91rS5McLbUP2OMjM6Dc4y6xV3E8+ZBDoa52gPVtVj3VBSo4mvHER
JhNG1NHcA/yAlYB7aKqIjh4ipsN5zCS69IGCykC55DaXn55dupuWIxLwU+fHUPYdmFy1K5F4j5Hx
5JOr8SBE9hn70THjyBaiCQcgMuzaAkxm72196bz2dc4+FKCaigMsGN7UNIvGT55IKFFLA2nEKjWJ
KbMw78RhXy7kAPyLg+8yrenMFYkkdNHSsam5FG1m/RoagXqzOm059Ai6/ZFAsATYCr6w/NqWPS4C
UnxSEqQMO/w5DUX2MFQACqIUPEKm9WcA159NHp2juu4JW2dqTBhP4gKWb4k5aDys65gZ0cUzd4t7
jzUlJdJu0CDXo25euL27p3YDzJL738IxOSH8uAbeeCGTkEzN4dluZkVDDyGeNbBt8Kyr2t/3cJlY
UPw3L3O/GhNoaFe8G360Asu/7RzvrQDct+hD+0XL/e8zk+mBQTnhWzkwCsNS363MIZnIDn6EZbOy
yrjdmUwdGigRO8f19pkiqNTHw+dgBcMFBbfVZxkM0z1f6U3l4on5i34EsnkMEYzFSEdyxBhGJR/w
z0Cqaq6t3Wyi/rMOi72S7QjQeGHdVIO/IwWw25sIDFRptTu8FzgswjddkP7rR6irYOh0QYbFLjpV
oXfo0b0YBMFbsMDI5qlpki3KBG6+AXkvhYAVoH4EHbUKwdkvmg4ghiFSCLA96GVZQhQLS8ZZeviT
+tKC/4PVjkK4mfixG/lp21Sn9A/KC3lE5nJkwl+BDMRyOH4zmZy0cTtslQywemvl7NbuxDrgKMgv
j5jGacOMWxasTTkFb+VEkiQQepfpv7XOcc3RfAjElsE8PJfU3rBdU3Gx85jkKSyLZanMV6LZP+wB
R3M/0L6MdFShUf2ROhQcVksEpkErE3zUwhd9e4j6luViEuSCBWzUaUUoM07RASeHHxG7SsH/Ab6B
wVs7rWyHIEEnNb5qiUGUKPmuFLr+wsMYUrQp6YBj3c2BZSyMuf/ZEQZBNPk4mYTRlpVcsUYL1BEe
BLeEzLUhwbdgagJ2tH/k6Lkss7pYkQ/1gGSCPlzPwUOxpLWZhbbPY/sSlknvqyxnvzQHoBTzwfy5
BO1MUBi6mhQd/XPK/S88ssGqxrD9EJKdhFGYFlqEtAZ174bhuL2WWyywYPxNVvwYdPIiE1jSfwrr
UIc22Q5EC7kYT9leJ7GBdbVqCyxv9AGDfS/KN4vOPHQS/nBgdtmqnVy0BSNtFIc9R8+/BxNtZ5tj
2IPdPYUaPWfExQdT736SBI3WgZT62UbXEcTnl0ouZGm9uxNlDfBm7J0zqgJf867AkZJAGX2ykHp1
joH8Bes5Nuj0IRQZuYolmRFG3gnsJdjS72EUfdEuU1uDExl9uf8RQZTWql3p/QTQC6+AbAHzkY0A
YJ/BGQgOB0lbXTMWKXZZnVoPoAi+e4z//Zp7FMBdgKdqIkEN1P5UW4pTLXVPEDefrWbAlZ20DVpm
coWd5wYgypkl2H5Q6sss+BSouHCN4Xkv46R5avRKZ6reKWwlvCXds3nySpawbJeHOoxtxOfPg2oY
E/Xq/OcGr2H9TV6udNflDpibZajW7d8Gq0ZiSiZas36uovCM6IBCAuFSksz+69W//pvVYaSn8LDk
NnDRijUglcjPtR5BYlRXUkzkuupoTqeRBsMzpN2p5owRkxnZnnzYy2AM1pMQP5Qqq9v9TccDBDnA
q7f3t5St1V5U9NMRh+e7UhDDu0RqSQZKNWy9OjHOTtLny8osHHgr+KiLYHi0ndo/pk04N1CIX8eQ
/QFaN9zeJRfEOXkbkq8SjioatmjyNhSgYVxhhd2+JhpJhg/Dg14HHHfTRL3UVGvvrc2pXpjheGUd
c9d94+qroirD9T2kRZJE2vum2Hej8T5N/fwIDea209rq2AznsvXHA9xsZ6O58utdR8Ijol1J95sl
JmI2uxlCg4zbO/VN9ikrXDQeVE+vDSIidsB4PNwvPkoeDtHmcC0HXT/yZLfrnGn3qhZt+myY/mM/
2ARghNLdtjH0ma6AB8ChHAZk4hoPAafXx0jTElLZVQ03kUPKXbbrBJIAe04C+qTH+iYN6IBn1DIP
FgLmFwBh4c7XW3dxF+R2Aw3AyircxX0QQSVbbzDHP5hzv16Tukb8K155Lyzr91KNXwQ69a3ZJnws
URCO+9SIqtP90vcNR+qUw15d5jW2yEAFD7nHaNpoETrBz/wOOn9KF+gZ8X5Gql2HKMbtKalmXmmg
uIvSHUvVsEstzmpLaRfDMbXKJZI4/YCKyj6FoiQwcEq6JZFe8dZNqPNyWzjLlNkWpb9W32B6rrx+
aM9pjoHuzw/U3xroLHJ0gOX8JAnLQqD27w10T8viuCZfY/GrcVlnBu3LX2NT/6fbZ7RL6dKd86k9
0DwZOEZ43AkegjeoT28joGOysXIWqWi4lJlu3lo6wBhS7QcCV4rNXVAQhC4QS2V+/vlnF79Peyzl
GoIZo2kZcJbU7yKLTvahGs04mfV1PtyWgDw6IfW3mAD6ra4YyuSgEa73V76LATlKTW9tJOPKs3vr
ldyf+NH2ibh0uv7TMfoPklS9xxT55iOpBvihC3rH95yyRNPXBCSoZ4DL0RItSbMmxpcJiqjWxtRG
P8oakGkhArk2g5mcxejmYqi0OhXQcHt6Qy5dZBH/FwGf/Ptq6Bp8ewyXpWPxv9++vV7rA62o2Yv7
Yfo6QnyCgNKXq05fN2iI98GoW8uBrKJlHHveNcsQBDdBn21lmKDhDmuM2QwVt3RPwQ6RnH4a6/L5
Pqhmj7K4m3t9n/iWDjKbV2Ymx03gJoO3u2v5h7Ebz65KbrIeOYZWNPp7O1tWNcWz4xNAUVSXoHYL
7PM8W/fGOExboOUlGKyuH61t6KafZj2l52x4H7ENrRi11AdC/+qDPr8yG4hXf75r/oOgwJ0HLthR
afEr6/eRUe8Xtm91HQAtlEGcSMw5/Q0Tc0C0ZpQza5gyQq2G1hInjn7y/wg7ryW5lWTLfhHMoBF4
rdSysnSRLzAWyQMtAyrw9XcByTvsOWM2/dBpKXiqSwAR4e57r30xfD/b+YI6yCeU46zi5HOZd/Zw
n8h7Q10RDWm3c+L0+q/ZyDI00VTw/v//Cdz/R8Dq6bo1q1dt5PW+/++/eiIQRuY2PHGHgpqpYSw+
x4hGwGg437D3f2eohdqYogkwYF8+J5WOYRdbfdMn5XNpQ0Mo81juIXRs3LbIz0Lq7s7xOOjQf0yf
cay4a5dMn03g6xqTboJll/SrAejDLjECKv3cOHOUL48Z1SOUsuRlrIMfQAYeRira52i05BkSzk4K
i0DbQRrHyHTls/L1Vwk7xaXVYPrS++YKCoCgk80j4CtMUXb1PJoIFuJ84ly3iDcwvq/DVHdeWqrb
lcImsr4vVe3k/kQ1CyVifvAyjvujJGdDGqa2X67hZUgZj8WnlnQDpXgenZj/wq3OoMFP6fjfLi3j
39M8DxEEMj7k1kAnsdP963CiwhbzqT3TgFGWVIGFXoms41aHTDe0jthhMeFbw0+umUSnDKgh5ksM
mcdUOyjFCILMInePOPG/rBPGv0U0nsmx2uesavoeq4Tzr28sdavEz+jy0HaMu31XlifIosOH42Es
7nVVHu+xSW7eHYkGJG5vvq4SGSC60enfprZb/RddjDH/X/7n5JZvSaDqoQOJOAYn3r+WLtQbrheh
VWO4mXGeVZ197Yu22RQBmmtvGl71Qf7UDY800+Y2Mve/WDqkuCkb/qtG3tT/fUd5NidN20cDbWOe
tM1/SVX6IIhCNdYUUJwEU1iF156/w9ARZ9LOsW/N1B+bMLyGZMmfVJMSoGNk7tbPIvtJZHikdA7y
Ge6YdR7rwSYmavZSFx65kCgPzNyVB9M2vjvtkEHx8qKNUzrycfnQgl9I6t46LSDglTFnRxn01ps3
0SdYXmaa8S68IZ8PHuGWDRxN7TSLtYJKbHvL/fijFlIcJF32Mms2atU9FmHoqqAvWLkfRIrLuRQI
dslT4tIkcg5T+0yl4t/SQxtoRBT43Ie+gvKKZN/O/RWxC9GX3/U4uBB/7abMz7elo0Hxcrr5VsvV
pqpBq9WKUdDd1sehWFwU2LhHfX7IuxSUQo5k1amfnFx7MkkDA6UZ8Hs1JoRl69AULy4l5ywjR2yb
MPPblE0FzPxuojAhjusICslEyaI9mUAXb5iYYaLLdSarPSNaNF6F2z3bdmNgUy6NV8r+bIVc+4TR
RqzZfYJ1pAty2AM0MeCXUbgMjtoA1YApQRuMfixmt8kgh6oeG+clplpoM3CUOaEdXdi8GSXiZBqJ
RF6kxHxUehPQLWxR0zjaRcgoemyYYG7bRb48CZjTQ0ZMYwRLR7ixdWoi29r1VOiF1/7OmsQmk8sQ
N8y98ZEFkWuOQnOV+qQAPciWAYxtDRKrP97INizOUlQFCSvTn2fRudWgl1o4EoHhAZXz9TA8B241
XUZomZSUMTP7zjlw+yAfBf7/vF0eIbSXz36Kd29IOCa0RTLsvQgwbeW33xXCwUe7V9BIIsc+YtVy
juACa/TC1sEOubKm8SJJS973EbnALXIGGpok6i3yYGCbDciRQhwsJRDvSjvbaWoAgBA74SYxBUJx
XZhvILVChtVwylmm01kONSTdM5acidy9smFqj8kijg2oKfNNNz/TbPWk4CXvl7cMQO9a6w3vo598
TsAUt5XfY/Ar9fLSzlGQPrk6dKrRLWcxWgCn1oGr5gE4UY1TPTS1CQmhctpbPT8MuTjerbHkEjCv
JgbqMoq8fcoy5x0onZNCWrcSArhTH3QEEktLXSfljZARUISkkAwQWBt4SHlQmm3NofIpth9bR/LL
www1GfNB3ZZXukPnA1Ystnqsl/MpEwlEcF2esXOARgj0F8LGH0lh9F9TtDbrEezCfnLcb+Yi5Wxe
lKT3hRvK2+h6rp31tLZOA5kmJxTbwUWzQIaZXml8UdeodN2DCClJpL3BBm6fwYuSWD3a06OQHRiX
jLIpuDBplyeU5ECC2rbHa5mDVbOxnR0YWe/quUYxhYt5Kye6h8ZP06ztuuXsmyRhv52AnqI3csab
Y/Y6tmP2OyrM8DHov3vhpI6xQ9Y0zXS6HctrygeYcKr7tWg3c7/SO/DJzqUpLQSJdu9c2V9xT2R0
P12vcTfS1m+U0+q4eJ57bXsXDDrkt2DFytpn5dDjbLKnwrLf7p+FafwdED6ah3wE/9aYivSwgQG3
GTvbwWZINv93zWjnT6O6ZbOVwKPDuo1RhPI98DIl+eNCIkJGdo4yNmmut5eMyR/CYeO1b5zspS5+
KydnYZpH/O34qwliFdHXk9tOSu1nUNAAVr3/WNlZf6VhUG+DEb9nMitLmnhUZ6uyfxuiY9zLLa8F
e0N6zCzIUX8qvax61IBMKPX8912yyqJLxVJcf9E6tx/cAk9FIo1DAe74bKeS7CQ7qnYVYtO9VY4+
QM3hm89f/pPSB/KP7nxHTxZhlHxJnTxe47wfn3U1kjsCjW4bkNezadKJCl7vK3WSbbkxi5zMSOJG
gmxCJDh1o0Cn3Q/B1g2A/C33HZGabDrVyNxtvgPLHkcKQ0b/IcwJQ3xo6YgdSSk+k/qDqLUWnAeD
sqBbJIaLPSiOGEJjTMyf6oLfbix3hsMvclTddwIAG0K2/NlDy4P3f575tmWzyoCMLsLCvCSZH+6Q
GRHQRk8baXDb2IruYmqeVfUSBGa4H7XklnN/E13MQ2pSq5qi2iYNkFGfnfy18jUs2b1gFDIhP8Bu
5CZoapiN/0PPYjX2QtyU5v7jtxhlg7Aczqifuk0GzuZhebl8IIP2VXD+JDyYWS2YQiM9C9xVzRzb
2U6ISSJo/xtn8RbTGo12mpi2mQJHOVVR9yYDIVeVYcnH+/5HvaVDYvv7Q4HSix76AiyCiyDuMrLo
EGw/PzW7d5qJALMT66xnTvgel/4v0YfW4S6cbaloHwS+h5AwiK/5iZ5a2SN0ahIDoKw3odu9tU2H
ttSpdp2maInjAgY0ROYdYCSGOwPAo6wIJ3ydOYd4vSq/0A6XDwLU/1zfNdVj+U9j/4qGof7Wxr2x
Txpunn7y6UWTP7LBJnHpC3969ezIZn6SVOnWrrPpgtbd3OitCYS9q7EC6A0t+3kPINVjXI+JZGjk
pZAeg+wDRmC2TpUjTrndCfS+6o3smHUHSPnocpcjk//7VPlMg2rd+4QLDF4ynEN+hxzCToiaj5Va
wpNyltVM6mDuJyn8TaiRLqyQHD4set7FFCs1S5Ev+aNOcuMdrcIEE4cdfTzJUJM3x8BnhMExgdhn
0+Q1ShMqlKPb07ogBT3RezRb2XUesrnRVtqMpY35fLQ4pVJKHUIyybzOXAXsR3fGHLAyESta1UQv
WCISqCyWf3aXozgHeeNEdOjKrfwAOLv+ICqSbbLZQBQNo8maWHOapItzN0P9tUW13rdAfKg+FSc7
hB9d6yzly8vMbenSp2QMkAljaA8pxe4Onva0RUzsrZPMKY6hkf5emnx23P1p95UmEQwzyi3tTeNs
eE36bPuY7ebDnCR785nowq2ENK3AyVw8t6cvKLvgUEk6asvLuPHGJ9+Y+n1FsouRZTDnDP2feIzd
7f3yYGZDZ9rJyFJpMhRChrjiZ3hBIuAFJ8KzySHhoG7EjXNsKoZBsJzB+mrJpkcL/L3NNDZcn0Cf
aBDbxVVTZhInfh6l95eDPTT72CT9x5vC6kWV/Zc/NuLDwPxKTp92XB7S+ZmK+5kFZF0wryY3Pwh/
15GlPkM2UK5iCDtOValPL6aFqccmYjr+FW6nr9K8REkZX2BGbu5twL5Ik+9UDYwaAjau0jfsg09H
aquDTX4LVfsWTYxNrShAP+eG9WNSDwQX5cgK8jx9R8S6sk0s4S0Gjf1k9tOuKqP4NcAry2Lgnhu6
A9fQ8KNLmEZPdZZVh0Y1G4TixqVyW+MCFU6/LC+Tgr/FkNU/EPIXj0XcFTBAKk7LFi2b5eXygSaf
7p5HeIl7NbjBygpV/hPSMRksBAKN4284hufFkt6U8bugdHpO8rG+ckCzHhAHJbAXZgE/luh6U0vX
mvnjzR7gCplyytUxykqL71xNmzodLER/OIu1awlWb8spDk1OAzai8IhAmErzyI16r584FRCvaJON
RQpleUVZbe8CDxBvIMsejDiQ+TAMh0vZVe2uDPUBe2Dc7iJt9LapMf6cuMsuHIvJ3G2B0pd+9Ghw
R731cWYwzTcZDWZUBpAmXqNKI7wOsMv+bi7NQdN2hc7L+XC2fOq0ctqDFtG2nSdwN/aks3OyB0Th
BMa7Fru/CgRlVyNozHdkIms7b8aXhnC7PXm4JDvNpY6YKxz05sAwwDUtr5b3vTG1iNeZ/4nz96lA
u4jxdv5vWv1H6Pr60VWtWBM+rcBAeuFpefDmZ2WSF+5qeRrrgOj/76+/fI3al7+1YcC3PAet4+4u
rzNZnhA4u2AXpJ0Nw3oHQuePc0Ix2pOucB8JOBY3A5PsIlprAdCNWhtuROw1T6D7Guq/EWYa9X6e
l/VzEiUMoGX0FZRO9ZCR9K1om2+Bp8rTEkq+PCwvOToOq7Y0R9oCgXVtzOypzXXtgFsf1HNbaSec
PuHGMep+x+5svaUlG4mdlxtP8/MLx7LymtjusMIMmG+KCd5ylHQOkH1glqFtqe+p5x64d9Sbk1f7
psi6dckmzKg7rx6iNHB/CcLgpNe2Hw42vTBX9X60BajaeT7k6PlbCj71xFz3CVFNdF6mS9wFOxQq
XPuGoa5NEk5XUE3qakNmPXS1f5v/V2TuzU2t8UiSgvbeGfLdjn3tUTA0uTRh/iNAOIy0y/1l28k/
TZpGb8RTDtu2do2j1W99zxvfvP5m23H1UeAXv0Z9/MqvdqPj4vhdScqFeU40CfPRdVJ9G1RaePAc
YKOMUSR29cF/dbps2OQZcQeLSt4y/GyvjJFkKJi71VwRR3VFwRQyb0wriGzMJWIm9dWnDeRn186j
nUxKDMFpJDbLxGDCCHVS5BnNYpT81cpHoI+FwkCdI10jEyj/2Q4UEFjq3lrN+VlFzUeUpRRFvrIp
JCHYO1lev4TQCJ7ZEPCy1EDIhRDxd7Adi8FpeVtMFuYmILRa4PRvVhp+DuOgPTJWtd/ukyMiR6wD
0g77IMr4ucDa+OhrO4zjuIwSduoskDcPXfQx7TVAISFuttiNg2c38st3rDg9e61NTRUX0TduCyJr
IC6znhPd4JZM9JthBJqP2nGt+an8EalhL4Zaf9fnRFB4mvUqrKp/QkfTH/F3o4Oan2FQJ9Ui0PVH
im3eq3Sq8BQuAp5LVlZmGT+kRhYHd+ovRAnovX04iVWdtvuk1C6GVUaPVjKiDfV6CgElV73fccCU
WXdMO76YyEPSgkDI7R1HY8Vr8Ss3rMhZaEU7ZkHDvnOMhCRQVHmk3svH1lh3vZ2c2yzLdgiAfnCt
AoQxop5WQ7ZNxvY4IkB+T3MYcWTY9SeW5+jd9JjyxhZgguVT0E9fQ+kU5xAtg5iP6whR9HM4GhUz
cXQtqU995Edju0v50nQVYqJ050tEU8/IW+IXRYDmOnHL/IDra/axFTE+hciq+h3EYH7JRUs+QaWS
nRJOtyfW2Xwb6dYZlHxfcCrmkAaVP+q6uoxYEbbo3KdDWQ7uMaw4tJXC3BYKq5g52dWl8kZ7M7IV
vgR+JB4qR/tM0qi6ivl6yObrAXBp/xLNFkfwBg8jczhf2FSCMzPITD3tBtO1UHGbUMNJ8hjw7LEB
5/u/p7vliFeY1alfQEYyRdxeJ6N4AJcQFyuzS0lfm7PH4r63ievVcBOV6asnSCYpY7/Zgb2i1s6K
0mTi7ZT7emx/NNJvXn2/y/Y2a9qOKn8foQx57HziRelkVb/BY+IA+d2Q9Phg5kG4sytZbMcyQgGg
Jdmv3FkLoteS2M5/SDTHIEH9/DwxLr6mmO9Xjp/mH382bF1ckP1rj64qKO5rMhT8OHVfiskKXkLf
eIWxb126UOsvZWmTwiHODJLGD61o8rPrYlSug0YHvm6sW6N7X7hTMgC+6xboaqzceFFR+9xJR7x6
SX+Ocy97D6TBCiCN56junpzZKUngc0uCmdrA7G5fe69bCZ/cETCQlB6ULWJTtho++sLMTqGNU0dz
EudiuBGht6nePlczhQJgLUEtw25Az1DTKqLPBZGldWJFQEJRbZeX1sJmIR1k/QXNdrz4ZhrCsrNc
nAJlCTanFFyrk79hLllfxrrt1qytDMBnTxt/k2EHCBSsSkEnzIHatl18/z2JSx4UFSeBP5FAQt07
wE7IfuAXNqGDWpATeWb9ykXf0zyb9HNltP1hipvXsbuCjSZJJ3SuNHHlIRz1+siLaHl36giDqtw3
GgKwJyvA76FvRxd4UtX7NN9bGesGaebxJiWu8MFS0vkwfEZcdg38OhQjjqlkOtd9rq87MzXWmZ36
BAusA7Lbgh7A22RaH9jkCIQuPA3waoMsrOenNQasIokZ/0L6i7A/vYT4Np6XB+4Cfc3KWW6DTvXP
/hXtdoA30t0sW0LvVsWTbHSgcLZG6BY7uRrRESBy4KsPtfzZKIQMsnHbvWl4I+63njglMRHDY6+1
3mJgxckQhQnnnuUB/Qz8XQX4dXkJPv44SpQLnTWojaIEexlHELJ5Zm47x+teDOePKVHqKMqCmXJQ
6klzZcSQFdZwmRrUB6qO/DUSyvESu7lzbBfgmTP06QVzbv2gcUInV9FJnsOhyI73bwvtps0tXqIA
EE28IvGpAeZrouZuqn515yJRsaW0Nuc7O1d5eiakbtIHlMlTuSo5mg64XbsUAu781NbS9JIZDEIh
xlcIfJGOhXFu3r2yLLXdulIg3g5PBn29aGVNDf0UkzTQNvCbJ92R3YWJ5qGbWXXLg58Y2sbhm1/9
fa9FInEha3rb6LRQaa4zBOgBYqydeLTXEL6brcO+umZBbznYJPUpH81mTaf8q2qt6LyAAXtbVkem
DnASbT16KQzoyLg8611JDDOSN/VpJRZqwZgkesuKinPjw0tdKn2CBVHH2NE/zEECThUBhKmJ9Ehb
ama3ShUExcUbPJkCr0NEzuHysjWmdA8iL3hwo6DZWt3QbyqvA7nXVM0RlSTruuqLp2oALQ2Ul4yE
Juy/qKoBGZvuJ8ZhuW3nMVgRQaF35uJ2mAUtfx+k2d9yA4XbJPWfWWsHv/Xk5xCPz5Id6tg1IIRZ
lE+xwQkGvAW4aZuZpoEteDuNpDa5I7GRug6hQMYEGLQZ4HCsWy+txP2cYdY4oB7nQKbpCBtdtKs0
U5cHeDFPupyntZl6SyXf8r296aZ2fFsOmZ3z6WRedmudZs6HzR/Y/cKTmM/6njskKBLm13+eVhBu
Uhg7l1CUFzkp/dqVBmmVSvrHuNMZHXStjlk7BKHRUZLh15ltY7XcGQy5j6gf6NXNJW4NQRxhn5ae
GXa9RI3yubHPXYlVPcLZQhhsb//D+AFVeNFF57Gr43PaBF+iaKhIO6k2jWcQB7eHFWj+rn3x4mn6
9Mbwd1fq3e/lzyc5Hj0LfALu3HGdr+snv2KVJclnTNA0Vxpxqr5svwwIUw8yTLIPiBAmF4qXHgcY
iuvEY/QyTx3IEXRuZm6eemlSHKABB2itGPOLtkdPL3aMUairpChPS+8XbuGcPMRPm+E5O8vCA4+Y
htG3CeP0Kq8t+xRAgHlpfepLN5RPehVE57wPPwx+jneO6wx18WYvr/RpNRKn954FeocqDIqFyH5G
wk9+BRnAJ5VqH7GVTBsbwRwuD9I+GvhqroxfFxTTUNtfsUdaUNig8SXA2TlNNdQJYbTBtQhEv7GV
0z8XWeXAGJv690Sno9mSTr4KMyvboFCvT57Xrpdz4LKfNc5b3RrDm6HrP7Xcn08NsfVm95dKPMG1
VL8Isx9Z2mvzBTcTnfh6KHbSLnZNi/rBzlrmYJ4/gx+RPa/6acAlM7+5fBwajjiXtD4e7KmFyUn6
+eXvQ4k61RMd4rna0bJf2BlyrdKOg8mGTUUxP2KApucyv+sOkdhOsntPzaC+FLaO6XhkU3EbidBz
frl8oHSzHh+kW9cXWTv+keTzzfLp33+SDgxzm1F7G1Du3RT4kINWYJAoUADflveENXYX/oy7an7L
1TuIMHpY7bxq6s7DbDRbnuXtN6Y/LYhGn0FBSU4uIG6s8SS6IU1FIIlsGT9CyDD+LYMTdpARbfhq
1H4xX0G5HlcA5KlS8Dm40Unzzfz89wEAQIOdy/u1NBzDXJ9xP/DHCI1VpWWeBo/oJke5XfphRlb3
OHBsWLcC8tWymjilRAlR4vciJenQy1iuspCLhJTROfROg6aTWIc4hdKFBA6giENm97IPIYhMz0Nm
4jHpLtiCs41rddELPbJDAcrsvCBDItWOO0QpA2YAVgUfgaz8IPRM7Hvz2NqE4jgs6gQm2TfyPSZ+
iA/WlGPo4XxT1Csvsc9CDWm/J2O9+xGWTrtPCQ4+eF1/GBzTI56tdI4yRWdIGkX3oisY/pZsm28i
zD442rvryZ3lJ9pUPYnOXS/EA2gJeIoHmFTemFwGw29+OBrCQs514SVh7705Gr/zbLCCA0ng5aaZ
xw4T1c+D5TLB+NP7pYbfdBZzPnTLxA3IkTDcoJanxEcT2gUDRDY5Z3dYw6OhsI35HmrSZe9cGuDm
IHCaWuVPrScUq3LFqUNmOicSOiemy1+ZrBUTkxn/AT4Xo6RdPxrxjwCRKFZV31/hWD/qc9u0UUG1
weDM2LBjKGAgn/vSSn7Eeih/093+p4u6+o21MdnWDiZ/2v/dRbM3dUjYjokg9s5ZnFyavKgBOP3M
+6hqI+bB0c9KPY5+c7iT0qReou2CB2JlAxFDdDKWrWlAjNxZSHNCZ46Bxfl4bjSKD/IHx5VTxm/j
OHS7+7C7y/qY7Mxjlzfue6tiZPvgN+Ehm6eI6uuAm4IZON2xEysb3fUcdJM0ob7N/29ByQatchrY
6bwlLu8lzk/2yXGlEyZylehSVoPq0bgSw5ziE9k0fNltmDjO69xtPjRdpBC48zJWpDU7CWc+S25V
i+gBAgQR6kjhgz0dT/t5MKP+cf5UeFl4siRnFGbvxkvp9Xu/9eNPH/P4IRlRdjOCMMmHw5XhIKhK
XS9984ch39nkoRwYTrpPcG+nGcgfvLuhvddsErGyfhCbuBEaqayifxx6zdkMnfWhzXwRf35YnvXC
IgUjMdMzQ7x3pBvTkyRI4lY7FjkZgIq/aUVUbIrMOQc0ji5ErgEnAoDzzYfWsRoAb57a3o/fdLiJ
IAmM4yJzuPNGdM9Ue7Y1i6Nbom59pN2Y9mjvJPN8G/M0eGuChHFE2D2YLg5z3+XmyariT6FHili8
+nugXnqOWkE6MF7QNykUw7xeasOhcMcnFV9Fo5OdQdsaqVzIgWIe/i3Perf+3gkGV0u7bvKM8Orq
p9HVrgunisnKQzJFhJLXsXOu0vGAr7FZdzPkOuoFwD+jeGoN3Ti08+yZ/jAwqql461wcn8gEvg81
8OgmMKadMhPvkngtKlpjAvNTFETLjjqufzsh4Bl+YjmDV2+dQaSralkvQ60m+FyEU32OC/0k6gDV
r4Mqd98kPuty1aRnoOynEvnn3u3z4CgpxOtZYLZ8liNZOle1vFZBY3XUQ8HEijAnESJqOQoJsq8V
XbTLNBso6VC8CoNopnvXPxbWtELZN8/KvNZE5Uumsib6zyQyWBHFl6ayZ3y2cMEs5wBQGYqCBFSY
m+FvK1aUZLU/PjiVUle9bpEjJGmV4HAJ7YNVA9BWJn8gjSAWv0iPBuhG9dBohnlIdWRvS3XqiWnY
3S+VO2wPTmFMb4FyR2XEGVuTFa7bpPJWNrMhxqQmd2jH4Byv5tb0YT+RBpE+z68spOG3+8/V0b94
Ikr+SY7w/pw5rWupk2jCj7ulrh1ccisaU4/W0TyVt+jrnQOr8db2qLJVEHA+YSAfnwGeOBy6mJsE
1atWKsIDfSkROcRzemdlbaKJyJSgS16zgcvakcM2bA3rtAzVBSGwqxDe0KGq0teC6EwVCvvRyBJa
IJVe3jTGhZSOUu4x5eUnt3IxdDXWk1aYRNy5GqU91cKUMVScPXSLDCto/HhVtS2Gz6j+qkzapzaV
4Cvzo5fMiMqDz5lqZ+UBqiiao7tFj65nwNtR7NPZ2VfzQL+aJv2R72ON67z7HOLh+f7xFLhcKQIL
dOVppKV48qAl0/3A1HraO1a1YBdh9rHD4uBK0/2FuRilziH0g2xXG8Arw9kiDxeMlBtHThvNa/33
YYThCYJatCZmMUPeSv1szwIeYnTmhXTSNncXALIE/16Pu4MT7Wp+E2tyN5p1kurh3ihS4s1i7Uq7
x1lp5RRsNBsvztAzZhqSeX6Aja03kWEJxE5X+hjveibzWyW0mygGdaSpg1hkqOpvJkCxh+UhKjtv
cyclAiFQtMXuogc0WQBkOfs8RGPQP6jaMQ4L4W6YQwQDZpOwYAP6F40ojYut7dgByqt0zYNDA/Cw
6FOZ/TZET+20oLNxWevHZfrg6H1DLNAmDX1u5Xms0ef9CPZDqF2KMGMTtwT7NeMIwqREEWTF0WYI
ScYWDNTvrZgaCdEharxri/jnM/BURhxOv77fRH24TxI7wntfWR9RSUe20gToT4eoaEhuO7uZoLdm
uGeXUYSOmS4uQ4LZBpqXWu58kCqa/IoylCg98HSvYk64EOsC5KbblmsexxOCaIgl8iSdylmHNacI
R7otiSM8RLr+3WQkwpEcgA2La9oeYgvpXUwsIM1PgNs9Q3yVg65f5JN64ipjnTQsfQYFSt3p5dUh
bIrpW8bdltuPvq/f2Dvdp+XWCqTNzlgMjzJYe44ePXsd0YD3C/K36JLhV1ggJXcMbXgCoTJhIQTC
fL/GQl1LHnILexy7p0WaCS2J0MyzvcxwO9Us10QzMi6YrMrax40vN0jZK8CiJBhjV5BPWoR6ZXlp
VJjHF1BuFEbGOW4hWCERfpDN4L6jDTjQjKcLXCvSjsfqm6QO2WiMB5/oX5nwRvjdVA0/U5p3O341
khhMz8gZoi+qRGJMn7va9//jJX8AjQhUvtaQlxlNIs66QwYCvOzd5DQ19T/LFVoivWKqMdAaK0jh
nppwgNspoCqVT3UjmOkPFoGpidI3JFA2OOVoCdHz6vZ5/MwGAE2edZiJtUWjT0BfECZkTH+M/Bvi
/p80ZXZDiK7F8yPvlFTdl+mSoX4/rYXsX1mG6B62fHlO+ix8Zri61WrrV+vg30xs63+Fa2lqo6lj
oFk0JqPmbCRcL56tU3Ft4SMmhJpeU55D5G8MUub67LUqaMgCkHYOI+Fm2zwwuo9+zDeMHIn6kUX2
AlSIvErUDxFtvrt0Kkm78HS/M/Kqnl67AeaQJYDIRvNO/eeAWtJvqDPNOlgDiRPGDLxrDOIzw2pM
6NVnL0PQRl9aWNsPWW/Nhl3RH2PLAQoyme9ew+Gs8H2yFzxrXC0ihr8Pi5xheVkM9ps2A+GNsIb5
MePNgE6Hrx1+hV1c9+z4duduI5Nt1kvA7ywsockkOlHCJV+gQn6LJqQRrBiAjcGRZ4V5VQ1AkQEN
YkuHYZ90Zbwl0+k8zUuSH+XOqoiTaBMBr8YD2JCjxqDOQ/dZ1Wtw5hOlwTxUZq04kVde7mSV5d/S
+rUJynJblmPGsCV+MbxS+22B95FU2g9GYSOsQGhFL39uUmmBlWhMIBNEBDYuQ60PBQgGi7tm7tFE
IAYFybMHt4JNEw7S3xOYUuzMjATIvvefktYm9MglUF3Q5MQDKsP6NHmFvaOMeAQ+jOy7t6MAyASe
USfqy53vRvZrHXyrZK//Dl3t18gf/aohHebkKutVQYDJ2/KM8Bay2zUE1wfHrIeHcB6hdIQZqsZW
T1nu9i9eyxLhZOmNS1VDEMmQNhzdz6byzX07j50jM39C5KAOdx1ZjcqCOz48Aa1yHsraVN+nFImp
PmrQhuvOu3ZENtEFXJlSeOwHkX6ALqWt0zL5FgHQr1aBqD+F14izh8G3cRVsCrcqNwnnke3SdLK9
ydsPOj4QN+SGtB0aLwjYqxukTfTW1A1e35hA5I1sW8wqrRAqcNgn7WbRbGkl7y/PQsvLtgPD0xVJ
kd97txsvNXnPuyBK4QklESPRvnkJKvRmSoLroxviHWEpmzuVWfhJyFbea0FpPJV5YjylJgAtFjsr
aM2dBPCwkuwWh9gnzmVZgOLR+9E1brNhGuI+57598abypw6C/jEBsIvgN+V2KRB9p7YX7NvOfmlJ
gztlUZ9DN+EL6plfftpp87O0GXfjBVxFqRc9x1iEdwzoTyaqwj0s2poKL74RDd0TnpL9aibHuvau
/UNPpLMfKWMRAULv1zgXw/NK859pL/Z4TtPPIOiQ3IxNSRBJVT1IxwmZ/tAYaJ3pR6cHpP+JRBFW
N+I2qSObnD4MqsviqwT42yJpbgattd7uCeHQ0mQtLc07MDzPMeLl9moEskQaQ1cxCkcAQvC67+zd
rlEvdKC3aYqqygT5dh6crL3FFaZquKPuBmWK9abFJO3k0SdGV7JXhuq61PYs8BRRw4tW/B5mNVFu
zN+al9On7Txaypa2E1r4EmYyfc0ynRtTtmCbFx2425lvS0u8zsimtQMUFUtLnHwZ8reHnaHX3aGL
W/HupmqDQlx9d0MklojbtIPWWYCmC8EEWLdvbiiatQml/8QhKnq1+UUQk0BIrpl+5Fn8XuXJ+G1q
GyIJ02R6sf+HsTNbbtzasu2vVPgdpwBsABuoKJ8H9r2oPqUXhDJTib7v8fV3APQt2+kKu8IOBEFS
SpEEd7PWnGOStLtuh4Dg8uYgW9PAbSPeSUTGEqfW/oUR0780rlazgbWybaoSao+Mv7kobtI++REC
B5BuX/oG0ZfKZLdSnfHCPPFQ9AWlBOy094lnow6Wst02wgweY6g57BzOOgbU5eBgZfRS5W2W1d/q
BEOeq9jtW6TBTZJs7KG/UFBMNijASXppbOwEYYUtd+yLJYne8moZvb+MB9x3RQJgIEH9fyZSx7iP
y/H7/Flk/3N/R6sOO3hAB8AjrmiGpbLHOgZhV7y2WncSlvth1KlxiV1bXFQ9ybeqBnsjMRExplZL
hY+rY8WqE10rDsuW8i56FXd8FfQKAzS6X0KCiZYEO2aPuMrcdR84jA6+/qr4Gi2coLT8EzQpux++
mICx2zbrdm1dh9tc1/EToju7NFSCwjy5FH1QrzujYtKaJguRUCpFl41nN9D1fd/qHz55eMS78vVE
GZh+cbTViH/qVTNr4yQRhsPyrdMXzxmBV1C+wrmTZg8a8uVFFOv9oc3AdIo8rU6hm9yHblVeh6oo
TrIhpFhBiLtSitheR05vHgQb72UfuOYLeB54qNKQ69yp0DdY1qtW2OWJYkl16vU83tCdJ+XH+Zyd
K2KyryQARhdcPu4RaIOLwX0LDz9eZ6YYrkUoXtDA5vdqDP1bJ4LPJJJr53roDuc6yO9lkVZXNrmq
nEYzpz7Zi22sFRr1SApGSpu2d6A6pj5GjFJdevmrM4XWUuiCuyye2bXKHUwMdmuw6pZJloy7uSTv
hYhuw/Yl89gOBNNqMc5KYz+4fUfIrEVO4NgyjGL0vsOv2Sx1O8O1E8RXxZf+GzA+o4uwNivVbzei
dK1qkfcSKnVz59cqGddqw+4P0RuxQwuNAtJ9ONRvjj2Vtxwkm54b2qfbqhy16+S9lNkiKAwBLNHs
NhZtjE3vZ/FjxSrVEd4ln1LPMP3lp3IcWalOpxq0491Id3sl9yD+ijR7MabgkR6PNRVntN1kNPfl
E318mp+JkX0K5WFgsl/e/Di3scgIGOdC4aonQoCTVT6G6pNwsycZ0WpAWvIubZ9FXUSVpigQTbRR
/ji/NUjg1gjy9oyd1f0U8AtrOX6heyeeRzFhStqGC04JJh1N3WwZrNA8Yzd9qvh01lKx7A3uO9gW
Y6aciKxdGg66m9kywZbE3UUjKIxIBGiLw7RFcJSaj0pt7uOq7e9IBzAfMS+TLz+qiKQrgGI15oVr
lhpobKgOq/Tz90MSDFeW9XJVt6aDVYkg34T5biulTaffgmVTds1wf2uduTApViR49uc6pviF6qHc
svawNqy7h/VssgCV9ttpU4/N83idcehajHIuHOk/+JOZOfTSaKKq4BVK0EHgYaOuQTrbybaM5DgX
PbzcYx/JA8tk1vUibSqWdhCwGJ0qvYitxCLAaHcMBTAYspeg/pBGU1EOvHSz+0nVO163S+qFq0vU
ODENsMqT6jIywndh+/D/B/GdSfeMnRdveSZO5NlX925Bckc52hdR4jlM0wFgELzZgeCFDaEz9oOi
sn3LTUbHxtsnt121h/LIFpbJP5gdjM4P71X8Nwjs1XadJgbCJ5pPL7dbIfKleXjX9DJa5F6GeDIu
rYeIBf9q3m7Pf0fceQQfeeuxDfjsCq0zj/TWyn3tFU9Zpq47tKpADKxxxWgXfM9Hwq2Nou0OkiAq
ip4OA0abfdEzx14nNY3duUrNCnJ1e38a2wASMM08WughG2I2OfSauym1onoZEYLu7bKvWIab+jLo
AIKGerG2TM/9LAv9IVflk5cPxZPhxN/BCEQfWKK+d30BkEfr3hQrOTC7Ga/hQNYLrUZ68r0fLn0Z
rqAOxfet8CliDw4mnbpXt0Qfm5APwbVP+0U36uO7FjXgoUSPRDfNyzaYZn90U3aQ45fGzqkcuHVh
ctX7ESE/O+xb1Uz10oaLPTAWUnXbV4/dOPLIh3IOirKbay7seOFbY/zCdpp3Lk3LuwaU8E4PJ74Y
KFOFhfdj4bjlwSOKa1FMEr75Pq/9lBnm/cqUL2oRGxs6fS8eljMceYV4dXTy1lRdCU/aDEMoogQZ
aAC3K0C2B9aCphDE7mF3G1sIgQrPLWqcB5v99xZyzdHL7H4xTdbfuu7NbTwWdsOor8gfYGUN9idH
+5LoLZVaLdIfe0n1PoqJDIxqivABcMyN6eAxULG14GWmVD1O7yWYzTsbrcqxzSt/rWad/t6GctE0
cbZlN4zSfhJoSAt2Wu+KdkfwKdMEdjKReeJhSDJ1Kdw22nvlIwwZ8ex6gUkXqzVWWJDktvRCdvXB
EJ0Mm9eqpbK5N8qOHpKRn8c4VVZu3uFe0ux4ONxuujSL15TrIHkD7i2D8jtqNNB9RbqtAY3DW6FX
O30TVX1osI1cZJOrl4JW/raLU4j1c7Gmk4j6ZYjwMkMnfHMGmaTilZYw1vl0KON2eO9gt6li51CJ
2f8kwI90NV3fdI6jP1wSJUI27+jD+vdeUk3HAzY9nZzJ8pQ0PVk8LFIR+9O4I9A9ESE7p9xuFjEW
9+PtLwN7TmY4EqTZd1P5YwquS21X9ly8jlWodfBZdp0fy4VX9uJkGLG3i+hl3m7NGyHcLhUr4ry6
921fO+osLm1HbxY3Z4uTItHy/WEqW+YHZqT20VVBM3oeBMlQS1BbFC2lXAtS5ei73isJKcmCHZP5
1UXI5zCbPrd59wWUbIVCx5Pr38ed1iWxvujl19HEKtKajfkgsjhe2lHGXGeISxCq6lK16CBlAtOC
hkyowoUB3nzMH0QigMJqE5bJHRTyHx3xnVy++pB4Ub0KkyrYxqKsqB9G1SkmUod9NmCRQNdI+zWE
cqmwBrO2ZpdPceGoZFbyOd1IKxPLWFQfmZPS+Z4/P6RAZ52fMz+Z8hdtX1LCMo1I0nBMravnx1Q0
6YqvkXFWDA+huRWZ0p/wtiDNogj1xiWF7RcA6Z1jh/KOmlhOT0Mqb9BPWIwBpMnOvx9k3ma0T9Z2
dmcrBAuElBnvzAnUjlK/OgmI8c+oAX3CNlr/jFfKPdZp9u6yXz7OhzDQIUGgByIsxNi3fo55q3CN
PU4YapE1K/cSycJzJMEn1hZjvQI84jyfgvv74vbwEtalxfKNSJr0zQhd9FnIJwdVcffxJBvBodks
BrAwz0bXiVOuI/YIS6Pbxg0YOGdS/FdJ+xI3ifNQdkG5StTK3sm2eQ3HvD9Emh1SLlHVByi1xB1Q
NNf7tTVlnlCBjQ9ckBG80tJ/VEz0FxRq100dWse5miwlIYANnnGuR4DAFpIl0CCCCzhfQgChGa+3
RkI92n0fREuAA5plsSwobmzbMv/h4JB7H5QOyzY5PjebaWNpHs1eCmqo1eQKcGHxhu7qhxvzt3Rx
96CW5A/4HSYPbJjxMsM+VgTJcz+dKC13z0/wOjO83fr9qWre9HeiSvsVdqviFTPxKiTZHqykbq3j
so/h5cUl5btu5WnUcXEKdNDH4CBpgs5qYMG8SlKgNbB+fjpvjHz9WCW6/txEd0rjNCspanEt5QCz
wB+/ZYPKeJEr6lVGWXVQoBFuABtCs6UxvOvVLl5AeAgYgBvYCxpl6SY/x6o/Tukz3jprWOQC4g5f
1UIWYHra4RwUSfjqByQNCVpBtl4XaGOzQ+F40WsOnAjYJ/C0+VlukX5tXDvd5h2UQsMB+aRNE8h8
qF3vKefKOXpR+9tduagfYKC4x9gZ2WX6hnePEyM6zc+PJO2Bmzes9rkcAd00jyTnAGCrV7qrEyGZ
Rt3FsswWoU7bXhKbriTrnmhlTPexIHzvyhiMV0kAboq1l/44ZbuIog8tTnSHXVF2y9bCdQQFsH3M
KjQ8ulnxVenLzSz9mA/1FMVoCxyDYRINm7T5uHUcOxKSF0Ne29+hMBpUkj+LEJ0Xb1X3VKDBXXSq
HuyUHn2JMx2UjuD00fQox+CcilKWDPmg3QWJkHudmiR0F7QcXdPK92isdgIs2Eup9z0F3VZbJ3iw
D2rhYroJmkkjJ0OJ7s+yjsQwUTWqO2c5n2Ldq0qmfh2EoFNusjAej31MURD1cUYTw6rIpGpGPoZw
xRr4PrPD7uqEKV3ugEoM+EVytxiJSj3FlFl4N1N+Zej+OvS9/mTUeneab/nzqcXUoLfJPdVz80Gz
lHfDi7e181AVqmATw6EV+Xi0ioNNs2dZiIy9zUznwjF9H+F33Za+1yH9yrS3ob3qo2W/h+ZI58W6
r4H5nSXdfQw0GH8WXRn5m/lOxS/97aAg6o3ygswwROdFGY4L1YnTjS7iHsxHlR0SY8CSHDvs9o1z
kLfaCv0+XR1DTFC9ySnW9bSKqoWOCOwtUmy5y0iIWwa5FW3duDHGdYuVvzAYMusksR4yorc2flmI
Q+W6w9nSS9yCoRhfIGt+6IaifFYGn5Gk8EtqyDedKuiQpViLcdyzFAI40SXOXd9YUybn1Mz2HNgf
vdzX2HUX2hRj20uNROgJhRDWJt1WOilDmbNbps1/UYTFvNIG7kWXcLVEF1aHQQKYplQ0LK22jg9B
JUkV6eJ1RKHiURhVuvVyojLYrX3Vggg/QkOBrU4GcRhzo7reKkO5bi3aKUg2gSKH/W2Kop1O4Ro5
KxlnYlt7ZJnpelsccTfz7oFV32EhVXfAudVNlWlE2AXUql3LSK9gyIN1XkEyNKK2/AhSc292+P0a
OljbjNTV7dB5/R5tlnVVhypYtppVfCex1SxTlGVO7JzgHsL07YNsj3fP3qrpYB61+mEyyH+Ug+qu
RjQDR2LLSUrTx30lkWapEe25MrwGTd4xofb1o+55dyIV/Ruz1FDa6JqnTTPCwvKAlxAvve0Rnit0
Xvh0q5bGt6QlumW0TpMR8IVMlqPf+DYRqLr5TInKy3As4SQrqcm5+jLu4FqlTZtuPM0KzpGmD3sd
Lgcs7mHYak2b3dBo6KPEqUNIcwtl8dhLdr2X3fXLOAugyxkEbtEnY/XttivFDApMB633NB9UBLM4
Lx/nE4kTDg+PZmy8YuouJrBTZdZqGy/Sh8UtLJnSNy0FVKTrP7ptdfZrDZvqRRmKN6sMxGuZa9lO
oa/NTMypoAi/jExHPRKLfSLnRqKsRTrL3EiaS7H3lIGyjPF1npTnXOVCHVJihofmJjBs2slSiF15
YU2e2NkKOwyFe0wZAlTHTg8gzV+iwjHu+nYsdq2sybXzpLucu/dKJM2jDFGkzN173YqCo1H5K8fo
yRVCwIhLvTiVw92Mw8O/I85ZXxznMzZGwMnniu9tXStFaRyz6acGkrkw9EXZZjauWy2i3M4y3hJF
f5+7kv6kHY0VzBcQyzFK5sLYNmlDNXaalWNshVacPJZQO6tRzd8CIgg2buJcmsFwTkMbhrvBtqt9
qinFqtBbWtVUkYoi915bS9WOgQGiV6aK/UAC1Hp2PAXC2zRtnZ+rOLgqYy93oaKCaXSremXMQYW+
ZjEJWNmP2ymMl6nhThxSSkgykGPkrY1Aluk35va2pMm09nEudMMItpehU7W3Qje5V7yQMaDKTlWn
EyTX0QnaEuhxn+OTYV/Mi6RMCCEsPYUovE4KREzqt9NNm/rvyZ0OdNbtrYirl9Zx6VzIEOewY3gQ
Rom8q7SOfWca3dV6xV4jLr0jZTb8WGJUVtAZlrFtKPt+2mYksaFD/kgE1SRq2jZxA3ekQRe7oVaa
bSUzKPBReg1qI13kcjB2GIeeLXtqTCu1T34PXHkNIXKJGS0NaM8OTZwbC1FDlEAdMHWom9FdQTLK
S7peSWW/3sRgQ+DHa7/orYXXefu5B6DVqApxbiEg0sZMW9+CjDvjPG0BlEzNvwW28uBZtfuhuS9s
ZM7IesLvpl5/4A8On2MZeFsaS8HqNqU5IwEabcUyq2Kj+o0v1dXHpfnC7z3UY5ct20KWz/HQwWlQ
S+vTwDEp8dON9DdXKXMhHq56KI/zoSVp5XZLuvojJcZxm7FPMM82QQwnJzMpnDuBs8acggMk79qX
hgtkN293zSg3iDwFbc7b8gPPgXY1sibE+2XL42CJ11D3zJOhgxwwRp0E3bH7LWyG0KAfqWQJentb
UDlQztdIR5wPCH3cLWbBbpH07m/3zQ8MMsY0izBj2fjdOyMP+nVZpMco7b3LvNnNJApWzcRkS5T0
3Dvq9ci8D2IMx5M4vIi7l8rXDHTUDmVFxxLH+ZbamE8DHJZyTXKTfYwyQrXx1Wqveux/1uCTP9m9
LnGUrFJz7HEvYk0KTRSNKPc7YOaT1dkNzGg5/5uiAZdcxWCA+NfXTUv7JE0DibYAYv+ttNMMUET9
OHnPJlcsewHsNWmlH4ukh23hJ4BGxuSIvwjO4HyTkYzOl3qA5S7OLawYajHVaZaHFXY6sC8y+nUy
kWYdGVngg/1h4sVLzF1Vv+7ZyhgkfHckGkyHSvePFV7+Iw1GUG3buk432ICoDzZC4ZOKAfFheRwS
uekAKl+k39QHMhioqxftZZju8qcED49Rc1WPAr5mCUhEKU9F0A6najq0TTwdTGJJM9Va9+ZQMtvR
YEgN88PQlGyRqcy2XgC7WCUq7phVI5OOwpdqhk0GavoEOb2/6onRHmnB0eudCjpB1LhLtUSbFVHO
eISZswimUQRDmHdCJvHhEdK1mc9+v1/RevJ+NLlAooMbLren7dYggMjnkY3el6aDQt38Ww/XEo6h
/NZyww+5B0e5yVSWSLW/1nqSPCjSu5+FQaXbVvDxWMmgTUiI7iq/qEiPKBt/6wGVLG2q5Bc1HYHa
8G0XrZHpCyR++bp3PGQ406dWh4OzIH6LyNYsMe9IWKBpOrVEdVSSy6qFZepP1holJJkZ2A9oe5Lg
0o4dZSH8R1+KAcWG9pqhEVrkVo7JF/8XGRsF4Qca8gKvYcNhjVRjCvp1x85hG+ho6apPRHaeCa+h
RmOT639P2XYKW9Bo/0+Y1cxhrHODHJVZw4AH8UW5pLI900ZwX3r2vhs1cXsk+8Fm1ojbQ/ngxRRZ
ZoGh1aX7lMiU3Om/wB92V1DZv3u2UhyiCbhD4AglvSEFXmXbZJVoSnK2FOWU06B4LKT/UWiafTvT
VAQZNtZ0imQ8GPlBf0ba9TKfzYcWiZw5dsbdfCYTDVh+OmVyB3C14ri/z/vih0bpOgwJd6IM8joX
bVWiXKYs67OvIAgrWPG/sx5e5lM0UqJ0HIhUQ46gaIvCRYu+BL7ZrPSUuqURuTR+CYcyoIEeAmk2
Gx3amT5uWZXFXNemcSzkWycww6zCKTOmNjuLuuTEXwvpPzBg0dlLUhRdqnk/jra6NwznFWtpjD2O
BByWnt25tpMv6NbtA/6rZDMBfxd933pba0KAEspZXse6L69Nq+r/AF6Wf0EbGrYOeNmQhqHqADR/
IuQFvaZTyOBiIeIb77Sf7ys4ZecS3eY1ls/B1FMhO7o86m1MbHz0JSBz42gPtnVOE5eIZ83ZdVO4
2Dzo50Rd7DDricV8X6PEW88sL5kLWNUzqZjOtzKjp7+CDvZmxupFVtwcWoiIRlB9yHubXiaYqDAo
Gp0SbnWlvd7q6LHbrXKDkNdCz7+2WUJneujp96ZZQw0fIVI4HYZJQSztSB4AZP1BT+xaVHHMkMBy
LDm0suwwZO5G/tTAfKBcm7NCnHxptUcbi6qbuCY14KpKousPjSt5FdGajYRxwxdFvWstyEpJ1zka
sAp6xJtuFTncfXd4Qh2xqrtErCs/V7c1pJi/p4Vqf0mTRVNsC6ZY3TIFPrOf2I/BZM02rBy7I7PB
2h5t4zkS3r4fum9tORJdqVnls+2Lb7Lr3zvVDzZxoBHnJFtBkADBZ66/YiPgLSK8Go9DWIidKa1q
qwf1P0SGmtpPTEiTFiEhr7rlMNGaf0nzcy1iTNJIi6GTo/bopmFv6pV5o5ajaObUsJ1s2zVsEwm3
1E6GdL6blcHOcSJWzYfan1DnqXyGh0kKNIae4xgV2tYysaeNVBaGFocIcif2ax3uL8p5xBixTj6H
hieJxItYiHBmKxq653SoCV3FIE9/z7lIEWv3NLX2HQ1NIkUXrKq7OzNkpLGyjO+9b9GF78ryXPa0
yyONFmM5vY15Rl5TTOl/N5+yDXgOTEs9q3Zd7xVF/4cYTH1iZ/6RrTm/j7YpsMbaqqH/DEamhJYL
HVsCpFODrFeWvFNCQr5iPvXPTaYnOwWdw7KFELbouz5/CFns7VA6SRRw1VPWuMpydspIp9ixkFD2
8yAdmkdoZgkBUjgXhS6Nh7Ajl+Y3sq8njWsKCm+ZMo/u/v4i/t9ekakREavBsuK/n19RqmRYC4sE
suNcxelq5QioA2a/H7HdqumJpjEuSiJ093GEwDmaap981OAn7/0gDtYldtdFmY/KQUBCezNBoNpq
jTFONv5anyogvrlpiAyhJcsrLIHEG0hAqtF4+4eXYqh/+XQ08kn5dFjp8nXUp8f/kFlpZmPnyVKZ
1Op2s6EvHJ2sKa7aeuHziF9b8o2avtgpdeJvk94hpyEwSEFMqdNhTVq2k4S2k+GjhxQioFrIJjKO
r3nFHtuhyXBEnWJt5s5cnhoeBSVYUu6UBenGWr/SGAyWc4ttkMMhj0R6tsKdKJIUxDqCdBjHxBTU
bbDnb6qWlWggeDR1d+3ZQU1B2EOVnFqilbY9qna9RGnORGeeex0htJPULlDOsTpTTiKFBww4Ijrr
iB07eaJgukJjdEFwBzYB3g2u+3Fczv5qIC+nLtDEBQVbdN947qatFPOpng4OVmtEBy9KWH4lSKW6
r6wY5XvpZ1s7g1lFOJy+GaZShuljmuptzNYxDhWjQKrMdBNvE7TYU2zU3Gfqp2aTOeX8JOx0l2Mn
x93sS5ib+Knu2iufup097epmGQS7RmWTosdbdgITUQhHtPzeIoBEj5OyXZdCInsudm6mRGdmYn2d
d2n2lHTZSPZLoHy1iRQPO1Jjxro4KVjqD66f/nZA+qnslCE5idTKVnVhlNc876qtNALysGCEkGA5
5HfjIEDHurmz99txZxRGfBeE3kvtpNSGdsIknKGCKvVlAH6zCkyMs34UszLMwlXh+embitMCHglx
YyY5vW8EeTwE9nhHVk+ATR9MSVTan3PlORtAApdtvjG0sthhMsQvM960CWYWOo9zT9Z2deulQZsA
BW7ILt2mnszldTpgaLA7/nFd03ez3ccvDLKljPA+jhr/yMC56tsiwqNNy1ezYhNrX/2iWjgue6r/
tF+gvtkmNSPbjQLopooXr8tJZugRsnsMynbhOyLba8GkTgPj7Oj2Ki2sizqR8ucDNuguxIGF++OB
fnJ7qSlrLoKg/0KkW3yqoaQcQ0t7ymIWmkpoI5vEVLdLe4t66dRxzcbJWAFbZk+BFyde6dV7w6y/
0kLI7rIElXJG253klAq87iQhalLCxtilFFqTbuYtvuIF3b0gR6xzuvs0Y0+xrrHy9SnhfZUYwiel
gcvTUriel+0NKxtYXdWDybuxrhCwinVgB+lNTAHgtTgwhRBfiJPBlhomUrU3l8hNQUFNQYajQ/Xd
9j3jAMWe0CUfta/jDF8yKqH/MHr9jG1mVlYt1oCacATaV+unwcsvR8cNdBZGeh2+UaEBOdgiY/Us
QhFVM5FLJ/LIFkq3bdvR+o8IL5ype7eSIC6+fdcf9SZAS+KJciWHTN65ucU6WiF4jwLySXhOytis
hf+0uvg5jxzCsy5ZuwppMYMYxvT4H8bd1NGV1NIoEXit2S0aJe1W7WgFp6yrPz2chbsMz8ZpvuV5
RBeWRUNv2UKnrMBufEPZupHIHNg2xshZxhEmslsOqxl51Jj+Y5NRdkOcvTc1SQuZ4KBz68TbGaI1
+070wi5Wmh5i6NEGnXyMMV+YCuBmBz73oRXlm8BFTxB1SU5J7VgXaDj1Cs2etycz/hGkl/nFT3wb
f2S1l46NGkxbNnkwvBulFm1N63qbHXPE/ZukjhlAWpIx51vxdAtuwj9dD39dsrG+ME1iCJiUNard
f35TVauIk1LNWLLNQOcZdqK6qnl0JaGqjWV8LaTqnPxCkKhbKq/CHMBiKy4ladQ54mCC6m1VJnHV
spc595yNBkjUMLTZNQbsdZ8CJlkEufdPO5p5mv3zIkk6zuTDkA6zsPozgDxXSN4TOQa0KEWWkE8m
mNbdCqqvl0bgXW/IMcpppExbBAKO5JlwEIdqKK93kVZ1u6sc8w18hNgTKIR02alwaSHf3bAqJDsm
Sf5hIS9+fqst2P0osDSVnR8MCecnYjp4lxSYcI+2JG7ulBbIpgebaEHciXuR+kuuef2hBBi7iyKL
C9Ezr3reUjO2LGRkLNeeJYbVIazsvaUTIDczT9RSt9CrHZCkbm6roNiLHqaz2MSK1ab521iUG2PC
SEWRghAEidFaWNFUAQSM8Peji6b9JdBiXrAS3s7IglZO/ek7WtaCnKWKdV7WSuPZ0Rk+DNgN9/Mt
3asbYqTHS12UKoqQTiXfNxiPSpRXl0rSpixDivdVLqpLMR0Ggc+yr6W+fEBNiBxU88gmVtUdCPcL
W2iyA22C54ZJ6F2oMT1KPT94akxsEvUfgstMpAAqIVFTbdjskxTZP/eNNUnWmrDtlTHQPwt8Etu7
OnriTyhPt/qZryu0qPx10XekGFsFrB74ClNAou314wNUq4Ni+DWFh9JbIXBLD/nUTvYCaMG6KO+l
mTD9TGfz/a0U4TaWJXyrGDoDWlT7MI87su12Qi0ILgxak/C4LChe27JcdlTi101e+KznAAbmplFQ
wc7iFZrFbMnQ4JCPnIer29o98B4EAjsAQ7Q2jUGxV04Sd6eqt+56b5QHR0nJiJqUITEq6YWThNd2
8nBXyCpWdU9iwFxA0S8z1TdSNBM3E9Dt2chBISW6dAcbARLZsvaUkGQRTTpHLd28HRYbus0Ay3Sn
tuEks2TtLtP4Cyojm5cUsoVJJmx24KEHNhFiRA3RSGqQ+Q9xOBz+/hqUf/maOVLVdYm2zzY0R5U/
fc2UkkHbJRWG0DgDD2eb28tIsKhgDZwe5mVm3KIaapI1G0mfdmMdnqIwHXa2jQPXIAcKjEtAg8Pu
zoq0AMNpF7IQjA0xe9ljPHkEGiV3127viI3tm9WhFCzf5lLmfFq4PQ7hqYLcOSc3jujlKP1TninO
xR9DbQEvNFiYc7+msZpkkXZSw1S2yCa7VTnoq1jY3qM52ShrNY8Oc8GQVto97ny5VGI13Ct5bV0j
8g3tBjk8nWVEhpNg7eIPkbru4274MpTG2600HeY5hrzGN/YIBs0tNhF9l5vKG8ud/tI0+ZtfmOap
MLovs6LoDwKjFCVHLazbZvA/v/X/5X1m19sYXf37vzn/luVDiT67/un0309Zwv//Pf3M/zznzz/x
73Pwrcyq7Ef9t8/afmaXj+Sz+vlJf/rN/Ou//XWrj/rjTydr7OD1cA9LbXj4rJq4nv8KXsf0zP/r
g//xOf+WpyH//PWXb1lDzgW/DZ5Y+stvD+2///qLPl2q//nH3//bg9ML+PWXx8/ya/Dxlx/4/Khq
flb8S1WZaNl3ahbTyJRw0X1Oj2j2v6Yt9fSIlJj6p2URdL/a//UXw/oXG1WdkBnKfpquqZSWqgzr
FA/p/9KFpdM9tRzBw5b1y///w/70Af7+gf5H2iTXDJNZ9esvhEr+uWQhSTygbqszw+mOqvK3/PSt
a+omHWFuFEvqr42h10uj0XtgcuQu2lkBZ8qn4k/Opp5E+SqvDwKN2c5MWGdCUFrpmYLrCD3PItHT
lZXgvMKv/90bChqQ2AbRfiXposUgDKEd511gvdpDGBHc5aU75t27qCMuugwerIhqjHOiEYRUrO33
Qb4D4awsdIBpq6KEl6iU1qMDcnxpU86mtNktR0IblpBKVolBXcSP3sepYE/POV9adr9UEBybdfjM
6h22iZvsEll2K1vrAW+79jlBer4zR5Vojv7ikve2KLXhe9dImNc5mIleLR8cujXLpoa/jwZppXTw
A5UW0xHw2TUECpO78nyVjumyD3Eq2yHdM9QMC9vMNTA38mhYQl3SdOeLvqEG1yw0OZWqMEqtMRL6
Kxd3VExICGStfsf1Q/3E2QZAKNcw7stlkn4yuNyVipS7QQctM9JkXNup/+6aIdaBBmAJHtZ+hcZM
W6adIIeVOEiIUcnCs7pm0w1KANmq+ASnj3XbaXZB3caoKw5W1ZHzHr46PXhcDfFkeISX+z3iiRhE
ow9XKb1FF1nvcUEJn4owCVZRfBgxqwMZ038krVvghKjXfV2bC2g+gCk6bYH6Bt096XLxKN7ZEnUm
QsLGwLFi5JjLNAssSE7kQYMiHdt5saH98ZVQCBzkJ4RBIWGO/bTVrBjRkxCWZomPCjXZKmjB4icu
aNZNUaePdTNmsKNw4VoBm6LePeN33ZIkPpWxz3n7w9UAYbT+C3jNeMG7tUeevDCqiE5DCuCFmta6
UsDa8RsG38H34UZ7xBiPg95d8oRF5PRzXhxuR3N8I2YOM7GG+rNNtUsX/KgC66QqxrtSK98pTuzI
vCWbFy+ml9H3HUpgLphsX/YRjMNFxEC7zBP6ckXFdCHMs6vYZ2Y5hLUry3N4+5qmWMjC+sDt/4LM
gAzWyg4XVPng+CsXnIInK/XuU9O+SM3+YnY+n6+OURb/HS0tWGAlEhSBt1e67Z4M8R+p5u97rCJ2
PjqL+SUbCWp2sjQRDmxLrb5YQj6WGlIk/UftJV+xw91BP3kmkOiUt8AilA/LGrad1w1LYfqvlt/d
D/3BnII8zeoBj9G30nO3XlrvmjA+G4TF9z5q0WLNm3cc0uKhLoJ9054Sl24AKl9eLAboVaVa/4+k
81qOVMmi6BcRgTevQFm5UsnrhZBp4U0CCQlfP4s7jzPdt2UKMo/Ze21wa8Zz6rqnMpEiyjAOhV1l
vos+JZE2icwPz+2+6dZ4NfycGMxR+7H8/D0dmi4kUqsfbsi680N9Sj59u5xDbRxQT97ATJnicVjj
VrbQ+MT81dIjgCa85IVxQgiB0wVGhtt/aZPx49jTxzzyxBJnkXQcScR9XWj2T4G2HrFmWJiLzthR
QUro8jYjRKefJzgipXdj6uUrOsuod1mdZtjlQjNjzwEp+aMWbkzlloWVKe3IV+X30UVDzJM6vuew
0gIfw2WJId5VXQyy4CmvXDZYEgdGnpWEzj72Bo5zywS4pgKTOEViPoD+439Q6g0Lxv2kUxJKPX11
FzYZVW59q2zBuFDg589K+BNUe25b/K5ZzKTghzLjBA7yLqiJ3JtWAtYd/5KLPtb7LZU0y65ynfl3
sJEGpU/jyMFvjt5z0zZv+Ry47LnmBzsyhng0Bn79iC0jx/M/rRW8OJnAONH8Ywo2tOiLYe+16V1u
1+dh23BSU4YVBPkwGa27RJSPgWucBil/LTJHsO/aZOax+A0hVIqoSxOSWRcMqrp2kwYogC1jekX7
/527WR8bUFt3OgTpsfcelf+dbv8nuc7vQyDeE7ZQixoI6OXL02+SYjE6t1TNB7l9D36u8ETx2o4Q
6JbReJx8ceNgRthxouIFUtWVVhk1HWwtJ/0kMZqUIt4ksnYjF48/MCNiIfGB7sFjLis8uFrMihw9
k3ye9W3qnC7KsI1CGCMeYCg2ETCcVDUoflJq+xy1g6199utboN2xBf1NUvfOLsmRli5YY3AbAlRB
0LhfeR0MULDEgdiX99b3oBau7V09FbsReVIOBApC4tcMdB1fgP2YczCbSoM47PocOm05hsoK3rKy
Bqk6MLe0kHcO6U3n+c/OwiKpLZrfMssQDaMOCT3wajMu5NAe3WMpPHbiODrCxDL6UGJr1Hwy2ld9
NsOpIB9oDd6n0fpjDMcWvXWjhuCScK0Zv0FbYB3Os2G90gs9jMng7OG8TXQuzWNSaK+TCxMd7JcH
38O/LN2WRZWb7Hwww44OOaV5mn+I0SYcy/XHuE1/fe1kdAA4MpZdMevpR95eAo3chuhc7jZ0HceK
xVJUStnwomo/Zg2Re00Q4xE7NUyko9qaG+IchRAFWym0QTLwyO83+UHR8LFgyd3kliXKF3FG1L5E
fiHe86FDohd4n6YhnoypelEkJzN5Jbh9IpiCYGMF8y+SBQwN3eKonyvYTQuT7oRb0M6Fu5NkVYQE
PdxsqsqDsljbb8RhL2fnPelSR/ZpokmuDn6XcPpwc0bkRHWE+dwOdEccb1u3j5xTGftlYhTbzeNu
ZPhUmy4EFU2EpTL/vEEdda97U6gizDSA1FK5t5rpXRvNARua/1Q+TasYdPAoK2rBkUUnUSvfugYM
lX86wPue77ym9Y9WnmBhTtD7l4XFjyjQH486GSz9FTYBNccCYqIuJnJIExVlgfHVqgDy2XLMupWq
IC23BNntxkyeIWl1od2Pb5piVre0uRa1hQpCYZFMxXaQE8e0Igs4VFiQHD81kkUAo92okPq1gAeA
yu+deqgMXZEZu2aqzoYxUfP1hMH4qxNlotllBGmH3HgyIgWWe5Dt9Bpwjwdbraks9FxM4D2cXKiD
wSGk4w9xNSu2gTAxNBUvVfJjD8k/rv2T8o2dNJBvlyv2+XxifrHWZ55irF7p0VZ6vu9rBEK9CLBy
JB7Tl77Xboq+2hF+jVwG5Cu5P2WcjBxi4Akjuth7GDUHKGrfmcOHv9E9+Gqjmk8dTG0KgunkJ+RW
VR2kG8ypTqqbUbqm5K0kN/2WYy2IKcdV3EMLkElMXtTHmIRelf2Vaf6A9PhVpfVPmjkPXgHeNVDP
MAAxzVbo3xcn+/SMi2JwsdcU3A2vZXQdwNlv9BrWr/NbICJrx+4y1BlCCAOAEhk80XYTNgUfi6ED
9WNBc6IhVVGjofh0GJ43fk2iPHtYPjP3J8iMV7Z7h6BzXnjyy9Bw4DO4XfcIbuG5q7cBfE5CjTB6
DJ/1l970cBtZ74Y+kqGpNSlWF86sLEcOk5YXGigeP9GmcekjvCNf0skCCvh+N3Gbngvb2A01hKYs
n786ne+5n8f7YGAjXquxjc1Se1Ziva4LuVvZuhg4FMABNU79VyTd3ehV1d50xIKhBNnR1B8LCkND
LpCEy/HTSzguuXxjG8vgPkCFH1Uj5Hyt5tqtU0bWa2EWEZE6NpiAmTPXNqwd1qf91IDyxWVuMpes
1xgdAdKuYkAOWDj4zJlwGWy7snJVYYUM4TCo9qdYE+oX4+RiXktKP9YXCoBR44Ff2L/3nVfvZ7Yc
R1bJjBG6ysI2i8ikgcwbgSouDpjrVvgM3WNQYPbVJHR2s+ib45J+FF2V7HwrTcNB4+AY5jU9DoRw
QUzdUmeT54Q6fl8bAwyGJr9xyqG+E45PFCTApd5oqxMZLOd8cYrIZXHIMUvJnOHXY/q+11JU6a7R
/FOIt7rZulPjZnrK9B+HlDGsd+PA4exd6UG1XVLf6u1KGkdt/TZde4S5tJcuCzc0OJjbbXpF9MvR
amX0kI78M3KH0kYzC1gRKiLMzX4jOAKUbcXlZrIpMrcYCvA7keWBVIai3E3EOfG/YSTyAyJPAanr
5/YYFkDrw6ZlM2Qd1gIl/FR3/0amPbCMNSStywd7FDuqEFtNiE3pV1d9Z+FJWHrPAb7VMHa0caV3
O2eG+yac/gjsOom6omHJwiAx0OgOjUK/bz3nQ3fBDzpN86SV2WfXzxx6VUYBMhdkQBjPq14wwBsW
PyLZKbS8d322ci6yfkFJNRwm08jO5nD08r7cmcUKiyWbh6i4lkCEn9rRenRxu509vZlZWm/w38A6
4WzdWI8zK4z2one4oFG+/w6BzaY18zb9VBGz/H5Q3LFxx8wDVHjL81UwJVNVQt+TdXECRfXW80i1
4pF2z3alPnSmimgtbW9fp2TFJVv3YSQwYghwRS7X+CQ4y6PI0v5IKFlBlWncFLU2kHSne+cZ5htR
B0+krd1kXtueUnN5WlhQHMbC4uWGfO26rEJMLyV1VOTYwpT4kqlE8zhpV8YQxZ0n6F9XdKSGU9xC
x6HVS/6AyXjndplfM79awPAxi9A9Hsx5YneJsbQ9ECWEsp+YxRAEUEXTwJmsDbBoUrEzFaWEsNuz
y9NFSEHfcm/Hbc0tGCAR4JhKee85mFwzr6KqtAyWPI4e1sNLFnz6GXpYiohmt440SvVRkmAp9FkL
a161aBoxAqvNaZuggWptHML4NS8gkK4s//fU+HYsjD2B8P4Ba2UXKq0Cd+cz2cwkQ8qCyDb8RpjA
rOoMhoaaMlWkyWnkBrOQ8Rt59EpOl9IZnhuEXIgt3S7yjfZv2RIOJzMoIq0nWzAnp0fiuGBAbR3R
iK2REbDmF5n2mpr7Lnf6MNOpW5bcFyHUzwIIJKRt7CqyKn0O9yBlnd4DVKD5oaeVJHJwJAFc+21W
j3eB4EprJKUS8OhA7lgfREK1gBz8bto3dfuOKJNCGzfErvUMBgkTqJhRxQhHqDyxontZYZPbSP+0
yU0d07opaakJojDMaN9adgtAgAwD9E3vvbIP5IHHZpZypWe9BWDZiCa0C6TQp4AzZ9zqXoeCTZu8
Y87IoEDKgRWoPWsjRaetmkdVGv9mGUAIJ1wWD8i+TAhXXFzI9VUK/t+XPXGv1oWEuqn33mvV/ek4
hcIaCc2uM1HlA6EYmCbtV7cwojpwP6qmgYfinGvx6gbTuzvhRukrtAW+Q8xNp6ojJHwevs5so04L
oINlX5RlbcNQuUQpREJA8lM4xIlU80tiW9TYFXbZVGYXG0f8f0OJEU1pJfJmJ8hvoNXRjo3snpS0
YLU2u7rwXvwavhVuFdJ8KmVHKOCqEFLKEHEe7t3OPK9j8Wj27T8Uwh7pnRy1duQ4oo+caUpB6oLy
lhjKGHIFXcnwefYZD3jA/sfhFdilGVmVLGN3PgMD/pdls0bbodHq6lilhowhRbaC8A3SL92/nZIC
lebbGBQZt1LwYpTjz2IYAGd5/0NBSmWfDZ+D9FN2tSl4pVgg2Q11tkEc2zkPGT5bx60IvUaLEqlH
7l5eeSN5k2ZNg2r86Ev17ZMBD7tY/y2DDCeXxkNBEc+Zhkne4J3uJYS/vj26GcfXChwtNDo3sjX+
K88hALopOKtk23zIwDlMtVNit+z9iNy2z0C07JnNq99Wn5awP6zycVztN4p0L5rT/ncu+hdS64ew
NXNguFi4cJsz5PyX1+O7R00YllZBCyOeMkkSk178jSZJLGUZOttXzrPmx1zgJxJxaVmWwk6V1iH0
LOzezo+dmlRK+jMKk6vM0x0hFxMXcXJshR51rauHhQN3zxNgj9vhCX7tm96TSfPf31vq5ru3jXfc
p03o+f6+0S1ONOlDS5DpUc0UMaYm+82JccTzl0WtVjGNrZp6ZxWARiv7xLgzHLdAHVhn2DDAaUV9
weOgiALDu0UuonkLCkkmVrzmHPNJysUKdrYpRjZZcyC5OjdQMWASEr6Q2OxWjEhxzgNPbYj5MF0/
8sWnW5icnde+iQRvXWpPHJ4zbC24F54u92IVT0WVfuuj+9k51sMMmqgb5EAzPw+xznmn0e2FQB7b
g4NbjwHrclOTUN1Ai2vZdoWaU/7ktBZgR5/W2XgK2pSE0ol+V/PzONGZygFVAuVEorKur/6NX+zQ
0fxMw/ApSu7RfvXKMEvo4CuZnw1E/2Gz4BIcnPSMpQ8alvweXEaHAHkg1IiO4QCRaUxY0sHCiMzV
H078dsXcn7o6vR/ag850cp3XmDH/vtv+HPvSd0JQAmCCZ0Bcx0xvDr7wglAq9pwGtp52KgaG8GtM
FcSaKbH/Zj4Hh7s+mHF0N2YxM0R8yQb7hSxLJwoYl0ZdPrxrDPbJmUfXAsr7o/eLD2/5Wsf5Heca
vibepBrvQp5nDK+ZQM+Z+0zihk5MhnFWmstE0ByZl6Vcnba+z8EK0lf1vOVZ8Fe19ZcYpnPKuCJZ
W26ojA9jsZCNKOtbZH0VmQZH8GQeZwMyElWVigws1kEqj8ksaE5HE7FF3zxWjXqHwh0C7HIZM+kP
3Zbe6LEpjltQKU4ZnFdroE0LZjARSf0xEtHkJ/TYZFcgh6NWXjR8yqnePYz9eGfU0oqld1uOTr4D
J6VFXj1GUwkqVbPKMSrzW3z18L9l9gst5BUrdMWN7UM8527bWvjs5LR6wmB6VsA5bjQ5WYj2fMbI
khOnbQkB0njhgN9cELCle4YwzBoZXHTTpowbRxSC7mPlZePZSKzdvIIe8PE4bvELv4ViaNS5Zhex
hs2jttM/7dZ9AQQi47qHjpJXHPHmlnWKsoCpXP5Q9SMVXnmnJzAo4Hni0S/VvZWQ1TokxnPtb6Ve
mzzqEx//msj7RQGIBQLT58Obq6dXVTJnMYWh41oAJAlsHcEUmtuZsKN5YrPuU0PRLRx0B0MidixW
ztrRH6AtdM297qUiIo9Z7HmgYkUQelQZyxtZUehAGtnESYnjLZf1XnO4gwcPnT/06BBdertDTP9W
dXVcJfZXFZBMa3NgRZTBH6NRfkHRNHZq1V5GlNIRTnAyhdBa8b3jjTLITZOq+Whr/VENmLZxeQMA
GPyQuro8cXK+Mq4Qvi3PAOSJuS4AAZTADztPnyIydIsDIEiqUyd/ajr7G+1tEDkCJV07QSnxJo1D
aW2G0CU/OCbR8zi6zj8rTVCgDBVelppe0c+8yDSX5lgo2C3dROk8CMUUJGtjEvLQIeLWDVu0CPsp
FUAA9D4uB373SSLwO2u/uUgPjdlQl45MAcyiiS2fiIbAJyUkGL9zNmswXY4YlmjDs8ZjrtD2UYeu
fTfpy9uCYGuDFYSZM887G8lymC7argroJB1U2PhdzJjg7jyXd+UMeS1Jap+q3IC+NvJrdyo9mtz2
N9G++vICVW8S5NjbZXVrYICt4PKh7TRZKEGTr10CxHt/zfcWsGJGYMGa/K6rdy+0dTpl5RtcXrhG
OXoxPaC1snpsBHMGibsyaS/Bj5u4OENvETvDxXrqSKE4P4zPmrXgIplKNnnWIpAqnwsNvYM2v8yz
+1qO+rZjI/6K2UyUNy7O/rJQe6c+lBhbz5wraoEFAgxNmZhZLaujIhTFT+KgLE8+BnYEep9tAnOG
Yb31pxJiSAD38Sy1sQUnOcwA5MU62fCMbxxQI4LgDBfut1qmN5tSl9LBfpyJoGLuyuPt9CyhyA6m
LqG5IshGRsHAqKQYvVO38dOAasPOclUkqnxvDPLRt9hkJYvXkMfVshTthh3g7wbyWARPEtRJ4bjh
kpybTcmf9oTS9Ko5mxouchkEu6n/Cbrlw1coQBDm2exBmcYWJhl7NkCj1plPU+uOoenV9xzNfyYZ
kLEO56KhQB9MZq2rZCPeU+KMTswlBWw9Hb7WbqK3qOUzKcX/UGAfVdl8BF7thBTMKCVspivKt3ZT
XSe3pXyELf5BGnyGHGfxzqTKHfNN9dBlhnF2gy+vXgHsYPUqZu+2SPPPspEpbQsYFuGO2sGpKLL8
IMdvw1toeLVJ31CrPY3irrWnMh78s2GNt7L2nrLqpuHQRqlGxsg8mhFVuYg7iqkF0xgZQTkju+UD
BB6y5aYcWG4G3LemiThqfi7X7F8Q5NArMJBFXcdL17sscZza/wb9vOyHWcfPb8+70uWLr41+qbv+
qK2rfVy14gtaCtYpWf8Rq5SF5mow0Bl83I56uiVUCUK2l/7eW7IfiXyIcoKvMjnBo+e2KrTLlBsT
sr8E8HCgS1650h+6JLjtwMxS9SFINZk+MB43r0HJOoN4FTeWJX7C4cfVAoTXAWxplyEPQBGTNZdb
pgfUiRo+aiT0gEOzarpTq/uaCo0gVbp38FSIq1JPhp4D0CixeLIcClsxDMlOlmRjme7IDHB1Y8P0
PxOzfBNyynEx969Fph8xKbnQznzyLxf5UTrGP7vlDqH24ibmfvMYYWNin+OF65eOTJydNXuQRDGe
uRsPTUYXJmsdBBQbDlNnwq7XOclc27jT3o0WyVpBWRB1NPTHxC9p6iDj7hDt8iII8u18/1PGetcw
OiQM1AHSdkvgVBo6Jbqdopo+W7EbQABmyHL/AfsBk5UyWBZhZT16njvzJJE4RZ8ajnKRuyJRV5lm
360Fip4VxB6B3k/WWKfMd+7sYJ9Yw4SC1aA6BUoSclGWwzugGt4lr4L1xiRrEFPxSU49Jb/uiL2S
NnGnRfrgllZM9A3pCGW+U5SJ+PSYeZlqqXeYXPMYDtUpB/Z6FUZwwDW/nlu72yNkbW50D9jdyOvr
r+ZeIPo27fKxTRrvsTgtS1ntMZ7dOutyRRFbH+hXcYLQhpnfDgf+vsiYcaVLxy9voZMeNOqW2S2q
vRzHX+zmvD3O7J+Xyr2DDOCFqNH8aBmgceS2FU4adI0MTephSlqiHdb7VJcB/eA0xkGCID1UXrKe
7SEl+AnqTO1pHzP6V2yiKMCcARWXV3y6bAAFwTa50rJdrQr2NFPFZn+ZF+pFLvRiZf05Drdp0/i3
nIwh2t0R7hf4ksRsY48PK65mc9rBoAG5x8ftvhgobKFP5ddOc12UeWHVPtWBzOK5Y7XYK2IDAgJT
ZAoyORnvplTBxQBS1e3SCpQ3zNQmKnqri+dCHqt0KRm5OxYKcd2nDWUaK6Wn3bTKfCzzTQ4nK8UO
b4tNw6m8C8YgxUFAQT8bdRY2JgiQWQckS7jBYJYYHlz5Qpu/cgbcQrQuGFxxmq+dc9ADhFgmbxg7
rGggtnVvstmKpdV8kSgxoOmN3cTOd6t0s11qvVa+e6rsXt542kw0TmFC5+c686F4x6g+T7CPXxtz
QM4oaYtsMlPIevbm2Az8T2JqZuKcaDbGTSAikf2PlfDuyjH/dE0HgycpX97Uu3EJIrKpi553kELH
ccpDVTunHiwYRqAZXDe+oA53+tmq3Ldc76GCWJhDMu80VSOLj9qddz6uarIFDGYQznKw0oZ/u7Ii
NPflIVgH6gAGYmmKqlxMh2wDYPLz/pVszFYk0Qe45SWb3/qFuK8tHGCklR8b/nrdQ8ML+BAMhfjH
FCoJrV6+d+jzm0xfnzy/hcBRlK+BmDkm9Q6NbwP7o3lHJsUNCZrDdeeOYZo4C8N56gY+CmuF7G6a
OOaajQc9QwZcjgQHIwZG+hjCAv7n8G9iZtGL2NC2Ra+nd0fdql5ryZ5ycI0fUzByd4X+YPfiFfAY
dVjlHTW56gx0IIPmPI6NM2B6XfmJBsZv+9rvj33v+aGoZbHTnMpniMp1Nnmvjc+JqyXaS6srfFuG
ZoTYGwsIZIoQ17j1g+qUjGdI4RYVSFI81UgCdVd7EFXwz1/q5TQFsBgsp38H8/6TkHbh5El17vTj
VNO2JPqhyhi2Dmo+J+74mMFx6kzaJmXAEB/h+9Uo9UPdB1a99BujQohT0UIGVxo3p6dVZgTC6xH6
ZxpRDc68JwFkmXL48PzBjbPWLMDt3Tlj1d1Rdv3CNk3m8ZzY3snv+rfRZbeDe4dhRRncLy6HQWCD
CWAvRXotjBvX56CYtaMMZhk3wGm6MfgtISrmDtHdvVifWs1Cs6zeJDnTbAy4rki9CnuOm3jWy9+U
/ZeWr/+SgYQQyCrORgNgA0heFX6Hm9KaL7Ni/SlHh1FrtX5n9Kk+BDZql+Ei5oJ7qDSgK46srBe/
317ahJc2wwlBBALL0CbdV9RdIRTU/Hay6p9EjFrcG1NKZpl/0zOCwIX1VcPkidD5d6H+hpILNMwh
SUV3Uj2/om1bKdPyyPu8LTOzM1zdbn9c53K/Ckz1fl4xcprLK4Gkx3yoSppN977WuXhMonEPgb6f
EGIyHkO14hvGF6URy3dSy8LlqMyF5evCbt8DcttzAgp6Uda20NqSLUOgzCId7X489sG7gV1wJPep
mQoGmsNmsl1iD1IMlAA6AEICGRn4BvHAymLa3D+L1sGYwI48MhVEHUxM9tFJrhJRHYzAWKGvRwsm
1zso3LHylQ4J6X5KbSQ87pPX6se5n9/bueHCM4NffONHrunjmqwI9Bwgm8nyJBvjT6dK9JPiYbJY
/qYiBwndvkB/znjv6ephAdzNkzFCiC3udFCWOsEFrYVbBqMkA/8uf3WyjsK1VDt2+ez478lD+l3Q
uLLM4m9AkFE4yqw2qjSYn4xnBKsTo9z4/xLgemGZ4qy9wvBtT147ngunbFnU1st+pEEseuOfN8Ds
X0zx6Hbg5w08dfRxardlKNd4WPcARawISzQBq+SsEMXigai26NaDht8f3XEgEoGqiDCjKtX6MCc3
a+fZtBWbKilbgKeJjFPZUk/YOssi/XHN4rPTl5ShaQPZLRlOScogapJJc85LukQlBzyOubg6RXPU
m+qfFTT1t12vV6+R+q/TypNXNR8Dd/RjRS1J5Tw3t4EWqlTpu3FIsQ7CXcrpOnh0PRrQoetex9w6
2br/atY8vosGVVlHId2nS/EltOpRNTTsbic92tWh3QvlWDsmduz018tYXQgSTW+kEN9I1WKz8p0z
awjutyX7lyvnBJqBOHMWPon1mZTrFLYr7ZSS05ffqTcSPwF6MjUOS07Tw+CWetyO9ktKviUvJZOd
YeX9zTt89JzIbzi2Yd8W8tkoMeVNHN6nhDdQJUMJ1gfA4sh4rV96Bi9rskSMRPCnGbs0KE1mh1XM
LE8CY6GfZdfrB+qgSzIJ62y48Wxt5J3DsVBLqZ2TgUAZoguXqGNPe4ra3pru/am5VC72PsZNy82a
M7HT4M0O3sTlZSe/AC/+pClet5OsaI/Loht7w8qJmEirbyQAUkyM2Cm+GGjvS9FkbAKXMK0JXUeK
MEufnxSwIgRBN1508eURghjmOqhWf8tcMPv1IFbXRuskP4aSzIIlKZp7c7IPveMcGEn8NKa+awFR
D5lPNjz7AsaoxM4wVIgyi/wyV+wXY/pCrLTtdNniSVQ74VB3u9rwGtb3Pb+IipUxEdL71Mrvh4n4
Vg07hGiHhT1Xj9ez5JwojjmotX2NbxPDYn1fdcI/9G5zh4XxxdarIzpEHvLUop6jopsXXNZG/2Jz
CYQ98DB0OukVuMXH4jw082RH4Ounrd68lV1zK6jB1s46mh0D4KBTa1zPDD1Bdc630hG3AjPjCi5m
77u9xiiKUi7XxK0/Ig4jug1tryThI2MMWy5CRgUDXMdjZ6Wp/KyCYC8aYRIqtB7HflsU5NtGYNMH
pkYUGDrbdeHQQfTTEjZafxUlghfJeAczm8mR7OFrHY+V5kGU0k9ot3b64N1BOCSgQS03g6IKEkiW
YNIRWm3vTbfD27h4lG8LcpOizX4neezlY1WUdzUjR01HC6RK/7HkY8bmeduAPZeC3UaSkFLTpc+q
PCyUAChQJP+KtvghRoQvhKDGabR/im7skYuWrK4W0FH0BvMsX4jDuQSm+t2+ycSt965XXqrOeLPs
5GkhPGVBRcqFe+qydaNoPmdj8DLZ/q27pKdW525osufK/gsWebTX7Grny4syslerSl7qwXlSWujZ
6i0V/n2Vqxe42rfJ+MS44aTW8pIY/n0R9PdLad2sg3HD8PekpWwlPPqJ3j1msrzo25Vi8o3OgwGT
86tPrn033OL02hG28qClwTFLynfNNXcGE7wFxD4MZsedH+j+zxP4ta57Sbzy26zJQ0cFODGptdi0
8P7lgpY1y6hmbHltIR0UbDODiTsTVjvPfgYnoDCfLZWSdMHkGSPylB0Tjyj2lXrXRP7IAOhE5/+O
w/tRYdtbuZa2A4GFJMkinjXtu+q7qJJP7pQ/t+TSnW356uYpGDhGQ53XIBxqb2wm2GXKy2rxhgh9
PatuuRsW7dqV7U0j5p1YTg6JVj6WZ4lCTgV3VHFu/z07N1pqvcNbxAGd7iZcSJq9olNbD0qNUeYj
8oMUZHIcZy0T2QkHuJ9qsFbD0jYu8Is/i6A6u3321nbra0A2+KQkQz/153nmd+8ad8NIJ51bTxvc
br3pLHVMdf7LtL0JekKCW/ufsyk1NedW+Th/PfU2Q7Qi0e3Mz2bHLqjdTmvuBmi4aRdX+vuU6xcx
lBswzQWenb1l3fhVjveWPV8RzHzV9Htlgeq4K6/rx7oC0G27B0noVspUoJ93Fr8UXsGdnxZ7Z6Tf
SJtdG6SvJJPvlmK65l1wrrv8EfvZYbXhwG7KmXTvjQm5MN1wbQ0CgQjzHuXd2nm37jhhlF6OqTmf
EmVFCLfI8BG7ZHj0KKJG5VFi9uhMVtw1zBhqolu3tfSXDieNm3AHLVkQxxB2Zva1MAwIIavtdEcy
ejPeWPFfgBYwSV+fHIswhso4imV6wuh0GYT2Anv8XrH54M/ffGd582nCND5GWC8vwXIJFnEPYuHN
4IXcXkC0ag/SHHauWUJvn66mt7w1GNaU+/8/DxBLJWc51iQ5iA/nQdrpI/zlC9D561TAvyrz+6ls
T2Ygn+hGotlEgON7t3gJn9DjXbNmfanG5HFhXTHY99rCBgrhb6PLF63U3/RiZ7vyTk/1i94gkK+2
NY17W6n8umR888t0j47rPmeTZclhP/Xak7Sya9YH9zi4P7ZjxJ9clhlGuH33SpJJmb/kc3bdTpLA
B1lgRTCCffd97i5pX77OTn1Oh70k7kWNL8MfwEiFBS/l1aAOJs50aS+DMd2hrfeHi9O80MTczdBi
eqZOpasAGi2MHPq9ypdbvWNzWhYXJYk40Zbzf6K+Iic6wrhkhrwX0v/omZn5sJQMm3eKFWR20R6q
de8ZVuzL5bodc9tfZbf1zAboxZqmF4E0pJqdO9wjV0EoHoubq6vnVxfFWDqlr12/BQHeGy4n45i/
sUG+yMm7J4fjtSDAxxa/lZQwtZrL5C2XxtL++8GGAaKBZr8YLftf7X77foLt9zkxp6Qqa+anoWrO
1sSaaa4uM3azhNCG4isDHDku+MeG/NUqYKMNnNF8KYefoHDdXdvdA+C9S2C0OUrej5n2tH0A279f
W8OdNh1cK72iJLpBh/YCxuhN5Pmt4qJLxuLdWtJX5aI15tb7zF33w3Hmp+2JMib/Tnk/S1ddaJqv
I4FE9pJefRT2QV1TBU5Xmn+aD1RHPHw5MEJy5s5eoh4tX151n68l3fvtzyo7OYr+q5cN2uX8dcnX
t6pd4W7BJSQOnfZtMMXBWtZHVo7PxO8+odD9+O/S0b0P05wpYVkMZ69IQ59yz/sQ8C+dfgfW/rLI
9rvp1dkzEzhx5iEDkWX8j7gz221c6bL0E/EHp+BwK1GkZtny7BsinbY5z2RwePr+eKqqUT8KaKCB
Bvrq5LHTKZkiI2Lvvda36FzT/Zuh9KtK8xkvA9rkbyMlBo0IiZAMp/UtgC3dO/1ZauHH+kRxra7a
oL3hfX/OhyCV6VXX5lPdPHaGfBpb88tOygdOUk/MBu5iSfdDqPoz+ql/bhtVvqx3bySmA5mU24UO
LgDDk1v3T2h63pdF3gE2viGp+SCUiaZD8QDG/wO5Bi5P4XNnskFAtZrDF70qHgoe0HWfHE2ya/En
ZDyRdTo+hr18HvrkLqIfyZJsGtGrqQgMmtiL+DEGn/9sr2UWPQ9qfx3b4qJV5raAOjg12ZdpZJ/t
m7O0j6EfpoTKFr9zKG8cdJ/MSXmMw+6ajLy6GF4YHl5XcR+Dra6ekWeXwJbkk6qn7wOPnGJaK1dz
cCUpbdOdcrdi0Eb+73oMWd/WPx8jQIFNhyXJQFmGspbX5xtu+PrP+7T0oyKfo0X9jpvoTgOBc97n
+ltYffnOCvxoWkfXia4M8Z+mKHoG3vGux+pbwU3RThZq7+GlH0IMI8tpRDLjennXvZi2fmtZt5p1
wJjN7tMEZKGIfQTue6flJ2zOWIaFaqT0Vb4NjN6MYgKfLO60tcraGW351RPepxFiJamfLCoqhkfR
q1GAmWEFjUhq6abS79CaVfaGq8X5tguKarnYruVjg740JgHVLumS+GtTzqQ2FTuM13NmK88IKw6F
DcPGTc5CW3xXybdJXHCqzB7XnZ3QOyIDur/xUG9hFwajFb1qCqIpRTNvoSCYrC4uhr06WfrqYSzf
x1T7HnKFc5LOslg/T2b5JdrptTDsn26UtyK/kbR2t8I4UC1yqkz5nOqsthlUNsMJzErbuAwttOgu
ZnVjlYYXWvbebnDxzmTYNNNhdsZjgrKyGDgvw+vlYO/We0f17ImW17DsHcRF6FiCkKQjWfADSJ3s
cvYaoW+9GXllEs6sDSZI/uFMMsODEa2tL4sQBe0SVf15Tg+tPQTos28qg7wp9+MHNokEP3+5z0NI
KZZ1nmy562lU9+opUftNGEN5GcmiX42C8g6QhKc+uTWJb3Ie7tCmOFZ0NgnHg/WFEHrctWoTqPB2
IUbsVNqSpEigyHoFGXEeq2JLp+66yv9CR2c2Hz6vAcBCL1BL4V3MgUr8MEPleCm8MeIIg9ZTVSGb
J+qRLMbNSvmrsom08DhYT5TIElU3OqNrP1a4ZnTpshzMRyGza8SZwxFfGL3v4FPuQzo/YjZA8loH
rmBNYxAu61teZg8OIkT8YQxzFlSdMe8kYpSATmJrWgiJ5N+Iu0hPWZEG+VL18slQkEWmnUcY1Cpo
JlPUSB+jnOWGl8vei1kp+DDwcSlJUE/zRcblfjFRiN3sjyQi0MOpTw2trclyfyBBHwW9CcAGwUwD
rcKQ5LrfNpDXjhl6xADaCXSWM6n+wCY4r+rK3g5S96ILpDlWfOinbJszpESnQSsBai9Pok6Wu7K+
S77e4IFOyQFtUnDj9eRJ+TgU2ba3pz2T4K3Wc3vxZqI1pll/KZ0Z1RChzGh0wVDQQKMzRmIn/+qW
1Fap+0ZoHRICIpEeHA2l3MfacpE0b0PICZikpnnbzfpOt00faqqnZXRmwrjzWrBD3a1O5c5JcOKH
s2cyognD9cFVtvXkHLHXt1tTx6AjD1Wh3jCIHZexOBjY9El6Bok4r6Eah16r4JH6A+o9FKa7rNGZ
KyI7JI1qSf1Wx5dj4FQi41z9dqjBBQ+Q5FcKe3bubwOJK0oB7lOkrq6xc+a7Y17WK8Cf1vPy+ikU
kUnzv/WId/IY6d0deyJkEOyQq15cN9xVu0l1j8kifLoKCQ3R5C7HeK8YZUDV/1HGa6kWPxaZ+ZGG
9xQpk6zMoz3ob9MttKcHlP0fIQ1zqqxaquhsfFs9CR79pZovbTc9oyU7O1HxIFEX1C38rvotb3JY
YhA0uQtyVbmw3gBRrf6OFq0aoaPLMedHBPIMqSl51smotVpHQAVxf7scObPKPa4bXo8GM5rDXQTh
vM1o2BPNOoYtUS8M19u7k9VMdNLiEmnsfKN+U7vkCgRwmzbT31B1GSzPR413XcHxN2xGzAUVuvBa
rC2Qw8+uzPY4PPDc3ppwfGJg8qBlCkugehH1iEjVBF+PmpXVycCxsx5Nm4gGx+LjNr6MQvjrt9nR
PZE6B3tgW8P+UoBr14vIn3FgzKOJg5BCgf9PCi0IWz7GcvRlb+6AddWmcqEi2aTnMdwVc0SXg1w/
awnQUe/aeiKszd2zA+0MIh/xSa0uIdzDu7yD/1DM3vrlhYut2GHAo3llli5ZDFbJuTV/rZqKGSEj
vuBg3QinJHucZUGMnHmeKuFPLrEC9PviRzoCABFuKwOxqpDwd861MIFKazVwKuOmO22ghm6Qxk81
E1zg0yLycdDtehpW0JrGEKwV1aCoA4KKAmtpPmojeqzZ9mA+ZrE4I/Ckg0ZKUOQcSiUKWr7V1Red
q2rZ45aAMcpQPJey9XBOeRJhqJG2Xqe0QTjJnVFYZ4vB+FiYdLfGna5kB4fInGICLM0lcEc80/Pe
GoWHbe+1TvngOOAlSOTXao6KBVan/cRI/43I2+NgohT5Wm8qp3GPDYJoXRycqbjMcRKYyFHS2fpJ
88OoMpyb9J1a1nttMvx/qkOzf4ooZbLceG9qwgKTOFC0jzCMD+YIF1LQx9PPM7dKSZHo4HAW8k8h
lEs3MAFq80tulfvmoGbGg9BxIAPVMhRWmEH6/GCxB4i361h27LBY1UwHu3CDooH0wmXqf9NrruwU
m4ung4iDk75ecl6rMxcvZChHb9EbiC6m87u+yVlBQJy6AR2HDffK58DXjAyUCJZKGtR+SPptKTkE
8N80CXf6OPlO9ZEboW9VzmFSokfdNG6dasK3kI+JMpwbPId0yCCeWkwQTChZJnvci7KgxIhnjyS8
PSqZzbBa8gaVVkLtrwuzHOQ+TvbUkFyT5vTPWq3yobsqZLyFQZDwac3vhhgNLVQlrsacDkg2S38k
k1GQnGzKJIDCQejYCKADhVIy+KZUT3lvX2EGHjNdvtSM4bKlPNj6APQuPGLSZ7vWT3Foohh2A+h1
WLY67AKTP5fimjMaR6u4Uo39uFu++7bl7xV0ZJK39U7OyAjCY3Nb6vwy1sqj5XLWMhHSolzp2vi8
SG66Ut8xu96jGNtoEQmr3btOBs8IQbjUaq+Iv2zqOsgDOZkDqQPLvvTRTwd0krz1g25spBsJWTnE
dOaPC2eSLCfPDIKtMG+qYuwQQB0Juw3qSoLpzY+wBvYEGARhglcNxh1sAJIy2hvS7luYX9qqekiS
8pAmBUlH01OdUfTU4AcS99Ca+QG97Lkg/zg1eCVENgu+zhxphcrHMKFJ1RdnP5eMTDlyO8u5n6vD
TJb8tstRbcGr+8711AhQGBGD2SBVUbFFPbTE/qHlD1+gVaLbB9njn8LJiQnXqhkQF1QCIZr6f6gY
/wno+Df6xP9Gg/y/xIesL/Tf/+H/fOH/r2QQ3fg/kkGGZPl3MMj69/8DDKKp/zJdChMoHoZuIFsB
vPEfYBDxL1fYpnBBK6Fl0vX1O/8FBrH/5ajCMIBx8kO6qUP9+i8wiPiXowvkPQ6JEAaAOP3/BgyC
Ze3faZm2inQPIhNvAwSJ8z+Bc0aC+VNLsMgsEoEFSKSN01coSBb+tLZIFuWr71udfJtQO+YOy1Jh
xoSGhSz8Ur0m5jMZoMuV5ZoJXtlqW8BFrILWeLH1O0BAKp6y8FqYbTticCn3VOfbSadXxNgxTtqn
WcKKwDAXL426rnoDDhT83nKB81MPAQapdKNMqCe62q6CXF1IzM1H1CVOhCG/JVTchNS6QSa8R0m1
XIjFQyLqZJ4gFS8gCzJQWm50KnGBLFIRu2TSJ19X9AYhJcrqUnmoiWjdLxodJaeZ940FeLdrimDI
k0sTaZkvFeR5uNCGbdX0jTeCJdpoevFSSiTTDdoCdOT5sq1tyr+GOHAydNrNSddRJydpP/gL3AWY
vCATwymIrAka+GLeCRn9qRu6JvGAgns2n9GI4stY/dQ1wlx9QiBo5ekPc/S/BVHcx8T8UMhRsnpt
zaJREXo5R2lZydOoORzyJIcaE8653Y+02DnaHFGkfw1Nre0dOb5PloL5L5wPTsTcHqDhrS9S3luu
o6IFvQeM73VKmw9mQ2g2uOhdM0fHkSV1Zq3f9nVyBOWueWjzkVKl7U5lY12tUYcJgyEqio0RMTMR
9p9El8ZpXpKnqNFDb8rci4r8e80lQrHRpd5I2KdvKVO/i9uacFa6UGQcJFsTPs0GEUK3Yei9sUZ4
jTxYWx0GxFiJ5cZWsh+s6hQVsKpm13J2c/xlMrXaZZp5bwSj+yYOT0WqU2wAeMSLWGgq+TVRafhx
jYXGNOKXUGuSfV6MfODwUPq+f0bJxH67NTk+RfMueoe2JDaD0QFoLxzfaXGRI6+mpTR9OgXcCRfF
yM7UsyNjBGbusxptUap0DwqpMD3ISFVXMLVWCTaUyZwC5kVIVgr3VE/luMvD+QrAY9+YIdXoaBCd
PVG0V60TB8ZYmjs5vjHTxcCKHHbXaykjMmdujm6nP2kG8m1ON9cOormWmmJXke3C8Rtdx0pIT3J0
rmpGEoMOTtVvWvmWwDXdJrZrMwjFsSDemQ09LaYwTn3lEpgDrF1E9t9iUTb9EA/BbJK/boDMbnpd
bHSjpJOxlJlvEJp0mmzjUVXiz0Z51Bcccn2nvpISFZ4TdXxSZul3dTmeYhqEzAys6wjdeS968IJc
OnS372oOkkWOLjZX21k8gVdy6yBH3I/MpsZkGxeguAgAhMNPpHiPmedCFbjXisy3bbTyji2qXRiD
3C3pdhVl5/Jb0eqA1eVRdyjcOVqXrikWLhHzIjRQBluMCh0rABb+EapA3pS6+YBKecJvKfdmXz/a
afczFT1Bjw1Ji7VYal/rs8jrTZIAW4WPsp3PmkL6EXcaDn1AC7iPqkvuUGcyDa8XsDyIPjlYrj2Z
Qec4ExgQwvy2dE166991TQqeGsbVqetQPi5KYoHeYQ3pGX9sEL2xKEZI/ZtRyWioDweEfV+E03iu
NHsmBdZLalb0PJR532vLFYYcqZh9dejUuOCagUkTJN16U6NOf+pB2ekOGG5bp3YRLFnR0if7HnNT
a+KnbvuGc0BvkyNkrAja4a1I66+YHyGRDANUdCNlouGxd53AEsVtURPXi7X+k+DuymPpIZmlI0KP
Gs0TTig8tEo0v+/oDVn9M/L5SCQGnpTu1UF/JTC2AHZ2VByiR9KIaG8XgAeGSQalg67Sv0gFPUdw
IMa6Nox8bFqvp3t7ML5tSO+sf43HlGZnh2N85A4DuIJEtaqEN5v52tmq3swhfIwyjuG63V20Zjom
FHWZzS/TrunDiaNx7oIsGOMt3XSg5ZDB45Ca7Ie21eIgdn9qBqLBpDFa1u3lj6vSwMLacISkJ2E6
kPzcShQR4T6eUeA3RBZ56FaPpW0nN2kpD3ZLHRvWoKuWfjhaGOK5+ATeM2wMdyZH21jpgd2zPYZ5
fRJ8weVm2FHuAUdow35jWwsUFAApYlrwbzW4axKXZTwNj7lCJCSRODMKT4z/qULUgdS90DbRFIco
X8okrzeKjSSULhnyMxruOVN1pWhRO3Yz2e5UJXEEIIBYSGLgG8v9sJq/hDsd50heCrdU7mE5foKe
Ehg2cL4krdE/kTMYbUrXQdzKcJvvkejTHdHIlEE4B45ua5wco96bauhVKdAbh546yyJOrpD9t8uV
u9TG7/V519lc9rKXaJzpuWUZPOQE3fGkmcznCKKao+RiK9nooWA0/VSu5jGlIg0gQYjY4UEPK+MV
zS2P0NwhfsCGtIO1Qy/IcJDI0WExLrKg8s4bGlED2XCbvgIN0Gk8zUQnri1UvDA1vQYrke8GYg1c
kUNmv6HbWPUFYA3aGhhYazjXWWPwOq2/WKe6W5MzPqNmoFV5Kf4sLZ44k7yeeFR/sryg92J5feiM
XpXlSPwQt5GtoQcqVuNw0ZDa6ZiZK0c/zvqEf1Rvf0Rjj/sRiSPRNb9p2z8KmxqM/3dXQeX6jUrg
NSYlgszgCQcJHDdiONmkkGwMuPCK9IvEpn2L536vt0Z4rRxk1bnBecRocCKsnliNCt2whQsvpQ8Y
Aw/Ps9mTobeQM2ODYyXImnbFBLu/CC86JzJHMwtkCpEVDHS1dWVkNquwYFiaOBQVs6kxWZ7maPqQ
XC6myDtjNpHRWdWZV04x6up8eGEDzGpUtUCPORNh1gKx+Gdk7aGy7Xyc1HauHAtnbHdkb7x0kmlW
PybHuNOBogHOZN9Dk2thYQyKXHtYxEVV0nVjR1UiwIE6tX5xCofhLA1lzT0ZneMEI9nhvE4FCwa4
/U6CvoVYjwhj3SCL3qXPwbCgGE+Nm/zB80zeAaI/z9Yh26lfuQPnpF3Yh9G4cUKw/4gSFs1YZzgq
BuOaTOp01J2ZHsc0USOjQI3n5gBMkqcZWzboDR1nyIl8n7XhN2nbpVDI5pgmolWqc6PsF4m9E/py
C0R2Wq3srPe2yU7vFL1kGWD6EUW4Laczr/zAs8gSW4My4mhl3pZ+ohfYe1nS4ejWXWuTFxU6Qd2m
68B4qc3VZykVwjnNkQh4xBVzgVldlDnANtk91IvhsuBZXPzmNx1s527XirP2v3RULy5/J84fOeMl
m9aYOzy8PEpxdnGzc0wW1AH/KUdxY/yOk+Uht7Vv7FFwRybnDclNCVpuIKSReWjC3FavaNFG+ZtZ
L+CkFAZVZUB3S1uf0jxWjqqcSfu1iA3Q+r+aIKDILo41eN/GQUklU8MrDP2aJigcO6JyN4VlyB1h
mqCtF+1sIQyYeRow0JQ0ohCWBbZ1rKpxB37/RcCCx93LTxkW1uekNPY1ARublq3SDD9XBi4iwY72
rqXuSHbCDTY1uNli5KCITdGlmHxNMozIrDk7OfDTOLeJA2ppemo1n+ic0j8yRcBhtCDlEDkL9f0f
EpBqklBpQRPvo+8qjY5LLZB21WDgkPDjGYuK0YILhl0Zz72HnSneLays96YW964Gk17AX/Is6YAE
bQUtTIZkRGw5j8q1FwXWJJGdgEBxZKqGYBLjY6zNXpTb9mliqK7IQt2FBg02eD5/VQ6K0i7fHUv5
IfQpEEVbsxRVfzTZNMe2K2kX5TNuG/KL4vLLbizmp6r70EZdsV9ANDiDJX0NDnswDfNzL5SMUQJZ
uVAz+mFYmKBgUy+c41JE0QPyZFpTZvUI4PVzWcWbgEbZl0achXV6hVL4JHNSyGyMVWGkUXmNYsb3
SXGZah34EQvpBv4AAvI2iW1+r+Xi0FanxvScuRwfTbtYrYkDFQ1oir2qzReQqh1PpfHdkLt2tbCf
m6H+oPWLfUpzQv7GhLSJZIT0GuvaR8FtjiSsQrEiFXtbrMMiDTylM/DL5vsYV9Y5UjvPjoy1Hcx7
H5PMd/KGXvqYPbToZSssDqiSyLsNNZowdb680Fj3IqmSqamqr7GWM6jGCZiMbE4DRfPGcAp3t+Aw
dG15lPh2kbk1+wYtUgs4Z9dBFyyFJPiTAAkFlSx+eEn5FxNxayCkQm+8GWTIbY+zMRlGI9Dk6j4W
OxhYEhVS+rsKqpz0ZBBnIe2m4hyD3KiXJQZcR+xSC1RLHFHWJTZOkHnugrYdwV4h6JjfoxS7xJTg
xVgVQ4M6Hu3lUc9Z9lrTU9HfMTRUaupmL9HoURuVFvldUd0Kyy4OodGfiEXhXXDVxTCE/gCzC5KC
1Z5JPnutuJOTsSN7l31mW2djwyyV+0Jfwo+G8d65HywaBiwUQ9MOtA9Yxfv6ZkwqAENgj4Zu3R01
fkuKkSIKOEndDrjSEfWqDnpzisk81gLhTMo2z9Oj5YwIcBXn76SoK9WImdtScifU+bcSSQmtoUlx
5PaHueVGb3PmyqZ2Yud+IUaF98GOKltAd/DTws2IDHKbcXFqyDJkuAkypHhkd1XFMtkohPuqbfaX
zmJK8u5hFj8a4SKp3t9wSMDs3tAKmQI0GbFnKCtOI1omtrv0NLTmrWoErtNEfW/x7WHgzWAFYQd3
B+tXcVhK3NxqdrkVvyshUKmyUn1LTMcxjx5QemMaty5W6cIRw3ppSo0cRKw3+cyMYlQNbulTTnjj
iQjaz6y4d+4PDMK47caDRV/bUxMqjbpf0l1ZLd8p6eSH3DFMT0Cn3QymcCj65WFQX1xpfHcO0DcW
duj4cL7V7NeE2hekxsosHUi/4GjEagAIoh3PTq36qEMZi7fWRlXWgYjlbnHEPnO5FxwfmrLRnKbz
pA0yUgfMh2ei30QTomxtSW9Mw/ZVHd3HiTmk6C96Yx5LqXzPpvZhKM7zgKIeWapG4U+/Z9PhtIRi
7NcF4Am1+OPitgY0BaAAZodTf+YCl4GWJgEECobZD1WtgDVQGGK2p3lweEMK4tHE/aWSTjZ9H61U
u8TdLFjATMgbPJe/fYfNhAm19BSHfDl0ApvItgr8ZsCNVevvmJTptszecjAACJyNq02ZUUakLCpE
Vm9UNmsmUD0K3fBXC+e/cKw+G7wUTmU940MJqUD1Q8a0lXNi7cuxnYGpc1rCw463M9R2y7Wr+V0z
i91gGPJbPMO+S1iCE2u15Cgx+SJjfMaKJ/OJordMXlwiLDDZKtPGKPJXGQPOmEb5bUVL7i0mXi6r
+zQ6Y6SR3JzxjTJLxyfZdmDX6BMqu1Q5NwMje/phFS1Hvqu9SMQ4rek8RH15cRVmFqlhp9iGcBan
YJi6kocmx7/kZ+Zf+vQ1YNfhbKrWg6zU6kLAHB+zq0O032QyN2+N/p3PqB3QY/tZXO2sfjbPcz17
cIJptETujhDIDdCbEnnF8Nzt1GI5tjlVkREp6LPNYJ7pv5h5zHbapodxxAfM4AtnVPO85AVsyYyU
XjA9KMDtT7bdH8LYmUN2zDBHEd3qXscgHWv21mqHcCOafFMgLRg5yWKqb4jA49ilekkltkNkkEAh
uwMJvijwGH8BpEnV/HUwcfhiLfojwnEjC0NDiCACpcs2Rm27AXll+jF35ZEMufqYCSXf1WB2bdH0
x37F3ZQLhlm7/4zNdg7sZDE2pcHnD+GKElgPv5Y4fBhm9Aj18IRpgkKOSRD9BEawsHiBNibIZyXR
rDLE+bPAVFJ0E6paFP1ObP9JkR/tLLnHIFiYIUF7cSgPzHY5xOz5iCgR4DuSlpKuIpqeQibLQ7iz
EdNuGlH9GuzWQYrUVsf5SAXSG55K5KCXaTDh9KZyzxHLVKmQpbzIM0pnuBNmxhTPZs21Sf4qn9Om
X45AtHS7LC/YRhEHZTv0YeNWwPlbJvB847QGQLawteZx/O0V+3MprXusYmPVh6eSfqtHX0dbNV94
TZgggxYggw/2IfF+vXN3wyYwDRcZGr0hPIbEruvOBG5JlZcM8oo3Ivb2FBTr8RS3nJexNMw8brVw
tO2U444jo3HHQtdiQVGYHOfRMw4U9CSaER3LUX2KHYeuJSf00ElCL0yqlGKzhTIBUGvfYyhPxrcY
0yKjdwIJY/K9Pqj6q61jVzC6uK+0DstznzH/Uw3U4DmGWnuOr1pupeeywXdWgvZwaGttK4NQ88qp
ToMbTzeCaeCv9SZ84BjqVbGo1U4D1UZNZ0tPhLWKPAPl0KIP5b5XdX0n1wahjh26hZfqF1mfb4aa
yW2Y+7UqQt+dlJXDl2xF2N3xUD1rbnLSmx7jZ8n0XIuqwkuJNI1QsWoGIzFnRTK7aRt0Y8ZRJ6pf
nbD5CznwbdFGnyg7RDwxNfpcFXtGCRe7oXmvrxg2+K6XqvCT1nmn/cPIoLljiyFb1YYd1TDgRIn3
YdFQQ1tDLgNYxc2wHnacG2cVPE6G6cej9mlptKqWEp4FJwfPXhacswUc3iI23rPmkQr3Ui5G9mzD
2xkrjjujNNgu7d9pcuutHjnvg4Z8vrNhk+AmgGcKzDp0fPx+u7oG8KAMzppB4hPlcyyRM3WWflum
guBv5nVCFhGwGXENaYrWyEP2fWr/ZvBXVaA3aPpxR6im8oZVzQ+FFkJsZmpatO/F4nwiwPlTzxIQ
R4OHTpEfzeD6OkZGfwK9hTC56akO8d+X1g/x6kShtFJwgoxHP0lebPzGgzVcKdthsVXxkY5nsa0F
RDwFyJO3LN1x0Zput7Afb0wRk0up0tkexxqOWQXOzmTlkRogdM5JdY61NoJzTQxBfodsJU+RdO5Z
ZbfeSCLPBgwpa83EezMXoq+q+kmL9KNWx+9aj0+qMSdkZkejPDVrcn05OidlNuZ31ep3uDm+m9ax
n1QbcBiZTBB16B5lkWvB3IEQCj4R12M/ftFAw33N+JWKIE+bszRxhgMapxeASyWwR/s1kQ3/RMTe
57CklctnOrUJvaXxhldPJ9oPxb7qQA6FScjGwSNvRBamwJSOkqrApqFYXG6yfm3yegxGPX7tUjQj
id1ld5FFL13Zfk2/amz7bZ1HezV5qV2jOJc2yJJFw8c8F07lzyyI2pp41rpW7AsVvELk9qQAD28k
pSREiBTDTkcThMVWeZshZURTL3Yg6EwCywgoNmASXGqAM5UhCF/Dlb23p4UkeanTf1FooZvRML0X
0CLMJPlTlcp+NPMfDLl0wEanu8lQgbrUfBYVoXBdXJzrTvMTWe9raD4BjKz+kl81qk/8AZ18DAk9
2+VRCGA46sH3cEnSLFwDNEYLVColBXLvZi9z47WVoz+L5tJhl4iL6idzp5DCjPtqdBlPF62mUrlg
cYIamRzs9BrauA6UBkogFE86PUm2y+MGd+MARAovEQjFP2Tymrd6TGgB/ZmqcPRh+3+JlACAkbAL
DeojYyNytzO8Odu2xdyWWh0CkM7PqLBMujW1ts6QtPmX3g0WIVEdkTHpgFToC6tqg14sp8cM5dHy
LV3Z0zxpLoPsn/KYNp/NwcGYEbDSL381q/ZvRgKfN1SVsREpDZYG79CmyTinZFN9rUPW3MnKXsN8
fjJkKQ4C6bdvESC5ISAGHniBGEbeiD14bnkcN25YUWJWZX00SFq4IS+b/VrXOIL1+ktGuK6UoTcX
iwaGzebjYg8uicPECRV+SIVOPNrnlSBcNKAityYMFsqtF7gWMKZU8ztZn2AgR2RjGSXEmHTxhgLL
Sm4f4iEsAtLan/VitrZIL94Mu262zW9m1PdYNFfYjKQ0c6BZqUtfY/2dro0/gLZdnMA2Vsu7DQhQ
hOVVBcfT6Ge9yu/1VPxIq/PLHgUsL/GBzBjrk83o00AWoVojFm2jfh5czLvJMgBlMRAI9nRP3Ei+
dpbYIYO4WB8UILq6b0PnZ9DoKlAoz+VdNuJvY1Uc1kNfdaeDa80H28r2fRxOm7I1/xoQDw0QdiBe
QCtvOrP4kwzmO7f0PFdc2Jb2krj2qoYeSVZ/QsftAbw5VzgBpqt4PO/XoV++AHV5tZpeqxL0Z1GM
v/kyCfb2h2kpHzprYUEFRLgxkDaT5AX/26ZcZjrTZTL2kWgm+0y0ykO4/pK9MwSGItg6YPiyGuG/
scPjJGuAuIUUtLCZek94PbFY9B+ybrwFkflxTYaYaVVeBt5ooBbpgQHigbDu+GI63YfqtvkxpsTo
xtn18au7Xs9siMo+qfwxll5kAgw1q6jbSzfkGN8JWiNcJZV+2altnfLUZZFJy58MRMWoLRwG2IPt
bsX+KHZ3tFKCFE1hIr1qgJnY1lMcVX+IHVn8xmieUzveqdZiXpEGd74J0YeqoOZorCPmU02LGz8c
TlVmXjiuWqQyw0Rddm7CgSgWKnJhJzu283SbgXOgsxpR6sbDoXGHh9GSHwsUyx58mIg7LBD1xAnI
4MGAJC8XRiq50CipKtBXox1yqDHRqoiRQX10NXGCzJWy7GJDY9InsGa1KqUnSKRrqZrauUpxQUaR
PRxnpSs5KnDaon+wr/GMb0n54va2sA6VK5ugxy4aMfR2U0zBRv+ixuGRw5TqqwquRFyqihe2KFKl
jfc+yvH6Afvdyhl4A2lwLEY8T+RPRCcOgxVG15IcH9XA7M0dDrFSQWMaAjtK9ZdhqpgcZC10shEO
gk4B2UyTlzh6do50PBl9BqRWZejajHjNKyfbFdTVVDGgrtVxAZOGr+zqDqz6k674lVNgvcB53lrU
+HWrRTvNckIvEerXJGBwGCUzUsb26LnDaW/kClueEpIeoUdHoIzolLW9ORcatKeJsxGZgFrVrHEC
zWs+209x0j8vqM88IeKv5K2B0LuVhiNp1k6QJ1Vq7hxbgc5wyK5Bn7ix/iG69rCwToVkSTDy7eoj
sgjrW1N+s4pQKNkmMw/5ty7cN+YFK1Bp+QTVBeHTsLD7kWk0wOgM48WPtcoDAi8ezakPjGECwNen
4MCxXyZJ1HxaKcfBIV8No3L8notfImx/rHx60djUFzBCG/gDNeeLJWPUaDUWBe6Q+hw32yCX3V1F
Cs8wh4BoZkCvhVX/EUtRHI2u+LEseaxAtW70AfV6rMBgD1V+G9WoXkJd0r5O6cImzRttGapcfA2t
Wr5mwn5WMpslJNOsTThNB7s1wINFaYzM2fxf1J3JktzIkmV/qFBiAAzTphfhHrM7mREkg05uIBwx
zzO+vg/yvaoKWgYc3b5okd6kpGSSMLdB1dRUr97rXAFVCe5FrHGh1y7KOEH2Pjda9ozry9fN753r
PCAB98sDwX6dtMgXho17Z3hUCqk6up3U9nJJ98PUf5WPKW1pJYR6I/dEshBmI4h8N1uCYuuc3MSF
xtOSZGfrohZR9QZHcLY/WgmkQObsxNc0FcB4GER3pKCuZThSF6kgYsq1RYsBMtqJcnllOVcyD6j9
Vy262IV/T9js3rHoX3sTE9VineqsR1lUUoQfmnhXQXZ7ZRo/B0r6D3FWQn43/da86ntBxvaq7oh8
+0Dox2EAaR91v7LC+Fr5xJb5knP1JCRPC9k7oH7yL9+73H8iUXTU/CS7ncqGXB2F/9InqWZ0QJLp
9NXT6A42Jgp0nn8T8EiC4Y4/7NvxzyEDU5450Y/ASWm00XMAtXTXwpyYHv7+B3FXemj6GvkXC3Ki
ws9I7XbIg9BV/ssIqd/MNURbUCmO123UfTWs4F4HDXeIPAOKfP2XZ+hwAfk5hFIdf1D2lPwggEjg
FKQqKwby6NTJWpj9KNfMiXHvf40Ilg9VllMy978RzUBJ0fuPQWF9Ex2CGJX/ISxgM6CricgkeFfC
V3qMxv1gJS9xa+A/pu5LZTs3c09+qZ9eOiej784dPuSGjJ8aNpzXz19trM/PQ1m887Mov5Fppd2g
LfYs+4I7x6hQlp7wxqYDxY9tIdo4gLDuiJf2M30o+2qYe3gfKGJ2ufNuIX599Ab+UkIKgGbzCNpb
stO9BQsczAsziqdAHuoqeQSn+xlUUfwwVk13XdqQTFFEoy49Q2kaS4c8UQ1BpajNiNZvwkkrfWrn
mWSnbf6kYYyMKdTRN+0Q31CjJsE+Houpu6K2j6OrYDePnB4nz6qBL2UZps86V9GVPyfBHdKvRmSO
0L92OGXP+pwAOr1ppPiQmvDGGcRY91VD4sPqb2IL8HlKPWmHJkJGa01tkD4J7r6leRy/rzPUB54K
8sW9D2EY0iw/fTjjdykMM4VO7NJV2Y8YrftKq44QytEbqodoUBTzXz28bbvAgcFupuYKNQ9vbdiD
wjB6j5GnX+vEvGrcwqeTWDxVZt5elaa4zmqNvoKeXAxnFIsWMHD4XfAtjmptJ43nijbMK0vSBNRr
PVTSJZIPflrf2aLqP1tLKT9x0H8QgU4UPCaPCLtcB1P1F8/T31UBxtmLpI8WES35WaYZ+Ifws9u0
xs2Qz4/ZuHTaxH57bSw6qfFtm+PT2L+XvprEvgNkB9n0+D0zeTQOTvoVDJx5B5fnp3Z8l+lT/ZRU
XXTbSYGAjJt/69pJ8LCEQdRFtDf2adgsRQmjw76sNKTWDdpTxoaE8U5bnvX6VN05/fCVkkoCfxVc
e7kH1Qh3qjDG+copKZnCHgXNeJvdxSWC0VErXrrJ/TXWrYQmzoNtYe/Q+HyVaWCyMr2jEp3Je6uO
wyMEi19kBsdk5zvDQz9o5R3KzxqdJh/lkkGO8oMGcGSHHCzlqRYPAksDpVJ0mBqg/V1NtcwnzeCQ
n069x0IPo68LT/g8WV8htoOUoLW7G2DniFCC5wnj943H27Ptrd+WodMO3oIyqtPD7OS80SzxCNOa
jCHSFiSF9h4siZXePjU0Bl7Ru0BTYQt2aymj/0dhZdXcepSX2gpYDlLPP3OKnWY3fKC8C87JRqfF
vU0LqCiYFySn4qZyzI+xlx/mYCZ73nPYx6WAmtRftAq4xX90TjzH8ElY8LmA4hhRueh5z3LMI9gH
tNt4IJeuieAL0rR7a6CoZGvR90bASgQLpeE605XnspdwqT04yI3iGeGlp6p+FbsOrx6oOFJjfDIQ
jHyAQFAkY/ovndH/ZxDg1wjg//X/k4KgOIsTfu4aRUBw+fP/wglrhA//aVs2Yr+OAyTX0RED/BdQ
WOd/gGG1hOA9BJDY/B+gsKv/p2vZAsla0xGovS5/6b+Awvp/6i7AYldIKfmLnvy/AQrri87w/6j5
agaYE2m71jLAa1Hnzq0baLBkfJCDC7XodRHVRiOhKBTU+33aMDQanIFO8HyqIFMvHPqle7jVZCNb
uICREqGjwxrsQ1MiPvDjFcz630jz17qGi1rtWz8KscXXP2o009YueLYfUrtOvliiNj6lY/HX+Y9b
Kx9fJHRfyVjbtRFij0N2SBuCjH0QjBAlh1Sj9nEj/Zvzg6zNgC19PUgBIs6gyy1DcYwWVtAILbiv
Zqh8cOb/LVH5xgot33lrhZbJvZoEqK88h2czOzQokEI/Gcy3kTc/oWs/PRlVtbFUa6MoasJw6seI
yWZkUQMDzqzCeBKB1T3oYy53ZV98PD+XtQ3BZl7PBY2PwpxtpMPjOOrI5MI+E0E6bfboRsHwVu/P
D7M2mcUCXi1ZHXmCsCpMDyn8wPoHR88FAaqBtGYGfaItKLWVNlClf7VL4MLe1uZctSzER1+P11gU
DoOw8A/0L9uypmQ1I3neAiHV3sdhFUPk4TW6WxBS89gJ0QMJ7BR5SZoqx6NmzbKFwtHu6fAqOm5A
53h+Gd48mQ7omD9/lp2appHDunOqSRW/B+eWvxi26Hbnv740RPzzYPJ5ZTMBV0R5TvH6kCUU0DNt
qrQ7Hfpg831oJ6783eX2uDCpZIAXP3eA0kzrjt6J5rtN/R8wbtdmU/rbpwcSvj36xBL5CUl6q76x
4zBE0E0zhuLJTnu0vAgAe7qvHkUyRRBUjt1QfjT1wOQ9SQ2urB+MkSf/xsTWlk05PW5GsX/qPLjD
zAGkR0nroy6y4P35ZVv7unJWoqSJp7St9BcqS+YtJLapfUpjMpGn899fvPk/3AW7sjSJvDr7gzMl
fRFQ6uPAIT8jo5IscfjeRQD1qiqSfp/QfkQu774V2ZfzQ749JdSC/hyyieQYYk7VqfCq6r1fNdZx
6od0f/7rb/oMh0aaP78OR1tC96RlvEzwk8t3tk0qB/XritxyjWjlxrasjaJcFbO2ABBRiHoB+IUu
vY5gOgezvw/idLi5bCKLt3q1M0FRuiXcZuWxt6vpBiWqX9lADqdBZvTu/Ah/SsP/+4ZnqZSrQtAK
Qmp2sl/Qg0IXbu7EqXH94Ib6YnePdEf50DqWu7Eva7u+/PdX07FCMdHHW0IPOg5teAfzO8nMuKnK
8fr8bNYGUPyLsESQDFCKH92K3o+rJGsh8Ckyngvnv/+2pfBs+XMCQBpRRXQ63CM8nrukl7AcUO+S
tkRcJSoeyKc/lhPvo7k10tvzY67NSbH+zs38XB8d/QXJJAC/n0GDfz//5bUDrNi9ZYKTy0g2n6rK
k19cjSoiehs8nKrB/Hl+iJUf76p2DplaiqhUfjKE7sa/C9O1u6eqbQCBXTaAYur0gsSOEAHdBuZE
v5GRNdwMWhbG7y77vmLkke2afTvm5cnsMrD3ju5Y2QfN9GW2YYBrK6SYuO2TZ0bfcSZJlIyPU+gC
2U3neSPOWNliVzFvENW5k5VWfvKLAYQavSXulQfhOg0EXK8bgyjdhP/tRNxlbq/sOql4tRhJ3Ryn
jBwawFW0JAwuwsQ0u1uyt0hdkp2/asaseEI76DOc9vnG2CsW6SoWP9swXrZ9XZ6GSk8++rmXHSE6
euB2+Ssfa3JVvoUeLKofyO7m5PkvOxXGnxMeEvSOq66wX4oWlO91IiM9ua5HGoLPf//NaNQxXdXm
Y89w6CVxXuhL+BwM4nfhAZWAsfvgWH6wcfLWzoZi/n6VeaKN8MZDCmYq4IkK0ssrH8pAbs1DX37w
P0ML01HsPxCiGZOwml4SFHr2VWbvfd2Ak2c5AEkEjmUyjF+AGR/MSHuBIdslx0wPyPlVXDEtR/EN
kSxyEbRNcWrI9lm7CGFLGBsqRFIuHEBxDrKuYTmQHg7ULSXs7LaIcREiMzai8TXDchTnQNarqeOB
021OvH3SDFm1zEN/zdMs+vE6yFZFMX0YIMgiKnxAIkrfmNnK2XAUv2EMVd/3hp+fJthoYHYkJw2A
xqU+MmQVKiqXbZDqN1wSgR5SjvBVoVZZ2VVwH0Mserjs64pryIouK2XQNEc7qOFv6zJBb3xeR9aG
/SzH6K2zrTiByg5KB9GM5lgklHiSFPo8HTqBLkblpggTwKAWNOJd8nzZdBSfIAxRkV7lsHl5lb+n
Y7T8EVe5e33+62uTUZyBBCkQ07QHx1k0LEVkWHCN7pSlxueIuGNqgO+MZb9xqa6cLlvxCpEbaoiU
cishDyved+T/aUvMIAEzm3Z/fj4rtm8rtg/RnUn0J4oT5Ec66CTR3YehP/++7OuK4cOZFAczYmUn
oUV0rXR0KVDk3vrtK97fVqy+gAUkGcqpOXaofO6MOvxZQRMeGO3JCyBhOT+FtT1QLHxKmnmwwh58
DVDT/VCHJaw9NST6CVqz54dY24Plv78KCybfBjga43+BI3Q3XTqC08RVXfZxxbor8HaJbI0M+rHo
p5xIpled2HjZrRgDLAt//HAe89D1Vs50aJyWXvQaFFMwZD+KAFogso8hgNjRuOuX0OL8ZNYGVGzb
AEfitOVUnMzBfYaKoQJIFXhQSnnhrhztj94MmzqV7421WxtOMXb0tUYw0UZxQg/15wTsqXDD9zaf
5/H04EM/Vo/uz/MzWyziDSdpKaaeFVaIAJ6evVuiMt9DX2xOnvGXD11ofKZU9HB+mOVzbw2jmLuO
jErG67Y4SYrNu3RKCMcQstM89wv9VuluQJTjxiizBSwqNixo5XhbihMoNC/Kfdgxjn+7y27ghW65
zs35Ca2tm+IDbBMtGoMO2qNb0KsQQeFDP6xzgzwjahxtTtrduj8/0sphsBRHEJDdrjIyGYepRgaj
SIenqgl/iiL94Y/th5yTkUr59bKxFI9QtUXdR/DVn1BBPlj+OOzgp3uRtoGubvyehlFIOLxwY7C1
JVQ8BFqZRBSoRx+z0u8A6di/GitAGAJa/LvWQ5NjouPq/LzWjoLqMLp6nCJAeqeIprsr+temh7Jv
mtvzX1/bIcU7+Amt1VbLDsFZSbP/mIMQIvWwGGzhAzYXpXxezvb50dbmojgHxDypTweENX9fDLCK
7oeKhoCLPi4Vd1DELUB8sg5QkBv+beNlPXzgubZhNItxvOEFpOIFoDMcLenbxBV0wAHZQeqwFR1y
YmOLxkYWD/rL+WmsDaSavqy1YPCG5iga9N9trP6/bulIxM/nx1i5oOUy9qvbE61dN2mqZanyaREV
g8zJ9gBxo1wcbezG2hCK6fuoxNRtr9XHrChhEAhqSOOSFP5kGoPnrTfMYm5vbcpyzl7NY6orWOlm
UR/9tDe6G1GgIIdWx6wvihNNqlefjGaOUaixI20AFhk0gYx/iCoQ7YuWwgrjQ/kD8dx1Vkyg+xAL
I6t/2RIrHsLWEmsK5ZC9G6YWlaJI/gpAhV6X/Mv5AVZsSSp+wTGr2rY0Lz81PESRFmrr6Be0asOn
859fO4aKYyhETg4aLdKTFqIenRr+jy4U9IXPvK7Hsuw2HlIr/kcqHsEXSTO0cZOfhNufRvK3O29G
Tw1WSdsvb1Kd4l/ku80uhdKsvDk/tZWVMxVHMVcRW54QYVutaKAN9/2ZlqBFyv7899ee1qbiKxIH
fUcI1gnhvfxHXk2nMLYfRYOgWEdHKKlj3trOZD1buj7eORHJkfMDr01McR2JB86rgxbnHUjrkk48
AszAdjeMbe3jis8Y7DTw0tLMT6EuvKdW+shuWCZk4/vLfrziMKyqDNrQTPITMnLWPqKnD15hsK3n
v74SxJnLrF55ilqTichbIz8FOZ2PWkkTN8jen8s9t6SJ4LTf/R0iFAuM6fyQawumeoBAN7waMs9T
YoTRzkBh5Zg6abVxiNcmpJj/wqIU0zHvHVzH+9mk4nc3BtMPf6qiPVQi6W3sJrShNHNwDHEUG9a6
NiXFKYShbo2itRNkH/z6K70/Ld1goWXenV+xZavfcOem4gwaCLug887DdxTLPy7RYtE16UELDGvD
Ka/8fkOxfDetc9CWEWes0ZujqaX6d0hYio0tWfn5hmL2huh4gmpd+I6a6qdmKkvY+eP23mws93TR
AhmKgTtoBLo+jK0nzURm6HMl+yH4DjQ/GA9+1/jyr8uGUUwdaGiez03Nw6oHT4swZN0tDZ3WHsB8
+fv8GGtboZh75viaG4ouOc2mnzwMru7f2/QnRpcZn7EM+8reszYLgKTl3CuJkN79iOJq+slGFs7a
X/b7FevO6PBMdcdls63KRUwJNlXIJz6e//iKcS8sja9/fZNbfkGFoXpYMmbADI+wwHs3kkztLcn7
v1ozrXfL/8qrSzP2hmLaVRINHnzz2SkOm/gq0uiO1d2GdLCdboXQa/ahmHcA0WHLz09OiGEkyC/G
9S9Syxb900N72alSQWUOAqtmTuR36mtamj65oqfPcpelUNE9nd+alUnoipE3bpqMrRunJ395MBld
fSRqyY5y2nw0L1b2hhfUFSMvslhUtIomJ3LWDcLjwO53dtrE310nbE6imkV+WbygK3aOEJ1XtOOY
ndKezqVBn9n5oHTtL5ctlWLiI+y8BgIx6UmMlUvXQhD3gFtTbVcXWvbr/BgrbkRX7Nyxg65O8yk7
BWPwLNt4vjWx/I3rYm0nFBuPqrZDUKVNT0lrPyfJbO4nKsL3OTdT6ZhbsMC1KSjGXlRjZwdZnJ/G
uP+ZANR2INs6vzprh1Ux6pJoEK09L4ajc+pugjko7oU/wTpCXHDhGVKMOo+QG2+cEL9R6gaNS1ZD
/3oyZcH9RVMQypUtkiJNZrDaJ9OymmsLbrIvJQ09N2NZ5Ru36soGCMWkJQQtGW1UnNNs/FTTcQRh
g4xvz//+tTKlUMw5mmPIkuuASiEO27ULWuLJh7dzXd2O8LJCZs4bQcp934FDby3OV5hd+goXioXP
Mjd1nTLpqTetFi4z34luItQicxqf3OzC9VPs3OAmL9EwTU6JM1QfktCGcjFPQgRyzi/hsg9vOEQV
OKjNdWdBt1uc9Eb70ThauAMUd1oyU8v7sJhBB0Of4G4c6BWbUXGEhq27OULo6WmQaCzNQ0cDdDEh
52nNVrnhGddOnGLyDdITLizCQFdMEqNXhtGmn50SUsH9+RVbm4Ni94WQHe10xfL0WHg5m6Km7wEM
9p0t4bvcCLHWBlEsf3KGvJmhbH4nOuiYfEP4t76gNcGRCKBeMg9DhfIVKBstTTLpCfkUUu+Wc2hb
OSGAgmT8+RHe3gky9X9GWnEU25FJNfeUkom4zXmUNxGUj5d9XDH9wNakbDtyKFGXf4FXanjvJbX3
ctnHFdMu4BcE0Z/jGLX4TrMcmiUrKDnPf/ztvaV14M9lEfROxb7JQ8OCoNBJEEiJywQ5Ci3eWJrF
ff/Tpmlh/HOAzO1c8swBtHKjfU9f8X5YEkvF6L/4bQUTVncX1PkDbnnaOK3Lsrw1oHKXI9MUe2RU
uWVz99cwI6helgJiSz+D4sSqN1zhSurHUFF8vp4kEHchy7SEDN0IoNItcnkVgWF6qYLiMCfEDtRA
gPTWBwf2kgstRbV49kuHeYTYGh32HZpQ4iUVcezueglP38YaLuf2rTVULD6jmZYuPDM7wZBq/22O
Jo209GC51VUdyr+qeIzvLjqAKrgPxVMzgoAVPVp6B2nCdob94JX29zgJYLg4P8baZrmK8Re292/7
HFx0jdr4eVyqRP6spUfNa7JvluaAWCx67SpEFP5l8Jpko6a44nZcxTNYkG7pPflVWLN1n97uDl1b
Wtci+Xx+amvfV5yDQMETA9a4kuOouJ/hr/wiLdP6dv7rK8arIv8aiOuKISCZttTHqxJe3cn92dbD
BIo7+oF42RQlP9Mqsu/Pj7c2G8VZDJ0JHkIjXsmElTpXZWKXCJYMBfxklw2gOAdaPW3pCdyd29bj
IYOVCCbqqnXK/WXfN/70dmbRU5qUZCNKeMNv0UKg59FIN5JyK1apAvrsfoRjbS4p5vgjvG8IWSO5
17TmwZQN+igZvOd0Gm4iMhfjeMMJuIoT8EqjTOC3zcmepz+NBekZTbN/22NCYvrcxx4kjcLeuohW
JqeC/KSp23mDNuK7gHIr7EBJNBnJ1yzvKlh2jGHQdf848pAV5Y6amY7M0kU7ZiuzLJoGPrJi8Oj+
HIdnF1T8Abql7xd9XAUuTEmk6YNneveZPtpPSWKYv8eeUsD5r68tmeLVElGFVWdX6Ts3srz+fkpQ
UJcOUmw2/BQwzPndkxlqzWUL5SieLJ8hvGkpgZ6g2utP7pxkJvwEXnrRE5zs0J+WE3UwoKQUU95N
s5y+ACSdtJ0dhZmHjNqMZqfTNu3GTNauAxWYmDkyaj164uka5nobvKi9nizxfnIr66qIx2/I4kBF
2ueP0Pg/60Cnzu/XindzVO/WhHFXIzJB4QNmv+tghjXnrtIgdvt4foAVi3UU75a43iQ0XQRHAWoQ
LoKPy6wMu/o+wId6RXvlvZ43lx1tR/F0aWDPNdp92cmIZXOTVQb8jf6F/QqGo0Q5EwWCvp+Ieet6
KuF4doS8FULQUX5+pZbw9g3f5ihW7/Z5NvVmm528iSwr4kt/ZQkPcmF7W3Hv2iFT8YlQjAmz9sL8
lPkjTIu0esDr/ZuUH1R3uReh/lDfN+kAPUI0foPb4XR+ZitpCEMFLUKKAF1PZ3DFVfrvGsyftD76
ehFTmQcNBqAl2S3oLN0pHrI4+VkOaXd1fuiV820rHiJC16DzIM45hQLJQ390wr+AtBe357++Eter
gEZXtwcfOtHsBHmKA2V7kNKjXiEonGsvZVh2G/H12iSWE/OqnuDnvic7fXmvZNACutVSYevSyxKx
hr2M+vrroY+ANeLYJ7uD8hU1Jee2GHR747ev2L+t2H8Ui0QS4RC2hz6C8WSflngtC4OfoyevOhsl
pdQKzY3tXj3higvQrDSf6yLNTzkjFC0ykG5YI0wgf/V9U16Dy9lrwfhpHrUvgykuC0ltxTPkKKDF
EA1lpzawDhWa8rFZaJ+dsYSwFlGcukBjIWy9doemlti4MN48emRPFG+h154jCb6SQ5E10E5RQtaH
EsaMAKFRGhwvKoy7lpoBTWfRRIGbLoSJ4ecBRS2K+ox13nzePNd8XAkWfGcqAglX0sEIoQKMhgSe
fhS7N07e2tcV009HpL11P3QfrWZGvNUis3aVImS8gcJ7013z45eNeWU2wvHDvnDg42kMbs4f4Bqn
AgXnWE+ia3gwqr69cJUU629LLxLZVMWHMOmTHl6pMCv3uUk0v2E0awulOABjdMdUL4f44DhpWu5d
p2y1vTBHY2MCK0dVTWrmuS99XS+dR6+h2SNDQmpvttopMDz/GDrDRlpzbT8Uy8+MKFnYO53HHPWo
vYSiHrbbstxHab5V111Ozj9uaLZcsfMS1fo6MvUUumAYdM2q/+i1fXlKgg61lJInQYEG9oWboti3
CMvEzK0xPcDh1Nx6RRKc8qAPNlIAb2+JVHObpWGWfdCJ9JCbgbjWRui2oBhzdkFhw60UTNmGDb69
KVLNcCLsPRd+0TuPhgwlPK9Ncus7kK87aRdtvEDfPr3SU8y8tS2qejAkwXg9xB8gpg7fd33y4RIP
JT3FyGkrbGIzc2FI1aPxRWazU9zpCES5G8kFfW2BFOM2LNTGECkID21Zai4aC75doKIQ0n/1sXac
uDWvC6PS9I/hYAbt76RvXPGlmQtn5EXVdsaHujKlS45PE7b7JUo1zzDuoKub9b8828q7fCPSWfud
io+w/MhIXa0Sj5rb/ObBG3zQWnkibTVfOID5pzv1IDyHGdDWH8dE0w+9kQ63caLrz0mqBReeFMVD
0NMOMUJcG48T/Tj3tWZVX6GnqzcmsHYOFecwD0aS60PeHkzRolRYTdrJAu2XbfiDN+Mol4TQn+tT
2X7ltpQiD5qGYAIUXH7mwic/hb5ZLqxyfv8Njq9khNzQFHK+GuK0mraaqFbchZoQRQ9BazQj7Q5D
CwNTgUjlr7L0nszGCZ4rO9zKu64No8QDZlPQb+tn3aFEQWxn9zoJbHtu76uk+qLVrb9xH63slJr/
hGUnAE2a9Y+QWsYwgjqitKorCzFTmikv8huu4jeoGlajndb+I9RH044Xff2c+Q4SFJd9XvEashho
ZEHE7zEeIwhyB21RuckG/6LEh4v/+POwTUYbdG0Sc5ZbN2hfKh2lgtvQ6AGEX1sDbe/fiqE1Bv3u
/HRWnIva6zzYHYgjHteIXDYlpJ8WHQF+pD9FaeZtOPK1o6XYvqu1o10BX3mUXgcLtGX08KSV3T6P
yicYIsINJ7A2E8UJhBYxOCTB0bGssk9aJz+CmKsX0snL6HykmgCdo2zKRBHExz6KPrupvTct5Jat
CGqioW7cm/MbsmIhauLTL9pFHQXBp3i0mwMEhQWi0AiTbxxf5804Sqr9y0GIq6f2LJ6Tefzk5hmd
GKH/szMrbefn4G/Nedifn8jb70HaeJef8CpKHwy0U0Hdxsc0Ei8yca66+l3kQKInXTrnzcx50WFF
tMEi0WaHZOX5YVdOm5o4zGLERQ0oDw9FiiJQF7fGzvdQEZrK8W6MjPnCbVLcQFVqcxXbqfEMdiT9
q8nK8LPjxWLDKtcOgeIE0iEIahMp10OSI+2+N4wkQqJshAd3Y5XWBlCufDSqKrO1IvORjrP8q9Hn
rFAdaMbGg2BtExSTD0MH0vg5DA9dmGm3CL6bcHm20S3qaMH1UBSXeRY1Leh7NRqEZh4esx7BqWks
31tRkO0dF53kvnIuKudzkJX7P/bCdkFVJEc3bNLbNgaBOxFZb/itlbVSE4OhNTo1QqbBkQsRka48
hW0S7h+Qn1+yDnbFi8xCTQPWoauRZTSLQ9p3jkenZGbCiTWhWBiAL808qIpn3s+y3njlrBwwNfkH
hWcjK6kHR9R50aAG5/uYQjl4mfX9I/nn6DE9hoZ47oJ6/CY8GPF3YeIACLpstRTrdqWR+bZesidE
RTvhJ5+NhFaOvCTPFNv6xp6s3Fhq9i90IU8nDgqOBHXhbWcKCMnDRsJtPBXX5yfyNjuaK9Uc4JhG
iTmno3zMUSIxYQTsElqjrtPB8tC2bNoRSTL4qc2k+zoGaDHdST+G0u+B4puDqEU9x5p169oJVd0r
z3NrNDrmMHMjBM3cdDKvu3monG9QQA/Te6eybPPBy9Ik/ZzGg+geHCjpUIr2rVbqBozHRh799Mu8
czea/ldsx1LcmJ7y3JoEfnLoB4i19fIoAjrCa7Pwr+mi9y47bpbizpour7vASsrnpkMfq4CR64Mz
wMd2fo9WTMVSApdKb3wvSkXxbEDTfHBj+BcyXW4VUlceL5bivHxQ0Wh6Svcx9OI8yPcTCAfrHgDR
kPzOBscKv4yLwG9xO0OO7EB6bhX9MGwcP+/taENtek8kpPGG3afHqi9eoBl+ToT/N3POg0zbE/zM
t05Hs9L/AT/Lmk0pizmYsWNrUxQcC6F9ipop2Bsm3CJeRVfG+e1aG0FZ0MRuchtsrXboQNTu0MCJ
977WxLdxPXcbV8LKsql1Ygl7xZiVU3psWv23nVNqF6WGjGQ1oP4CYntZuNamoyzXLHvDGa2dQuUB
OHgwP1Ky0Q6ybtNnOZroDfdOV1xSz3Wl2thuJNBYe+iLHSc7KG59zfkrQTh972eFu0uXGV60Odbi
KF7HnOEMPA6y5gMc6DXlPBrL+ndeHBRViIhJ4PdbTV5rZrWcjlcDuew7DKJBdlzi6C7Q3/sBDN2o
DD01o/cy9iQfUDzJN87cStRuLZv2arSqHDIIvCztUJR0UNhVi/6pxf6L2BXwZS/yI+X07fwSrhwE
tZ06iWfTQU2sfHatJnzq8E4kOXyxhVJYMR+1nzrRHL0wy6p89nk43xsQkea7EqmlK/peLj0GUnl6
QDlhFSG59EdnMlO5y3pJ3VFkYRoi4uKjDnzZUqmnzW9mC7lNliopyD4XqHSga2RFHy77vHLGDKMB
VJiW9bN0HffedmWb7EqEKbagkSunSiqnKrAkskmpPj72s+HuZ6CZO7Bi067rUG3POvkl5+LfcGlr
267c1DImiRagHvW8CMQjRlLSdWuOQXw/yt75cX691sZQrumMVrXalmZ0mHtyGEjU+W6y1CAMl6Al
bzlu58dZsxDljvGhJIs4uPVzpMGbJTRhAn2Ks2artWJtHsoNM5Fc7FIjmYnZJgsmZ6qXdOpDVo+0
58bJXRlCbYU2rHAgcvK652nyjUea8vyvCbDLhxrJzy1fvLJMajd01I2hVTt685y587QvnF57RAh9
q6ls5fCaiokLWWjthOjew+gNbpLsOcJoRWu1jXj2VUM12L93osyemz1tsKL4dX7rF4b0N+pQ/6CB
HUPUGCgKxg+5nbfjr9L1u/kWYQdj/jDqZGpRXBG2Y1xpTlB7tMX4YdxHu3YsB/ktg1vIQWiOor98
6jN96F/msI9dzEF4aFsM+TQOBUrBlW4n9wm1IHQaqyJI3d3shu70NM1mKN8jwBwZqDp2jYaQKgKP
0JBc+6DXg3d6n+vGdzRD+v56tutRy7902tSV1o9i8sMKqY+GQkdekkzU93pAlAlex+6K09whMDqg
kmbX/UNS53Z/UeL/H1ywdmIUVZPp9pOhcVveeNIZbslsGNXGQV7bj+XwvboZNYsrcGqz+tGP6tRG
RYaKsLyBt9P1kquqRWO4RiHBtLK/zh+AldDs73PxarxIS8NxjGbradZG1DFu9AEaZTSrYscBSeFN
mu9VezR447m7a8bItaJdifak894ioLOzi1ZVmotZv/oV2QAScw5S4upRhqS3O+fOdazgojWVas98
YQOHnmw3OcJ2qN1MhnPj9uH0EBO79/0Wz8Sa/SoXQmTXvgYSiinAgYo0Zx3eFhQPd4GYfo8MmTua
3Mimre2Zci9IJ2/LouQVghCVjUZf+QDCM0DRhuBpGcqY0i/zSBtCfxmZmwta9c8NKswK7YJ50B59
lzL7faH3rvHZrGiR2biD1hy4ckfkhhB0xEzWodeGfocSm+xvEn8SC6Wi2W9RNq5skto33/RTC2uj
DOFVQkurQ7XcxZpRSfOs7sbrY0vQUjG54Xgjg8HUtm6Ot0FrZFuUxwixrRUk9dQcAi9H53ifIHpu
hTdaZLrudZQlnfkQIhWAzh/wxqFL3gE8ijuEd+oqSk+WY6CHp49NHngbR2hludUGfKGnc4SgbHkI
9VgMV3EftrdZDbH8VTyWm8ymbzszaSjxJLT95EbzwXuss54E2p3j2lVHY11VSkjNO7stdnY4y5T8
Df1FNt2EaUxDCSI0xNLdPaLxNpK1ZT9ad9Awi6q+nfyyTE5jQv8+oi6i1t3reSrcdqtFb2VdVFhG
6MpxnBpTfxxSqeuPho1U4VWDKHr1Ie4Tp78573VXFkZlk2893UVe2fceZeXR5RKWn9wYiboYXWZD
bAEO3h7kH/zx1v/m7EuWI9XVbp+ICCFAiCmQjdNtualuQpSrESCEEAKEePq7skbnz7tdjvCsjmOf
TFJI+rrVhGhQiG2bruHMFbPP1EWqaXKI9G39t7bus2gXOxm1pvj3b/rP9AiuphcJDF3nuqo6nVzZ
jT1WUyQKhIj2gx9+sZPSJomcUUp+ja1/nZPU5rAmfC8/fevJL6KPpXOsmSbqZDpoSdoFYGLU3R+R
m8GyXAR0op0M4mHMrtyGkqoKY16uK+R9P7boF1HHd2TsOGPsWttKlBipY1rv3iPf/OdhwKNfxBk4
7PVgFjFz4u3wUK2E7rvt7I/2MZ0ffMFFVAnQFqw6F9LfVkBJ98b3TULhkpou23seIv95Bhi/vOdc
Fa0dlw6qRc1ZSQi2iw0s5BsJfe2w/shdiu+42Jvwvm6RExp27XUM+/LN7a0T5gAHyvfAYm9sUHqx
QRuzweEvORc2XTbHP+wUW7oD7jXtHz+0jS5VRljS4M2yafqp4MOtEZHgjXNcVre+A3B86wdcbFOp
Fsz7J0av7QYHtAbiUWUXwpPxY09/sU/bdJ5dxaEMujXLyzLBs3LEdfrOh791CC4Sk3jT2ZLYmV9R
0GYEbtAdr+LHRIG6/++nf+MLLmGxNFIh6LUjuzKxgj1U475KBZYgVAJeP/YFF8mHVj2sXjranVht
xY5AAn6G5Ghh6/idXugbb/dSGQB4tnqa4HZ18i6AIfw4wI4wMx+7Py+xsbRq4fgM/umJV0h2DUPj
Dj6w700T3lr8y5M12XjWsqW/tR9hytUmDxxGJZ9HF7bvPP9b33Bx/zO4wOrNpPXJrjDasGnl23wk
C5LPMXYf/ZKL80VnmSnTLdWVbUFh5yGUfgU0cfMRJvXvnIO3XvLFIQNTMZuHNIbEUQaVeusrUmzY
tP/eom99+EUgqNS6hiEsHk56ALI+VowV1q0//v3hb72BixPsYTgMkSMvTjMdqpwL2eXxAquFtV/f
6zz+9/OnlxhYJKA9bHkljtjAUnhr+j/D8K4jzH8/f3oJfKVR0psm0PVJc1gP/WUqzioFIqAlfz6y
Qukl7hVEHjT/+xYJ0HmsFbJnymafQ5nrPcThWz/hIkQCQB20/TSbk2/BCyGNB4lP1jaH+zD70P5M
L5n+ysZp23TtcPpbf0vIG6M7BCnQf6/QWy/4/Pf/aVA0zAx+8GlzInR4+Lv6awwLm499+MXpVQZV
xwJG8Il4t2fx5oqwhsvDvz/8raW/OLdzvQ0z8ZATnWPI7s5ySvKqhYttGCz6na94a3EuTi/6lDZ0
YdSd7Ajdb3RH74cFHq//fv63Pvzi9CpYWc/gHQ8nmoEXVUWgLsLQ5Oe/P/yNxbkEo9pKBrITWBw3
tyNiL6K7UMlNdL6APvYNF8HXZq1LhZkUrv/lq3AxHEoQGlfybvLz1k+4KLusV1sSdWt94jXKLsqe
SeyqcgI6effvX/DGC7jEnwpNhwF1PJpM4VnGKx2ScoQ5+b8//K2nP//9f84VR00EDP+K5fG4ljkX
vtisnPLFYIz+76946/nPf/+fr2CNGZUOpDpJrg+zACYQ8ICP5Q/pJdxUVByetRyvl7bzK5txpFy6
vIzn6Pixp784vugXzdtUG3Ni0Ps8+3Pwl1GxD+kwsvSScm+as4k8AJqneYX0+/nSgbrooX1/+7+1
+Benl/M529Lq/H57iTNlcMJw/1jFPrY5L9Glrp03NPczfL7TP/1qaDH4d/sCb2zOS2xpo7KxD4Kp
Pwm/fIXu6h/w8yfQpd4VO3ljdS4RpbQL4XHZdoi70pzmCWKII6nT8kM75xI4OgNTPeolbk9xRLco
FzF4ZF+itg9gNP6xb7g4vNUiezvPuJojNwRFylLxaZ1QXv/7099a/YtzK6SAV0+bQgc72bqSOb7/
e75QEDx+7Aui/3sxkEwL6rNoOAEZV8FLHDo98cBvQ6rf253n9Ob/I3mx9JJE7rJwXU0ompPPVugG
AudecNiG7zNc0x2scw8f+yEX8deyCTNb0JFPTnPIy8jpazwt+yhY3iOI/mfbHL/j4hQ3WukJV486
eWtuZrBTTnB2j/eeZGPZyi1r81CDDfvvX/PGobjEj+oW3XhcVXgtYnkyodtQZ6wf6u+y9BI2qpt5
itqA4pecS1V4x9wySMDk0MP/UC2MPf9/N5Wdo4kax/oTLNqH3d9gkNH34GdvLc1FGm1W0yU8y+Qp
TocllzO6fRvK+Y+t+8VpntOkRRVmuhMnQD2StM9uljPP9d+f/sZpvsSGVn4UoJBV/clES/N34UUM
KGo0v+du8tbaXJzmGbx2V3upT7NHnqjnCQYWXfUeV+KtT78Iw6pnEDzDCPFUkfRZ+DQqar1u78T4
t9bm4vyarQIyaRX96S8CTxv9UBHQCkT93tq89QUX59e4uMokkBAnGNUiQR9GdH8stNtDqt6T8X5j
gS4hfsSDZiiRo2D54ZDy96ZO8UP+vXne+vCLJNqDoCL93IqTb7wu/t4JiGOfP/bhFydWDMO29FXX
n3y37P6+2pC9mzy/sfKX+D0SpWCS1tScaDgCg9SsvvTR9DTJ5j2ZgjdizKU1jVoUWp90xc4USf0I
pojaUymCR74mN5N5V4DzrVdw/vv/ZNFVksBvC6ZLJ1i3jbtq3OQLvAGad/o/YfK3m/EfsfIS+sxd
vSDVQplBVq6/QxnHDE8z4ubneYthSUgXLn/B9qLt93SNLZDezdzCQ5ZtvAN2xI2k2y0cTgFsRyGW
UOexgktFM2Nt8rbp0a2lLpO0tE3dhDs0K6m6Dze9DiftzCCPXMySKwxPqI/FrsETc/VF+bGH3pBN
/QrFph6PuHcjtJ9LHa11jVEdPOAgSSTaO92QqS1BwYW5gzaK3hoaq1s6akhfm2B01w559pWTrlkL
VQftLkshwonyc/kKs49624lqC38QM9efUkqie7NWYekzGj36Wm+fSFQ1T4BfkuMcKYVvo6BWuGVm
D3PfBiQPhqb9GscdnMB5oOROAXG1d0puBG3eKn4OvQOiol/cftGJ+s2UZFcEyc4Cexn4MRYGkvV/
5Nh5V7BETnjB2WrvAK0/rxjAkrSAwW78y+qY32YbWgrAzo+mv9LJtn5nQsxfUAgxgCsztvcJsN5G
n98Bg/Pos/FOwDW5Hye6g407CmCA5z7BtUtcx54MQ2FDtbU526qp6LKeRbltK/cs6h4OyzTaQEzd
wu66rjDzgINGsJYmxbaGTTpkekWE9x5HXbPbDGuu6cjjDiIwfRqXMxnhpGIMpMPiAJbnYiAxEKZb
NuwV3fx3eDpXLMewvUECyBYcUTDwgaccIKmPLqFZb0i2QTxmhsXTvR48EIsUJZiCtBItZSoNbFtX
Hr/EDBIzpWByviZxl8bAYcwthI8yjSF377stF8saxnuo0sxfMqxCeERxHsbwpfT2B5m6Icl5UIf8
WllmX+ScBd9QV4qSj9WgIUGwjqWLXP1NAT39W8BqQ5zOYIy+7LSB1kWkIT950/U1xEkgDLk9tnBT
IXsB94njCvuWX9KY+dsMj4X7anbK5/MA5/dOQw59huL+VT1v/EXPBO6VBNIKC85A0h2DacFWnduN
83zj0ocnKyJ+az2Jo09kw0jqoZELG69EJ0J/BBS5+q2D8DyXyqYqKqnhVh9YisuiWTMoD3LTulvw
Q87+4rrid4bApx7mY0i389YPBJrUY2p8QSVGLoXfshosNGg+AvtG4c6QEMAq+41iOb0BqaSMamdI
Xk2QBbsiDRRuwcuZqlvWbbHM1SY2mtNaTtPODDP072LI0qxHCNZ26a5NKt7fBrEb2r0QDc42t3Xo
QSJi5KVrXGN3VOI6KCbp8e+mWzEyDPlM8RgGh/cRPq21+tR6oapvYTv3UWFGUsUFmoTaHhWzrAfi
HDsocXp+UkHbyjxbznDgBqlhnBPZ8v7VBTi2BUfVOspiany8HcN0qMD+Glw4I/WdRlvaKonEI0kY
sQUgJKIGJiRMZAn0VaQKBckyvLYKGO2cLolLd2m2pv0u06kbD4xOWAuejFCarKqUiAPf6rA7ODDV
oQcp4+6A8b+lOQOr4bgZGEXvA5OkYwli7kAOeNjJ2HwTQsVLUcWsondw8GrSgkyj8HkawebkxXcD
XAoAsm2TLYeQQBLv5mgL+wLOTGE2l4Q0U38HUaAGZS40CU6gzc7DUxOhMQanVLdOx464IbxZQXhL
6jxYktY1eTr5ZPzGZ0HXclY0oD+FEe2K+aqf5xFeT6LPvrJM96hBSABa9FeJS2+5EX6zM8gyLeNX
cIRre79L0iVhS77RcA2+o9mKWIxjzpy70WE4URgTbCAUNZnUZN25Je4gjQK9F9RQwVaN5IfE/ACK
5iBhmhP6+62muQta19ncL66fETVmwZ5INEFoTXky1sdm8x08r+Qot6s43LzaUfCR56JOsyHcL5Cy
5oWy3rIyGRPHvoF5be+k27Ltk1yMGa9RcMGxQg7pNgPtHZh1l+CCdYWlTWfKOjZieWB1Cqy5beAh
eRUuabzdkqViBXRwKDhw4bAd6hTb4Icftnm5cpk3MJicxopcOVK30Y5MmZmuVb9Gtpy6KUqHvF/o
SB5CKPL6z+3YqfmQxZlsVogdVYN9SAU3EW7EMVoQW4OhItdQZB6zP3USqOihqkTG/kA8Igh/NEtd
qz0krRAW0y1rlkO7auauglqFPVjGRm7jby+yVLyg2yTdvhkTAfAxbRsHT0fRzs82pvUzRluevEwQ
W2rDPJtbanvU0GzrGsjnQY4rbxLJ5DVqCZMWiRcALxZKhspBFMyp/thYGqxQ5e2o7obcraaWu0mx
rP4hMoUAkroKKt/MwEz6Ra6gve/8suHQV14Ew4EsyUjyBtfiUHo9dc9LVPHklhmIgx/bce7rEua8
a3QQuFj8rYMHKdRww2RBcgCRgyupQzMM6GvyuT1WOMU9YgRuvqI1sIwtKfcAWWOXGHoFQ63Y7PwM
OdVbNhPV7jUgg/4R5LR2uLJ8DX9QZiGQmUdT140v0Btw9praSW5lsCx4kgTMuFHlejXZTSe5cDs2
cmRMBWmWqsdZ62AiS3KA1M9XWDTYmMNIzE1yxQ1ignXfzUu2XSfct6/1RKrkoICasLtwhaBfHq8w
Qt2xBjiub2wK0+x2G5cue42zIQtdqdp0YddzC73u/RjZqjsuca8IhOKTxP8wLNyy3TxtNo0Lz/vB
jzvJIFd66lyUuT8aOhc3S9rP4W2FTS2u2Kzqb1jCtYkOTRVN0bo3sXNdlKOOSVZ+kNCNTj81KenM
F5r2nfwEfxThP1dtgDqkjLkI5nvuur4vyVnqcytARDfZvZSuBSkNmZ18BOE5yna058kMiQjZtys4
FWEFXyVgoYftk0CeNOJ5h23sfseUms7DJWjwzbcYrR3z4OsuHvM5YJP7zj1DdsGSTIUCzxiny8E3
LJJP8NJk5o6xXsTXdqWMhjnO1WBeSdVPPxOx8fhBCVXTPQlZELmdDifV70zdJW2U6ygg/lixYc5K
u50vUtPMMb1alzHwuYnEmh27GFOGvVknnd3NDeWsyuXaE3/FJBHmSsU6RUXZrc5/rcJ0dFdIcAYC
PYxtXdLXqdsmBIl60GLK0fKEikxBWjXzva6r5DrmfRwc47Zbeek7DUlWtW0uLClYSYgDrNEyr+o+
JUVDR7PvEGGgWLIsUuw4ifv4iShd2zsTQZUhK8Wo9WvbhVl9Fam4e7TVUusbhXk4u+Iqcsn17Faw
NT1QERxunq7BVB59wGr81W1jYApFbTDeh0EUVd8HS7A7LatHtwu55FNBs6F7XpMluRVBDT/uXA/I
fa6n2iPorkFLs7vAiuTaRUOsjjMgKHRPM3Sm67Jyqs1U7jEgw0UDmoqUc756GfMpz9ZojfYNgfTg
kmvHe1+XAgSJ+FtsXB++bEsdANXSyqB9iIUe+muDRUs+w0ECAoV5tPVVDSM4ijzJAc+9HXATe5Kn
WvY4eq3N8HQ0DQQ7igb26z9cYCw/pbRpTqs3GN7lHXCgaRHPDaRt8pmupuKF6SvWXGVNRWJYN49r
8oJKM6r20NGhZJfOif6u+DiIH7yekdtxjzSg9Nz3/Zjzpl+f57pvzIMCUnn5rZpo5H/cwFTzKYSL
isoDv/L2JrM1TA91Mol115CgrvfIba36xpo4qXcK55z8pjEAOCViIDy6aBdZ9JptFdV3osUbyvna
j+OVh7KZzWkP1aMnCp3t8ZXXZ7/CqJq7+CqOBz/teaf9WsTaT+YWhA7mfkuDxS7T0cxm1/XrshyM
dqp5Aeg/EnsTEWpLYlZrv/ABwecYhDUSIZYsI4qPatricW9A7eX2AH3s9fs4Iga/iqWLBMuXmrNm
jzR/Es9uzuLhMUrVtF1Dj8uK/dpNyEjwk6r4KUHCT3B5rQHSEuKruTq4MG2eqg1p431DYftzFXdR
o7/OYuKG5zXTUbPrfcN/Cxc6pGYGNmOFXzo/zjnkq1AkJnGdzM+NQbApRDsN/CbDusPNre1RUKC3
5+pD5OvB3kRyM/2uXiJShEGC+JibzI/bLsaVveW0Wlx0cFkmVCEnOMOVJBndXIyrrRvE3G1RJWzL
kWrNSFbC0ibUiOtEtxuaZLV05CoBbO2XCjneTxZPgdwFbvRh7nyPFG9ERr/twAobvqhtoe1hRmF8
TQaHJNEF6YYzh0uIXMmMJOFNBf3vFw/HYuRXc99NBe/UoK4ZivC96ONFFSiK7Ktoxzg+ytBmUK9H
BIw/LyGflrt1Yt2XjKTQnqhhxvaYLnzUqEH0fNPWK62uw3Bk236CWqE8KCFwQziVZkVcn0E1EMUR
4z5ehnPrbMk0pk341MJ4sg6Fx4wI6JiRoNrwZsxICZOz9JFzJuSu6gBkf0DSgBNN4hqBOV4hR7Qj
HczjS42aJYgLcNH59gnCw43EBT4mZSYqILmztc7650Xr5LOOJhQqUMlHIAA9fAn2IqXLHd8i5ks8
Y/MkU2N/+DDWD/NCBnaPrp/s7nRg6i+In7P96vgMkftUnv/b3sT6gPxYjJ9UwFJU/duQGqT5jTH7
uq8kEkTAP3Ej99WZ3Irx7Ha7Sdu6IwkF+DCLZ1tQGosDbGIQ5AsLIZyiwjbUpVy3HvRO8Dnmr9MA
h417XTG0NGaUVvyuTx0BD0z6MQerBzl5VHvIukF9hX2hI9Acrzh0mS0cXKpu5BC1kJmH9N9ulsi2
djhlOJ1bD5zQ32jOd2Owut+VOkcJuCIksAtHfAZ7B5STptQuw2POsVWuBARx/lU1G/Yi+sQCUCYB
iHeuBBlGPIvutNqJJdmqHYe7yeusI7CVMJDQkHcSoWDs0aJ6A70IGgHRfs0ytFeWc3sngq+Vy2lg
uyvoW2EZCLhW/hoWx+ZqJgsMnapeIrWtomixe+KyyexgzFN/kz0snhBmpSkHApOpHMUJCq+ux/X7
fWngfLBL08XhoCcg6PxlAGoUI02B7ks87khGJr63wYTtZIcVkSruKpuA2hCeZ3I2rJ+3xAcz2hcy
6JBqkC2sYTUO/H/RwNGa7z2OI07janEmTZ9Vv022rs6C9GSx5eoRPwueGUgGXKBQ1Y3Yq/h3OiCN
7ocxuqmQBF1nDfCpuQS355jNwmAXhYG6T8Z6S+FxNLX3DJ4kFWzN6WTKWCU4TsiLQ7BXopG9apCS
ZrTq1dblY5fi2szUFi5HF00uPBgElp3ttxA1yqJMgDy3w6aM19niQaI6gVBCho6dUItTxRQSO+bg
mDJ1qAYobbs6wj6h47CqZ70KlAuCx5CPEIxU6CAZvqa3zqNN82xgMn8jQje2p6buwOKdYeu3ld61
CFfNhPaSApeU5j0H9oemnp2krdpSOY3+08KV3nPUXFdB1c1wPYf1NG5AOoBdd97Lnz1SyZIqgsIi
YLE9zUvLDhlQSt/Op+QatBF6l0EOrcuBdomyouNu7Eod0C0oYiCwXwnwfOuOq7rprzXZYEyV9d7e
xWRcXOmR/8p7WQnsCaSF1F7F9QCapWA4aTOIQuceJlZjtWq7RVJPq7KXrv4iKJyGZWu6B2SH50gC
64YXya05zswtDxtDC9YE8QJlIFoH5Fqi7h12DMXSia1NOl73CLMIW1W0dBR9sB5Jsx4RmW9SEkVw
jgzmZwNCACjRvul+dakff+OopFAI9QtIzNbDMQJvAUmdWFdSoyT14vM8TO2rqRZwOYRxes+mwP0w
Pe7MfKq5ureB2ZZiCGJRAFWO/ahnSsci5Wp7oJmDQ3FTY/qp6lg9MYtOrKphJ0PQ+zgtWY030iP3
PAp06dA3kaHf9aTiaRnH0fq9swHcQIzu0q1oROUYMnc0wUs2t+SeLWkd5H1D7CPDzObGsWodEB3h
vxHDd74pN3nelWxK0IGtDOlPEUowtFG4+1GvwwiqRIWO8BJOusSGYb8niD4vpYi53bXxCmh0v0RD
UdUWdwWwbGivsKxrj1Dqqr9xG+Gz15oN3yjwx7bI4GK6gc4u0fPafOYkogBMnyBNgC6WBEb5p2v4
ckcw595DpMIWYT/TArcnRBBWBVkBHibJNc6ne+kGIZtchvB5zRO0Qj+DLWUfo5rZU5MtSOD7jkwl
iIPyO59W9dv7Zvszrq79QdCyQ6KGi6qQFcWRqgDOuvn7n29+Xb+DV7i+Ktegs+9jdxg2J66w8Olx
Sc3scja2wetsKv2oKcTDncOtVHp4DVm01JCqlbpRvN/Nq1R3lkcg2+rU9idwu9FFtX3mfg9DHXyP
G+ThAiV1D/SfcHfxSuIXBx+vGkn+DPksV8/jV3iTG1I4NG8cGHQmfUzMspxQmLAvaBXI0xyk5DN+
RHJo2nT9SQdYexIJcbGckG599uhT0qO0WfUD1HJcVk03ds8y7vWnuCLj18pp3BrIcc5hMKJSlzBy
j0CrFGua3YB+2G5rgW4ZDuNWD9DB0CFKxtzghp7yaqSdzleSosm+LRv6ldbP2y/cT9VhjFIaF5hQ
zNcNVK32A/ZLfU8UnziknKRGEkM6vmDyhh53n+nusaMDG6/NzGAdSZgo9JD4oWRV17Y5xaTlK1ot
2PxhWqGMl4G1D4QFRr7MPYwWcE0vD1Eaq3N4pkgpZ4RBXQSZiW6aDNIoWUrmX2i7T5+HoYlqdCeT
9NBtjqAJpkMs5oKuX1EtSKwG52t1aDMoMx94L9srAVBQVSqm0OTnQw2VzrFpWEk4qe7RTWZXWqc1
liM98ygquaEKdWPUHvyU8WDfKQAFcopujN9H6DI9peC4BfmyIsiU0wileLNliGf4M3kMepLxAmQY
LLiLZXbXAkplS9Fl6xP2tNwjGkxXntYqX3peoc/Wg/WL61qjeuJJ4JciJmJAIVO131NMCeD9GHDx
wuTaXfUyqFQx9tIMBV5KdUBNpm4RgYcJ6Lgwe4CVY5ddqwXaEzWuXmQAwdoeKHXucSF6OTYjrijE
6XgfNtCzyQ3jPSzONtx6HaunZ6KxXvkaDcEjAX72iOYiGry4UaM/6K1P38gyIx1cORh9B7uI7TCE
rhmAD3O4CsfBwL5QwjgPLhOT5A69AeVu0YE1+xD2AEmu1nO/OKWzOa5LgKxfdHHz1OukcQXgHu29
Re+zmDgqXlg5jMU5Q7hiLYPrH0zikx84XH9AbsQpoAPnatdBdzU8cB/UuxEZcXDo5wxLqoKUv1QV
9DFy0Vs0irM66yr8fwZxTwQk4DAUkOQ4tPDtbLoMfT94yqG9B5jyc6sxpdDQkz/UYShfSAyH2lIT
0z3iN29/JPTsRd6HAt3qcMZBwtQsugelEQlAjECDvcCo/6MTZx+B+uivEoV4UNWU/4GRZPeLwZ/y
8ZyRHPEWgLtKg+zIujp4DNJBDjciVkhYRZBBUCKlTEOa3a5+t/HNPqLPjDy6B0qiSFZwfmMDlSbw
Bclg8oEyQFXHQGDRSMKTJ08xGhkNpm6z12rfuZ796LuEfsJeRvuhCxqMt/Doj5lRaJ42UQYiTgvp
d9QuC8iT09olriRuqcqhWxGKo8TgFWuRic+sZpgpcYxg7nkTNdeQQox/wbww+E7VJO45teifpITr
8GUlbbQcEztlDao69ICrmeoHzKLr3zhC7S6IoC4xLgwGw0KjK/RJgcSJg0gojJcSqyb6EAd6vlZo
zE5lEJ43ijVwbTyopEe2pV2d/TI6bXF7QoCvxeAowRXjjSX32Vij263D0e77MbGntOulRWvETukV
al10NEgQDl90Eyz1DuilFHngYp6mZU2PUHZAQQF2KrmBuGvIj4OCooeH8e4zGUjLYAql5uxMfZPy
+7jE/CrjDQoqaQgRV1HL4ud5hgvG2o5sx2gWNo/hiOK2kGowTz207/LMdGZd87YFF6esGCOnPgA3
yc8qeJVAqrxC+mPaSqi0148b2sjDQYJRvoszTPieNhTs95h+VAdEX1wJPFiNvV4CkU4nRGZ3X1vX
7yr086HkuPCgKoXzVZbHwMOwvKP92BXNFIdtoR3jw46w0P+CCtz4aR4w7uKW6e/a6nrZKWRWO4IK
9xHYcH7HkO7cxhq+Vajd56TsUeNo1GMUpX2zZOp+W5o6KlsTbNfpJhHFhrHCpMwkE0KDQK8zCyez
FiON6Cc6NOOO1vP8ZOFHC9N3dS7McfI16GAJCjUa1PL7sp7DXtdYtAvR9GI/pI6buw3TcThA4m2L
koVE/xQt8tVgbZCMZnUiP2P6gupCLC1y3zUVZ5u3unY7IHbkntU6eO1gYD7tMhJBDXgQCVAM2i3R
zQYBNJ4nIlrZPhQ1O+io236NBPv9GEDso81NqKrdgHccQkGCTfWeI7jfmUSMckc9/HYKxBS0IuC0
0h65bNuvNGD6ZxChmCk4+Kv7aowMKaFPmM7X87oN3+SM/42cqbn7OyVFolU/axAfEUSBlQ2Q+S93
acOGL1SgX1Fn3B574RqPapV1R2w1FHvnPj1ISrKnr1C1wPh2TZfU7ru1geJ+DfdlOEejrIGnSMy/
BryK4uOyRFoeVZKgAgjiBCmaSaupy4e+ps1jUMWQgKgxb2rRdIzwPowPa1xrijzGSuGQA6raPS4b
Hi4K0HnMp4Rh/LDAQfOXxhZz93SryCNpQ/WFoFZ9StLUfh6Cgc95DXvuALjTNtjy5hx/MPrudhb3
SVcSu8JLeyT2xZHeHMZkwHRBiBr/DJBtd8Pqv8ULDetbLTDyyi3c6K4UwBzfKV7yY9SBXg0Rrkhf
LyuifdlAMxtM+AnDfXTQ8RpNstwNSIANQH5/BwFy1Vv0XcCTry85pp9/kDwZ8QN69WI/MUKDAySX
9PUaNP6n2wycrLQMl6rNLRR/jhN0LDfka1nQv8Ju93sVzn12EAseeNAqeESpv6EkhTLtjhjXyXMk
qnaoxYYvYlMNAmw2YzBt0kU9+Saxx9C29Te0p80TrhPxfWAhJqKYs9W/6/BcF9i07aKiwbjwXk89
XC1QaMffMLL3J4zadZCnYbTwA/qWyf8j7Uu25NSZbp+ItQBJIKZkU1mVZbvscjX2hOWmLHokEO3T
/xufO6ijkyTf4k4ZCJAiQlLEjr3HvZUDppOH0eBlT1zY6lSAEkkevd7q+1OTOlAcjnFrCZuOwhiq
0cXWl1uW2ouhUfLUSJt3+6F1bYmkdpCkYdB4AK8Ewh4+dSl4+D8ULvXSr1bMnP4GhVAwk8VC8ccY
tKjBrmid/CVLcxgkDsWRd+y1pe2zm8iM7VEmckE9G9P01p+6qH3FEI4+kdEXE+oyNqAaNoty/uzr
cvhd+lm5s6SXikNU9agyBbEdBR+RiXHLXQC295dymuz8W4XUUXUKZDole2ucUDuGS1f9De5NyMcg
Q56IjwHNEU9w60TpP4hHitZ7OcEaHwC0aL8xCK8AJogkLdhXtkGyDLSda5feKNtW/NPxVCEZc5os
qFZvG92A2/GsrjyHRNVdhkT5UU1zFIp9hNqV8ZcwXwbazo1yCap/iXbIGfWbECjDK1c/OiNdI2tb
AGOZlGYt+CQ6hWTOXUUAsjuPAD3YSGMATrRJStrzTVazCjspxwWsuhstdITNvwABgXEF77j0+Qbi
LqFqsAqKCaJp8gkbWwPeh1Wk5owJvIAjowZGFqe/JMB9BzgyZttHcDaXGnvYLCgYQwcWTXNDjNOc
jztISRLqbUMo0tkW3sHj7GTAkX/gBXCz6NHrK0/ufKirXzfYBYOi8zy+GzwCZd3kpJW4w8YAPbc6
+oaY86ChVrqyIEsvMLCzHq54rouOuTu0i3qfC2BhDqCWIX9A/rPGbLr0CsOlUR/oCEqJaOMlErl6
ihKSC+GT/6FRe8mqDLfOhmAut/lwCoqL7pNndSn97FhTtYJRXABaUtOtVRFLXvvO2SZIdJxsVF0L
B2CvEXekchT++AuplglgxE2LbjKaIU+OC6wPqD3OTp/GuV+sndIv/0Nj3cKKmHRmNpj+GfUs6xaM
KzHu3+ALci31M8iKNcG0pTcYfq583LA9lgPJj0JHFTZWUu4gFRPcD2mVf70+TQurbvJXQb4AFRxQ
it25weDdcZCGIUHgtX674hoLq24yU4kM9T5PU2S0mBVSLO/O7gWAMgoJcewiN9f/YmmmDA8HG5BQ
4wDwunIk0CzEA7zyYeyRi/P3U4ObyRqOfeFFJqWHoDoILK3Ge2onyCanIGgZW5AB+CmORtf/ZWHG
TFIPuwFzgSrd5k5BLG/H/QJZzgKAKtp+9Iut7b6mZpmXWrkVpT7eUqW/OcrHe4fiWnL9FxZmiRjx
ULSFsquhqO6gWIZZkuU3MMMgWK22PS5ZrRENK03YEDsCR5BowiY1dxwVBXnb9vVGIEQ1PnYgu4lo
jl4F3P2j0B6GH2m92lF5WQnB84kRChXNiKJR2WGPFd8FSz5Bg1EU9h+ALR6Bhv0mVHwq+/HH5G7S
DALfYPDvLRC6z2Avt9CckgRVt5/7pAugN08dYvJKvF1YEpOiK2sdwGh10aFTMcJBzfUzJPdjYbun
66uyNL4RDO0o91CmdejZtdtDazU/K7dcOXwsmKtJQIM6VOSoOiXnseHuA58AzDrbKIUhla4Z8m7X
f2DBr9357e9OIdyNy3hIiXvOYsc+AhoGBvGdcCEf81krWYG917cruda9uPRP8zS+e5sakHxwheWe
R4LGiUxU8ecIh2go93QrxBxLC2I4ORhVEag06CGRQCM7ECtWYZyvKSPPdnnhFOoaDu7h8m9Jlug7
6P6ClGPYNy7/LSzypQ/EiSZWiETYXe7indcXZ+lnDJ8HqmdsRlrpuz7Ic1SLqdxZ+Ro9xNLgprsL
8AgGzajvGo4mbYUU5D7PVgkKlqKJY/h2G7dp7/lJe4fSHKoJiOcoiD/Ok9VCphC54+IZ+FGQx5U3
4K3fdsV05uvDO/uidQvOztxFCpDnGpwFoJUBGGNNq2526gvLb3KhIfMGVuBowC9N/ceoBRGUKHG+
Ur76gLu7FTqrXbIL1x1n9tZ3/1EMss0Fw3/MHF0tOsVB8dAeZi1kG5K8A26H/mh922Rkf4Xn3r3L
Q83ftqSj72gyPil04Oz1iJbWbYMbDo8SeuKTpGzv+ADOGretf+ZkVbp3IZo4hq8L2wPXcKrau8y3
nlGLBJq9ccRuiLZ2rf6HxQlgtArwzuauoN5Xz0nrHWrWG0kATHHTDLg5D2ojzV0fJ2jy4MEzWd/N
F+bGZG+q+ijtiMUR1/OW36DtOgK2oEpCCMCJ201ra3I4KaW7VqmxuRN55u+rCKXu+YiwbXBjX0oa
q0QRKNd3Avy1ITLv36z1JvqlyTGskgcq8WhgAQ6CDIIieXRATfKrj379lZP/Qmw1BU37mP+/2W95
8ruCF+xisnoBWxrc2IXEjMeJyhjBIYD6J2iQvjVZsMZCuzQ1xpaTIZ3Z5hNqYRFBxI57lPMEnBYg
7RWrWXqBue34ZSkjaKycxZR/bWw53kayeHYcv9l0AsCd6t+x0wYit+l53tzZEyJC6wHTKOcl3mKX
nknbBO4hSGpFGXbNVnz3cA/eobywjRXHMxmbwArup5aXJ28lCpegArQ/NVWkNn65sacATu9Nc4r4
XFUwfrBKJkyHgPrRr9dn5vLCeiZVk81lN1FvJOcirupdMRMBjiOomoYx/r3tDbNDvNupKIoxfl0q
crYh25TuIAQPLvWMgaUAAKURXWbXX3PZv7zA2FbGfBQgsOrdc5sB6gSw0bf/obF3aXDDeTkgNXaJ
8q1ANdjOb4FsQqMKqp1oZbj+9X9v5P89pYBI/t+zVHscytKdiwJ1FsdfBgnKduikvgCrfDs1cY6E
cnLKC7C1o59Nof6EFIHq+k1h2zNFSFk2cD9zgf4FXLrR/XniaZqg/Qxp7bfr/3f5EOaZ5E68s2qr
iSFGBj0oP7/NmfW7JvKZJZO3Q2/da0HcFXGwy1cjjxuHyS7v0rYCAhHoiRYc3LEu81CjrHNrF+ze
BqBiy5wxmxt3SAd5A6d2YrBE1+xWNg/KT4/X5+qisWFkw+V7FPg6J440mn3S06Sdo14jh7zo7Bh5
fv7OFSNQlkJwLkVLcBGFMUhYXR6hY2TTtR3DG54OxYAkBdoepfCSnVXgPDKg/a/PycVVxdCGdwMT
54EkQTXAZ57zqAxpfAaQJqyKFaqQpZkxHLxHzw9whvNquoAV6zdO3rpi2nIhxMcbvh11woVyGKY9
0f6ugdiG8H9vmxZjWy6ZBTCbEu0BE+GTt7T43DGG4Vd8aWFWTEancoJ+a4Yc5SFTD8wvw1Q9YJZW
ZmVpcMNRZ1kyItE3OA8+ZAgDLnQv1up+Cz5ksjlFE3DEaEHWB40OrMD39gE6kDbNucnlFEdoh8Op
tj00/AUtPiN9iMaHpPi8bXTDRXuKrwaUVh8m580pX9GxgXkhm0pjzPYND5WQQwDdJuylhPi878n9
qiVeDPAY2XBQB/3JwqH/zMpg3c3B5Z9vj72X6zOztKSGi1aZVhY6zvShTNluatGuW1orS7o0tOGg
DSHoXshhir1666EcNgRrqbOlkQ0HtbtsRP4Hy0mnzwWNwlpuYrtjtknNNECAJgl6jNzBwm3rrbGH
UOht4dCkZspZSUaoVvz1TTu3Qum8DvTh+jou+L3JyoRG4tRLCjIeUlH3TxHa6FWYAwz/ueoCNEpc
f8nCvJsini0qOF7mWOPBF+NriZbrypcrW9HS0IaHTqTz0FIZYEmBiHJK9pjIfmXal4aen7/bnyFp
BB4GD+7pYugkjwH+WYtaS0Mb/lkKXclaQVIqbapX3cefp1Ve96UFNRwzKUuBrh14j55eiH7DJgFV
lI3raHhmTAQDyj0YD3kx3aLR8Akdk1uutHAgwzUzzilyE0SCJgAZ7pDnLhgLICBnFRBCGy1vf90S
F04uJhnTiA50ZywRtnR3xk5XI61aVm9t9+f68AvryoxdVMzlhmRAGBhc9Tcqrh9blr58DvXvrHFI
0tGaeqwrNrp8eOHkpWvR8b62Fy0NPz9/NzyqefZISwyP7QJ02eEIStzJegv8NSTF0tQYjlpCyqXE
nVn/PXbFAdCSrFxZ1KWh5+fvvh03I/QoR5h1bBilQBuRU69El3nd/nMPZLZJveQFnuePiusDT07N
XVW92akOrRT9utERs3PdaOYVvPQSw2NjjfYRr8XMjHYFUPhDrR/88oGlL45zvP6GpQky/Ba9vZEz
JODgkGCUJTsHhAEnFKJJvRIXlozHcF5B0Duhed8A55ufvVwdiPxTclQ81UooXlgHE9blJioDGB7W
qYpzX52nEjyOmKvq7f9jKzSRXRpSPCP6uXAcY/oWiuOfOpDQtJFc2Wnn3NmFZTaVKgFkbTugVUG7
k/+Z0CAQwoXL6KEu6E4q66PL5GH1dLawCZhQLwQ4Px9GbF1picZHBDmcLH3yct2aFlbbRHQp4vZW
RDB4S0pQbrxR+hthiOoVd1gwVhPTNSgdlAWokkA3Iu099UBpE7F4E0CQgZLp37GiDPyxaCQsqbY9
8G2w/SjWxHKW5sX0Y1qAGEpjXoL2haczg88UghMuXH/D0tQYfuxk2oY65PzxY/A3Qm8f2nBhsHFl
PHExNPSjwsoDHVipD9ftZSG+mXgtxyqZSFHFPOBO3HV/5t0FwQ13tCSQ+22vMPbdFj1w/6RScPMG
i06Iq7eVv+GuZm+CfTLbFKEEiwYISiSyBrYkw5PXZNPPelJsLeO4EOBMsFYyk62DM+9v6iCGz8Yj
P+Eui3kKEv8UxH+uz9NCXDAxWzMlU9ei1fegnG8uGrtyLsOMrmkZLJinqSaoi0i52DLbX7JEYyH6
w4eXqiT5FiVErIDhuW0sCDpzy+Yg25gPB+WDeurIHQUSkOuTs/T5hv/mdhtAzhovqF0N2PgIei//
dH3ohdBgigRm+EhRAlh/mKrkpSX2pzjqbrwkPtXxmuz20tcbDgwqzVrbLr6+HfwdidRNAT+7/vUL
VmNCjAYB4YKhU2g2rsguGLI9k/U+6+nu+vALX27ii2TJ+imPq/FAAqBBeLlrE7Iy9NKXzyHp3ckQ
nAF5AA6e5lAxiJ2CqmoQw2e0k2ycmHm53w1PUtBHWRla6/o+Vq9Kp3X3iLZJL0BjQhXr/bb5MVZW
t1ESaLQv/j0f0gqdFsiKXh96YX5MgAmQzbOwMZkOIC5Tx3qgfOfZpThUabVWCVqIbCachFdWIugA
QickFE5Qpr0HaeFHJL360JnYW+GA2MUp6Nu2/zHWu1NuMtTgjsd5nZ5qIOfBkA5enk2KIQy8Av9e
b6iIQgNSE/R7RVGokofCVjsQOa4sxoIfmCASDTookOUMzUHYzh3EPf54eqpXHGFp7Pn5O0vtOtFN
pMcJHW3298lQpdCZLtYu1UtWZETmqW5B5thi8FSzvXDtsPTyp7yWX68v6sK3m/C61s7Q8NuM1UEo
nKa4j5YaYa0p+S1EZlPfTRUprQuWj4fMYQKkcSrYacruCi3lk+sl++u/sHAEco0ZGnFcDroahIu+
dkIKpMo43tT5tHOjLESX9PWXLM2T++81HmpN0d9YIBopdh7tad9KvmKal5FozHaNk6elymFqhwSM
kR3oTdBTuAeNwQ0f+qMenFsQDexQEG8+9ezZZeRw/X8WJs1EZHugMqzsFv6QZEjVVp9xHopJuUez
zWr2c2HKTEQ2yCirIXC6BqdeC2ysNULsJuErxAojaoPNsRpJDqdAx1bIkvbByshKrmzhq01EFfRw
R9JpcAnX9fAI5sIPQbRiQgveYMKp3M53cAPGlCMNIWKwneq3aOgOjXq5vqRLX27EZ3SSuU1aY1L8
kr34TRNKQBxXbHTp243gLPI0q20LYyM7BmuBMA9EutG5AYH06x+/9II5/L2LoZ4VAPk+f7w1Psju
7HkPKriTEILfNvw8Z++GRzM2k7rB8BG+GqwTO59CKuFuQKvA9Rcs+JMJqKrFFBdsztIk7IhGeBC2
ROC5v4PaFch3N2F70Efm/vsv6iLzHTRjN4dBpx8zZYXYjx+uf/+S8RgxCEwSTZXUGHqsojDFF4PP
7eb60As7mKk6HDutx8Cx2xwyMC8rSJJXL3GxYvMXzYYGJpYKYbGLg77BvSW4wy11j9weQhiYjFaW
9eK3Y3zj7stSYLXHsobdEP0FzDy3tM8+xXm/5dqF4Q2X9XokkxDLmkOPWjanAXg9Xq9P+tLEGA4L
cjDW9SDiOLR9ckCvtYWTA5vYoV8VXr5o8fh2w2MndISXloNvt2JrTmy7zhEVwLAG3mK1Kr/0F4bb
znwxoNjAFSOxP7P2Zg47uLUP7HHbJBknh16B+H+Yh0fQyUGW2Ttgj6F7AdTF9RcsmY/hsKSvG8ux
C5in04AG7BGKZjdCb9mpsACGy0o/8S0KOcPDwLEJ2v6J1Ox4/bsv3iswtLG/2iAftMF0CJrT/A+r
yhssr8jOvfs7A+kkWyuLLMyOiZQC5II1aP7++5ZirMICWPXVbMzFgEYDExwFKj0Kzm1eH6ik+971
dlZC99dnZ2low2tpUoxlavv1QdL0ZPXjUQdr3S5LU2K4rc0sEiEoNAc26LvCFp+0qHegXf227csN
nwWquLDBj4MrO6Z7RMsfWJdXfGnpyw1XBeNRV0FzAqePKslP7tykOkHNAUQI9rhSqFiad8NdO9h6
znTU/MV09a74IPNNCR5Yi+GobKTJUKQeylt23oMEMvtexenKHrX02YafjgnIHEpG6kPXNRIMKtAx
z2SwKcGDLzdctfFGMXWkod94hQ7nBHoKOzatXfkXPt1ERVks0k4sO/otD0BTI0kB1sfae95kjKbO
XcPB4NDFLf2WNrHaada/guXi17axDRfNwLMkQVlPv/noJQ8bMMWAQivvdttGN7w0k3XsoZJifbcY
WI39BPcaKUFzf330BU/yDSetKqlHoCOs77yEpjhoR6bdUClIxQ3Z2r60tK7z83fHYW9ScQXRzvEX
wEXq5IFf6GtTCP3l+g8sjW74aQBWi6Qpe4qOCPDGczRPueC0XdlSlwY3PLUQUP8DeGT8OeOwwpI1
IBxtxFr8XRrd8FVoi4C0LQBBTN/WoJsaAycAJAhK2it79mwh/6lTUhDi/XviI5VrYLaD4hdYjl/L
DmTfwejfa9Fku8EpVsxzwYBMvBQZ8i4YWCa/MyBsbjlkFU5IvYNhldNNDd0UEmT//g+ulMzrwpbf
0QP/VRGIpDAXfdBkDJLH60a0cLw0sVNNo0QmUTb+1eVefd+nAT0OEwefU5ekoGjKCvCbpZsUE/E7
hkOPYIZOwJha/IJYxEuty13ls3tQtt/7ahtkGO8w3HqyFODaYkh/EDl2ty1ISI5O1j5dn60Fu/Xm
5+8cuuzzoMizRvzQAv13I4DaYIkjYr9tdMOhe/DFeaRGvAMP7dcxcXtQF25jTsG8GA5te20egNW9
foUZPQ51sSNgO0O+DWnC9Es65rvCWkt6LXifZ3g3ItwASmtfvVLw2Ybd6NynFpJstkp3OM+tBKjg
soubYCuwXzvIdhKULHryUhdPymsPDK23IoMaUapfCfVu+zQ9XV+aBTcxMVdl3CbWhDPoq9t5e8fX
pyBJvjNNDk0fncCbuHKdXLAvE3slITCW2KRwXz0t0IVrZSFF5+fKjC39g7FZQ1kjAo+Jcl8JuKix
GT30MYMUkvOi4IkWuEuvT9XCpcYUxUPexAGroydfg5i/Ja68T3R1bqv6A/gg39BXdmqqtar8QgQ2
1fG8GuSDVdOUP3QQ9exm6BV/AmMaqHg9t2iTlXlbeovh9H5B25Fhi/rGSAVmAsKyz8rG9bv3wTB8
fc6W1t3w/BqapdCrzcsftXb6HcQdelCRCX9lRZYW3nD9joDn29Wi/GEHwQcWOHbYcvSmB7L9mWUp
5D/KTSBZGjDD8wMQhGODavX3AEIr0AMBQ6eQa5v65QQ+Rjd2dSQRQEObp/mPTHtfuD0+CbAoz5Y1
W5UY0bnJkmMSJYeOs22ZIxO0hYoxy9PeLX7MXdh7kKR3D+ALtFaWfcGyTLQW2PikbUdSfndoQUM2
N2NlyA9CoKRdO0NfbgMDJ6bh9TZkegD0oMH3gedHj97JmvyJPP8hdr1TjGDmygLC3Qx9YfpzzfhK
vFwwaBO8pfyk8YP5rZCZkmGeynJfjttIaPBP83y+24ZF5gArE7nTt4RJ4b5xH6xf1I8rBSpPUF1T
r7Ktj9c9c2EvM5FcKmuwNkMVfUNGsvAP3HeGCoznbg6OWt1VvII0DsqGn66/bcFTTWQXhUae1Y0k
+gkMe95CxjX+EqdVsk8hI/lUq7yPoae4mpdbepsRFwTYKkqrbutfsdWf5uOYsLrPCnz9qf0VSmgP
1/9pyRSMmJCBg9gqHB38/EvGTK04OUDUa+0YsDS6ERP6galiFq58IX32ChYnG5I7KPFd//SFCTJR
Xz3A8hC5C/hPQcE2b/Wf2777mFTtqVHdZ0tvqprQwOTq6nQATRA+8RdIWL40EW6jCvyzJLHEXuXR
yjI4CzNlor8KHolW0sj6OTiVk6e7Gk20jr1T4GVtIWkyDkXpHBsI0eWPFIJhIwkT4D3BZcJrUOw/
QSa1BHt1q7usDwm6ISpyToidgc844yxxvl6f8sv+Brnrf7u2bMpYQFYi30uve6aW/xXaeZ/rJhah
GLP99XdcngluVhsyPVYoyhb5vrB0ivZYZgEyAs3LNdHey+MHJhAuVZHGcSTrfzpD7d2oyIluZsWO
bRHJxL8RbfM2K6bxJxjDdQiZoPTGrxm54V0BXO6gkuOWWQpMJFwwMfBsJ97w03M9OyRuABodmm/C
2cHmjRNPBICLlTRp9uL2GQk9PwelRgfBw+vfvrCxEiOy1ekAScEutb6TMVVHEO4CyQru/BN3pjWn
XVpkI6zZaRQ4bZP3P23hkj3opMt913srx46/+IALCQyTgysZQPuMyqPz0kJ3ZOeKEpJSthPWkC0d
CvVU1tM56kogVUr7QCjdW+34G0f6laVfOjSYaDnecrDUQh7xZ2T5x5l7xvHoIQ7GT0Vvf+JtCgGy
5DRfGnPP/jRIuu2kbaLoqpTa/aic6hl8V1rv4tiCIFRRuLjkVUFcrvzdwsq5xonIw12hJAXzniBi
ydKd75Q1hCEsXa0s3sLN1CTsaifbLyDiFjxZ1DuLZLQAnbCQJ/CPkTd9qqn3pcliCFkM++vGvvQ/
xmmoSqGNlFG8T3HfDqEozfYWhG9XXGnhOmeCiwjYo3M3FvypnyAB89akfOy+9VGL5nTsJpED3fOm
By/5Ma/0NL7yAOTpK4fIi9svhFuNH0saELV3qpw+oW8QVOd3Oqs7gqRRrqM4uxPU4nkMzgKPCbqr
oWzVrF2YLq4gXjzP9LvzZSwsxiFwKiCxPthDeYxTKGkdo0BBdwtyXqX9h/opr5MjOEb8FnTpLnDD
N7nifFQr//4Xj/efCIBvMAIkPDzTrAygOULatHtlBeQIUBaQLqqzRxJBO/OWpkgYNPd9DhVdK4Qi
XJqCjqSr5VPgpSyZtSe6pAHvPYTH/oA1vh/Q5EAKmRyyETBk6EEOTues+O5FK8T3GiG3H4nSPSHx
lww8X5BxrmdSUA9CbStetTS+EW9BGNYqWQfZI5jxg/vM6WUOLG8MNZPrXvR3cS9NuHGSTDI/qpLJ
YdBwRcW63wNqKKwq7IQqxR3YnXV03zhcuCCzyHudqjALIN6doR8J5MBuKCLIA/YH14lK7DHdWAa2
cxM1PerSu6hNAJRrvLRs8z3XPXy1bgEyF/s+likEUKw+iAKIB7oW9BuQwYBO5wlduH4JLTIIMqaQ
S8jA6fnt+q9enkoSzGevd+YNkRs4S5Z4n5PRFh+S0Yd0SNmCnXxLgOXUROSqmCM37k7ePSXJCDV1
j0UUVTndrxxlL+7uGH8OVe++v1UDCZI4yR8FWAplCEA9exagnu3D2oZIz/VJWgg+JskbtGUnDnmK
5L61GWTsxprjoIg7EqROx6PL1cfMa4aVGPt3Zi7YngnKZWBfbKoqgOZCUVLCjqwF38gDSkety2+b
pu5G68DdnNj6ZvSZhLhaAtHT31qrwv2gh0H6P6HdFORQtPAtEMvsu9RG+m0HkSLhPA8pRN8hy4da
K2vvRpH0VvaxzAl5q3TSxmwlmzGbz39/gphVTNtnPJGJld6Xbfo6SKhqTrlX7aASfdeyYbq9vi6X
jZeaCGMIUgXtpEn62EZ9EoHwHyLOZx/qPGu1qcu/Qf/en95Z1+inTuM1SXLPRAV1A795KQdYwNTS
x2oW7tv2G0Z4t52yyR0op5wtTrObWqaSgKYXioEr4WzpL4xwLAJe6TEJ4nsdDdbO96LPfKLOreDZ
LVhm1hpiL18q4YpmVCb1lItscs5II0Eg7xi5qrRvdGX5wXdIgialt+8HaAU6x7qQU/kEosnET5Fw
iqfOhgAWCC2f0HIjSnkQyWDZOpx8sDvtCm2na/x6l8MFMQvgHt4PafEs+qKKAGWOqEv29lRwCFdM
a3wsFw9JnJjkINCpslxRN/oMuYc2c/bKEg7/VbACSXfs2VCqBOseWDyxF0Nn6rmlFUeH1zZLMvYt
FLuaJvPL8T51GDnaPArykDtj/3x9+IU4aAJ1s9iHJrgzDffWOAafACl/7Ej3Vjs1TuaAFu3AH7xy
5FkwWRO4m8gCkkRBGd97NagiUIcv2vyG5VmZoEWz6AZympxSxpv6RtCZb1wDhrhqnQRCNGdk3wnb
kcGHImYmMg4pQ1Si185FS/M3/+27cGJDXHQES59/FpAvnij+BIDt3yPyo0NYBgGaVG45tF37z50z
NXm8LbzYxtHZUxFtIjnGX5IA2ngvSd3U8RdaV8O205g9R+d3fwUBcY0jbxRAgTKuHxkEtJ4g5/P1
uslddlhqgnzBaqjyRtnBufatES1mzS3XtHpsoYe6Mj2X/ZWaCN9xBClZMYJOxvLKKvpAqtaXP2II
W4JjMg0c6dxhmwniDlrn0Ct9KWPAAtdqJJfNnPzneqjKkdep8j72Prhp3RTKphAw0qBB6J8CCba8
65N4OYXAiQl6hSRONbZIIpwtyGvqIqQuABafaI1O9wProduINDb0f4e5mgIpQBC14ZL/sR7zJjm5
btTKpxFKXuP3KGUx3VSxw0cZ254PrF1VWVTft2mjol2UKfYqoNCch04Xpyt732yEFw4igbH3jdKZ
3ERA75PHqjtAlzf7Zbtk7fT5NwdzaXhjz2tBBRX0gtf3gJtlrA9jkHsmsx7YWHzI5saGBCpVQUbu
IRfkE3dv9QT6laFlcdl+aVpelK/N0Dl2/zp4EKulOyglRiUO45WdtJCxg2D8weVBK3etYnSPEwgh
t2mbDUUT4iBVDB+qAkreYZ8n9oBePd+e4mMfxVX+oaE1qGN3LpUZBe3fkLpQr7CaGuDkKdHQ2AtH
tyZ8Oly3sYWJNnnlvA7aIj1Eqe/HQDmP2sWxaQfZRPZr2/BGEEu5pFBB6et7VjsvWpbNx4mlelME
Iya1XNmAEp7FE78DvHd6ieK8csMJSlSbclmcmPxyTuyPaLOOxHkoRgEqjC5QvNjbIkv9XQ/hmvzH
tkkyjN1G9080RGl1hp4EOM+w8rX3MAU8rld4VC9HY2JyzfWE1bKoSnHvSQWp5cLXSQKwiJNEuy6A
euBGWzKOMZRzgLgh5vcFR7UU2FNJ8/KEr4Gk+/WJWvgPE2xNZ7laV7Ya6rhx8gTEUbmjXSSTkLW1
PF5/x5JDzAmld9siBKUdZ2RufcZ+NVi/IaqbxD88qdXv6+NfPkwQE20NpcF0qGNrPEe67fkHq/XL
5gFy63HkhTJomH2oPAupibToIAG+v/7SpZ8yDkoaSQtk5llxH0MORzTo+3O75j5ORqEer7/h4pZI
AzPXRaGZDkkwK/nVOurgBcW3gukDbrs3QNzebHuF4SYxdIMhDyrSX3Hn76Ex+Ylm2dckcHZZa+Ur
FnZxovAbxsaAI10ELcKBPkEqKNt5YLbXBHWN6z+wNLjhHxFn8QCWZPokIWZ34yqkHbspWvHxhcHN
jA0EOW2ph6l/aiX7EVdJFhYuWcMdLQ1upGuKoZH9FLv9kyoldAhx6InGrXUkM03D2ixvgMzun+Io
4kjW2dUuFWoTETMNzLyMGvw2tZjdPw1O2+25TT8hkeGtrOjFQygGN7a3CtAFrkjbP+Hi+Khl/cwl
KimD7d5AIeEj1JrLULB4rYd9aRXm5+9CE2HoYS88L3sug2yWxLPQirYLrKTasg/hb4gxvnQKqx68
4EmQ2NnFXoRAkXRP143/YuzG4Ib3djXT2p+aYq9df/oKTdBs76P4dqPVn+svWJodw3WtCRqpXpcU
+4JO2W4KRF6HSOX6v7YNbziv7hrXKfMC32/5t1J21acUiKyVk8yCHZk39LYhFfJHqtgDt3sqBiF3
VQTQDRIB5DDmUAJ2W/JBFR3bb/oZ854+OW2cAmZb7KVD9bGysN1xj210OfNazgtQHoxlX+z7LjuM
QXUa6rUj2cIim0IFJc6TvEeZfJ8AAgf9z19k5CvWv2Cg5n3bsdw8ZShMPPXSJ3cD1JhD4NfIrqHN
Wr5iCf5m3rm5kClqO4X/E03ZvVXeUNvyVbnrkTTkD4xWaSZ2qW5soPlkFZVK7JJSpEULiIcvSXoc
iol4bGWvW/phw92n0s89aWMuO4V2UE6OljjabA1BsTS64e+AB3VjYjv5nrpdJA5BR9OHop6Gh7Ru
bWujHRs+X1GVSSeY8n0p/Ow4pBl7GVJvLU+99AuGy0N7QFVJVOZ7oSgWCSi2MJ+iL66kKyeayy/g
5v2+yD0S5R1Eggs/YR9lCjEdOmoG9d12jcV9weS4WSlKnRK6axYXzzWdOEsPIgPpJwmnNgiqXe3k
CbjsfMuSMtnj5ptPcieqcXJ27UgtJqHxXUJye9NycbMR1tazAohI6RNtRukWoVQTdAADu8nt5y2B
jQdz3Hi3RSK77cRpX/CnSfpQ1wGB22MJFeoV3M7l6MPN1EfBSecClCKeqwZZJo+hKUUm2zrIuJny
6CcZqKZL6+coUoAp9k4ffcCeQ9aapS6f0LnZBIukUAX9dR+JFCuzgqOX9ZUtTmMMFecd6VhO81PJ
kFbbhIPkZt+LHlwC6eKWPXsy/yJoN4RdWTxMqZSh5Y1fi75bMapFCzfcVCPzJkAyrX4gIfBxkCzk
QLZIkR8SVZ4FcrQ+0C9x8CD1GgX65e2am+24rmvjFudW6kfhzaSGdgXcenH2BL+Ny/xhhoZAfm+l
iLmwbOZ9MRptj4N1Vf2wx/HsyekDVyiWOcnjGK/RWi6YtalaEOjBpwyO8wwFC+hvVHa/3yqTgRzA
/GPvXNLmtY6zkuMQk0RdjPAC8M7OF2XRZiun8KXvN7YaFxaGirzUz5lbAF6bQC+8CcHcu4ZbuIgl
wR8YuwyHujuJfW09ASbmf/Td1AsLaLnti5H98YY42rkTADsjb9wd5MTXsr9/Wdn+k6TEaw27FrYA
3q3U1f7/OLuSJjlxbvuLiBBCCLGFHKqyBrsGp+3aKNpuG8QMQoD49d9Jx1vYtEleVPTGXQtICenq
6t4zSDsOqTyXjMkP6ZQAWh45ZR+EXaSaunPUDu6zWVfuAihejP+MU+ooH7MN83H3zvTN3L2BL27d
b+NQ8T4KpGBfdE5TJ4mgi6f9LKpnB8VOoMHKQTxONKR5uSt0ZgdUKKEXVH4NRZKRdu/QStXTjRgE
Uy8B5OQyWLF3GU/egKXxsMmmOaz72Mm7NGwjBzipsDqmlktI+W8kLX8tnzCxJLtxh2hWVz4CvKju
M4CKDpetl06qjdjFGT4d88O7jpIl001QwGjzjopPCC7wGJ0HSAc4m7X9laP/Pxw3iqDVWU98Co19
dJvgFkHqgb/P8ATTdNkqv226hieK9SwfzyOxx7nI+d14YZyjdGwPLNiCC6xsPL7IIEsOR5Uh7MgZ
VB0nrmdYq/S1//a++V/sahiKpgV+6nhGchweuqGzEcBJW6rqK/O/dD3RacnHdvLlp2EsprfCOpnz
ogHjtmmUBSyz76rKQD38z+9QBrDIQ1ctOUOZ6actnAZ3iibZX5+htTEsph9SVxAmyFLnkxi8pv5I
5j4Xr13VsOBnYzuib66/ZuUrL0Eh3MtCB9Tk4Kb7Tj5uqRit7ONlRz/purpy0P54qyd+S8z3CvlA
49THX8hUkW4kISuR+z9N/V53aJ2F/JNW40FNw4vQF6I46sYptrMGEBuQwOzA5db9dG1Yi8POZhla
bYmTnQWGJevmvhLjyxwUH9EvPJhy2rq7rb3nsiR+299j67FmTK05a8/9qYHQ8zlKKb77IRmrj0Uy
vC/hXVqDAD/MYZPZqjNgWp/tXLaHRnGxe9+6WixfXGWnYfJ78qkIuxT201keWSZerz98ZW8Ei+hR
Zz4fO4Av39AsvQNe6sfl0c1gXt73+EVKwGfI12olxRtp6yNVT5eKdwfv4OtPX8n5ltx3PiFNrtM8
fJONODAFoT7gP//1S/FxTjdRwSvbesl9HyEQglMdUnnwwAroD9wArH8TuFm5xYhcyZKXHOJ6API2
n4FiGSv+PHHv7rLHCxc0YuU8Dr49Jt3Wq1a+9pJJ3NYwJagDM53pTDl0l2WflyriAHnKlxBkLP94
/cOsDGnJIQ4t7CAb9KHPhTPs6j64F0X9MXOmDxVURS9XGqPbDSjeyudZ8ogVJ0KYlk1n0s5kj/Yy
6jSbzYK1cVzCym/hQ5YhSCeFM52FGOZ/A6eevhE/Hb07ASS4hO0q0h4O1Cmm0kqwya7P3tqQFsER
jh2o8o9j8BaQPI8CJ2iirNpUDVjZNEsmcWtZOqihYW+hMIcqmHYgNj2I0nyBAePP6wNYibr+ZWC/
TRtrDK8AC57OUIe/ZYW8mbvyFxPAhWV4WmyZkKycWku7Byl45QZV571dTq1LgM8zdFxyZzbwV66P
mXHfvMlnh0Zv1R7WBraIlujQM452JHkDtA4WAHzXTvzVs+XpMrDEzBvbZ20BLKKmCgfCmoGM52QG
MU6y2oknPdmNq8HaAljcl5gd5cTqLjzPjhcFnhO38IWbqvFRpXRjACusGujM/bkCpCdtiGZqeHYn
YL+wyMZ6/OKGyYdBeSeaYOKy+tT7WQbZ/fJAZbvRIFgZ25JmDAifUHmD9+qhO+SE7DRhp8Sv39gW
y3jl2yxJxmOq+0KNxXAeVHiuM1hNtiTY0nxcic9LLrGexiANHGHORBAedRTKgHUeRmSa/rm+M9d+
/SIfcjsdBI6ph3OfFAQdIKpvlHar/fWnr/38xb4fc8cvCFfD2S2qEgJy5SvYOs+X8/j689e+7iIT
Ghtc2QHP6M/tlB/QOXm8tFl16T9bNEI3dsfaDC22OKtBsc1ZoM+EteYuzUnxjNr/+xiNQBH/uS+m
DicGwJfiDD2V+9nBwiksfS695isO/cP1WVobwWJ/+4mo/Xw2wRniFw30u4ochNL22/WHr0TAJU/Y
ZRoeJb6rzxNrz5T5Py6bWfgaiWnv/z+qlSuDWBKFQb8sKkA99Jua+BvlI5SAyLRFgFlZp0t+sOC5
oBZ6B+caXqrZDn5k3ZcmcZLPNHS2iA5rA7is4d/OQNcFsXFAan1uW7TR0eMRkI8eN9LqtYcvtjGB
C3nIeNKdSW4/ERfaE56cdHz9E6/NzuWlv/1yCitpW7Zldx4HksekSerbYay+V1JuoRbX3rDcx8lM
AOIj3Rls3iI2blpH+eikMQs3dezXZmixjcWoqFcUfnf2JpMchrHWT9DJzt+XdC4NIrqxAqCBVt05
BXOtiMxctHNs62T8cf0TrGQ2S06szolnJ9V1Z+y0CEfoP6D7R6qudsKrjkEW3F/yDVPUu3e9bsmB
1b6FB13o9TjT1OdGJh9cjdcMyU3pZIeyzp4d4981+ZZszkoMWXJfJScBIQwL7BLGoc10tMWwl764
nUvvFR6pG7fDlSWwJL+OWiTF0HLvrHxbx2wmc5RSUWzskrWnL/Z3jW5G7cMC75xrbelpKHXrxr7X
QGPk+kdZ2SRLSmibFW7itG5zBuDgwbg13w9N24ACPTxdf8HaCC5//22fV0UjdVLjBdARq2/BrMVh
kcl5oxq29pEXexwAsWRqLwfFZT3pIcmjAjTgy4JiBm9Ce/72+jBWkoIlG7Nog7phUEc5X+4zNBhe
Ql899y2o9u9OK5dwN5bY0jMwlj5z0d0WIDnAM0F96FEfe3dMp4tj29YdEM2Vds9itNkHHSZqXwmm
NyLWyiwtYW+GCbAwmSRniAaBmmPGHS3bBzNXd31ANqqIKwtqSVZ0vXkuTZW650IOICuOYi5uRlhP
b+SuK0FxiX9T6Mgz3lFy1ohGqnQ/1FM9RDXypp5WO7fx37ysf8wYDCeur6yVHbiExCkBBxFqfHI2
g+89h7bA5qgD1x0OaaHqLTe+lY2yxMYFGUo+6TTRrygyHYY8ONTt+HTpdIBXeAKE/vn6YFZKGUuu
nxhzd0oMZs+0xbMFojUqveDgBfrhUpfBaQxL43Rj769N3GLvqzF0TCk1/UpJc6Ijf81m6JzjOnB9
KH99PChoi9DbOmOWwItePOcWCDadOFCjbH0vduq8Pb7vFZdX/xYbJecs544In1s5DyfiB+npF4cu
dYctWuTaKBbhNykdmF9qFoC3pP04D7FseVH7cXb51/VR/HVDYqIW34GXE8tnwC/uB8bNx2wyBZqO
ZgRi7vrz14ZA/5wl5ThaZ5MInmXRZXEySxITBmHcnmzO0l+XLYawuDCV6D8kHib9Lqh1+NIPJlTf
SS06cnD63kl+skmm8/e58+vkoa6gkfnOoS2i8egNXWsGQk9h5wQnO1L61KDpddtXo7ORn/x14wtv
WVgukb+Taeirkxt4U2wrFH1bWuyC0djYS8ZD7g9bGdfKQliCTHIySyfBWnuirHd+1AW8oynsMt83
V//pNU85BGj8vrzv/DDLXjJgoTwYBkp01uzcp5tCvb8i/X86/ZixxcYHn6T0cJ3K7/qOq+rHYPJR
3CW4JsoDKtne/NF3xhSuARUwrjSN3Io7w7mSKas/+LJS3YxrBm+zj6JXCb+dsj4ff6I5nzQszqD8
bR6yLuxmuQO7nLR84+RdmftlTQeIm1y1Bcvucicr5qMNefqqIbDxLjtdTMoiVAEhBkB7H7BnwgYq
b3MNPn2U1CTYesHKLl/2yAmHhVYJlvKzYaOdXi1pq/AIR4NJ7DP4vJ6vx5KVaVr2yGHkmuQFwviT
msb63rqQBUOGqg/ve/oiUnEx01bMTXIvsrQrPxubBeRIqOrGd75gEaeIC5WYthtRy4HaANCDvAj5
YUr0FrZmRTfBW7ZuhAO9DEgvBXf9nA3sqU8NpLD3uebC23HPBxJxZBMwLXHrcnHHnNwO+lgT0gNa
X3vOhYIrhyTsoXQ8839UZb0qiRtfIgad25x14fja1IF0VOQWPQEtIiUlCT4Oac08dyPiraykpZgh
5JD9pp3c8QQs2uSlcYW2fOhFCZTWQFPqFfXf00ERUIX682AioaOFZo0FWltxGAiQqvJ2MujMe+5m
wlv2t6wuzFDihvNS5qHzwESoHhOhuy8FS+336yt25XRY9rWayQucLknSuyEodZzLNDkSPo0nr62H
fTiZLh5BTnrneC4/4rd0h80W/w3KPTFGEBj72fWiqc6nU8mI3KKHr3z9pVqu4C0Zy87JX9oKWpMR
rYYiiLTvpWMU+PMm+W0lkCz7W5OlaY9LgHNyEW9daCSWBi7sIQFL4/qXuZw2fzmFlt2tmmSFMDKD
8XrnzdhC7g/Rpu2pg3VlBOudLXGOFcEJb9ne4mRoOt/25C7pwxrqXakFnfgGqLbAvadUzeFNTuAD
D723Os9TN5INF9i9pm4o3zm1kwUd4BuNBLlmCukk4qZ2OZQFfVBnveLlXZOxlPFMhk7CV9ptXoyC
8xXPKb0phehjIrLhpgmBk7z+npXFwxYBvM9h+TZ3cjiFVDT8kKVJGH6BI0A27tmcbbp2rLzGX7yG
+0DkJaovXmSZKrUrQWu+IUVt+x3sytKNy8UvTOrfVtDisGi06ybUUc0pSJscbhLFBVf6rHkddmU0
Jj5X3+oecmqHoE7LNtsTyF/xyEW3pk4iij5jBv+DDgiBGQa1QwITR2Dwd6mTu6KMXEfJeT+11tj+
vsTlYuojQtTYfJwboUxxw1iqM3nKJLq0P/0W6IzdUAD/8w/0OgDf21vBqpQfEiWa8gAe7Jh8Kpgp
3U9F34pCHp0AolFPEwuctIjDoffbg8gH7dNjj0bJ+G89MQoouSvGsnrC9YkO3R4OzK76oWZCXLpr
ZN+VX5jjpT3fw8YrTb9l1EvJk/KcNvvXC2iY3YLLzcosQnGnpR/HoQ+catdYcGQh/gGdqqPou3Bo
YlbWifPYpFXYfobcifBiPxRBm8eyrVl6U4H36HcRrus+Pc2zkeEjCMMNs/FoPDN5R681avDvaq3a
5i2nvhTHtodSzudg8mTV7+Bk2bm3GSYACVvBcI58BiBU9idCskySXehkzN6BKsDEI8Q8PHnoW9Lr
zzoXWd3uu8z0tQFQYALoQXs51K+jkahEt3Ew9Y67c5PCmR/ykmYp35Xl0PRPuM+qCuIM0DrzwkjW
Dgd8lFRZlW2sv5UIuWxC1cAm1UU5Ns9t5eVQLaqgkxapRDnfru/VXzj/v6xvtrg8Sa21Xwdl+RwO
IhjEbQnmYk7fap4nCTgoArwdpOcjaVtUUaDVKmBplxC/oFGY6zY/zmXaIS+wuZiyn2aQQpz6Jhf1
xxGKAe5OI/i6UZO4mfeAi61JD6UMmfzSgKP/xGRh5jtYLiJwtlBSoTuh/GF6UYFNKHolNpkeZOVC
fyRSNG9AImHMQ6MYIHjgzmI4Dyf0zRrSGWjXoM+yG7uA96fEKbOmO5oZvaIzuwzohZWQKPgiacpK
iKn0EK2KBVIsr7tFBsWzOy8EopHB/s6OEJUAktK6Eap8QzXvRgTxPtlr7lz2kLZ930SA3yXlERqA
JuuByiZ9u2sRxC/IhmwmJyWSbgB2lLbdpwQKWkkfTc08efCQMyQ5Nnk2oz0QVhQ6Cokgfr3HzVUh
j0tKuGSeWNCEXnUrRVnmU0TQmqoPbdEoV952onedR1p0wOvvGcCqcBdLUTloHOjDuRJyGsJq1PMg
6hbkzyN6QcUP5KJV+DEfSi6+j60lQY/ZhLWJiTn6pjBZTHIPgli6gQBlfVRtWDafAmQUrt2lIg9y
fy8LdP71DTqtDfyFGsvrPYzCB6OjefTrXNwPkN+tIcfZd5lEiyVwg2HjLPlF1PzL+lw2F2lieTOx
0T8Bmlb7sEElI+9iXnoTOebS6SoZ6dAoiEegTYEfGImqsfSGCzqKIvL9dmr2VrmV88VPe4cdAzSM
2fC8sXtW0ovF5rksxjnrU3LqhwoZWRaOln/B6k/LWzMPbiaANSKMq3jsLW7dUSVwtS32XtUX1cfr
P2EtQCzQGy5UOBoKcTXwKGQbawH5Fiy2mryrx470/FLs+S3ddFKeE7Ab5jsfmzuIJbQA85115buI
Dnj+Ip1VHqNM1bnzxAwfRyAFbF9iCnVZbRQ4/1qKFt6yC04zJ/UpYuezypD1kEDAgIuGD/mcBjvi
GR3/wuy4nfshVJu2JmsvXYxqgsJcor0ivU/DQT9SihatBdrJJAG2qPKZuHEcyqTadWMDiHZM+Uwn
Dv2KsEzS9xUzlnrPqOvWtFZVdl96Ou3vs1JNcp9loOjvry+9y2D+tjUvidlvSyPMFPSMEebvsk5Y
/qPoXV99bRItq3MH6YTMIpwPAQifHAJZ1UZnYWW9L/Wfe2cY4a+AWtLcTSKNDGwo/cgQKTdQSWvP
9/4clC4mPc7c1S+4HYgd+t0JzANdDgTh9Un71aj926wt0lYcMX5FU8hc1j04gv6DAQ3HhfiDT21S
7y1SKT+9ISHTjhcnQ1MLGo+TDZ5J2Y6lH+We3+JPXEFtRx2N2+Se3VWB1CC2OF7S2CPqJ0PwrRj8
Cc6fEsdcmAGT2JEvE47HNN9XQHNDzBEnlSxpRHUJ3r0InXA00cymEGYPMtDuLatopvYpmzJyqklR
uI+F1XMwb8zDSrF42ZanxjRBVWX0CQAPJBNG1t1EIsFJBhyloLNRJ05yh9FbR6PCdOfi4l6NGyt3
5Vq47NnLoKjAWx71Cw+cPh6HrL+1QZnsXY5ieEPNFshqZTEtm/Xctr3fDKJ7gawyzuu0Ce+dsKEb
SPaVUSx78yLBaZI5ij/ypHEOtOOvssdxmF84Qw2tztcX7NpbFqEMIrFTpjrCH1tvqmPpQ7Q8p5rs
Se/fohK7pY2+sh6WLfSx4Z5uZt2+6D4vkh11i6C9E7Qluoy0S7zuC8uJLfetVo2YotkPer27PsK1
r3T5+29xDDJ70NSdIBgHNYTwJ/RTbbCrCmTyG0t97fnLkIJBpENGxVNSBOI2r438MHe4/bzv1y/i
yRgge4PhXvuC1Dm5HeGmeCz4pDfW2Mole9lNH7t+RBFZpM/E8b0PVF3qQMqBxHsViuz79RGsvWOR
RYmqGJxeq+yZm7p/szBomUFEdu3PnrBEbCSSKy9ZNtVpTvugAij8aeR1E+yUgZL1ocvqpNkVKmyC
w/WxrHzrZV8dZFbSALSfPtOK+Y+yye3FpCBvXq8//len+S+nx7KxLsxUhilk5D7InvQe1Cila8lt
S1toz+KcgKXNfZtx/VrbRk4KYiE1kBwBWv2QejMkuygtiGomxbHo1Fy3ke96RUDieRZl/QBBvR6F
xOs/dWVDLzvyQEHJLHN08mzqIIguZBs+DdWehTBulKiCRV3t73va+hv7YCUbWfbmRx4yB0j85BlK
V/pRS0QmVbFsL4FSimkBOWt4CW6J5Kx95svffwsZ3MCdcMqwLRT0wMQuKQwaORzBfquiuDZ7y5hR
+mmDKz95sp4q2HSw0JlLwz2UtbhV0H+sx0AcUJlvFUVpHpLMF9oBzd9ZZF4q2xiTCRAGjfskTVpM
j3ZM5mDnOZ7HbqrCV8Xt9TWycrYsdXpt2AfA57XNC7HK+VoC/IWmmxpFcIJeQ0eiCqrWW1F4bX0s
ogzNk0DT2mdPHPS4vWQOubWN/lbDR+tJjMOnvsfJdn1Ya+Xg/2jfZHPDy7IKnsq6TOovZNK6jonH
Cq5jYwo6QLWpTIh9oqZmfRGn0ssrdsQs9xmMOnmVfykdf9AHKIp7nRMLCheBEzzM0mSj67ISDpdq
ObwWaaPryn3JA2SJbTbb/Rh2EwqXMCy8Pgtrr1gkDgrclRJV9/oF5QPn1pb5JV7xMLzpkFG8cxiX
hfXbPsS0ou8os+ZF0UTvSINA20y4xWUuIKrXh7Gy1ZcaOqIbekhkhPTFILg/GTiqfMmcaqvZuTZJ
y0ACRdwehDX7IrpC7RUcSPeSIxNF+1xsfIe1M2MpXFvTxJ3F0OTPpc7LSI4DjUsPXX95aauiUHX5
H+EMBxm0OB1wru/K1Pvx6x9G4qjPiIxnxNKN3bGy6Zcqt3VBUMmCa8uLNHqMxGi+lL72ozZlAZjE
715+i8I9fMgzGNVy+kLKHjLeaMzck9bhUAbSxcZdce3jLUKK9HHKjn5QvoiqJbscuqDsxiNVkkaD
tJDAub4A/z5fdOk9VRdhMI+JK19aYT294zZ0aAQPNtST8iDVZj9Ubeo/XX/Z34dElyZUzM5t7fNK
vvB+fOR13u0lLGjivuJb1Ou/x2H6H4GgkDV5a4x8gdy4OpRFADZW1ZM9ZOye57Zj+zmwW8oKa6NZ
hAfImU98zhP5Ihz7T8tmeQxRTI1hglFsbK6/Rwe6lP8pmxBV6l7LF2kd5qKAC/eeOMzDrL953wdZ
BAgADTmHgKN8AUikiksfFzyLPkM8d5u212uztMg1RDiTMqRViEZa6xx0Cu6GACnvrlfutDGKtTW8
uKQAj4u6ltD+E3Bu1RdQJUUbQinYqDCJexI25CsaKazaAsmvjWix93kHddgBJezXWkKkB6BslIiC
rIudZCQbH/7vEj2CLoVbaekUg8089Zq0XfMq63bqjgoyYFmsvaF2oKiOOGOKgtyLdAqQ1wwXpMbQ
uMXGnK4McqnYI4cZ5Qo0FV8holLcJVBLELppbwBmeb2+9FbW9lKmp4TM9gzRQ/UKw+0uqo1IT5lX
DRs/f+3pi/SAORoHUcimZ5bx5t/WsP4z4mmqdu/78Yutb1CctNJX9rnWdnoTqm72HdPpO6fm8k1+
yzvQLp0NhdzXqwxycPz7uQZkoa77fGN1rX3by6T99nyTeL0NSZi/wokiL+JknHGc8HLu3CjtXABK
3jdJy50/1zYpijZ8JrkKdi1aUjcX/593JWcg2fw5CO5K5GKl8Z6NNM43SKvr4wj5mTrKJvCUro+A
/mpE/PdGTP+jZOQVyhmV4M/WdXV2X7Oxqo5KofNb7IcEy+AtI26bf1CSTcVtzvtAxUZKJzR7eAx5
dC/R/8qOxGEs3KHa6dtIKAbMoZpSwi8Gj37zkGSt73zAhTYMkz0kgLJRRWK2ZX/rtmh98gjdM70P
y1mlBxyaaBHagDryXkKg6+vgdlN/A7969sl6uab3o58xeUA1CFXlFs6mzWubpbm402NGLBSQDBCS
Ue2BEXNr2Uia7yiAVdWeFw6azIkLE1T8xCn0DjbJpzuk8v13K4NS3ib+XHwVnvLcPbkILx84qVUA
vOpcu/eCp/KJplRMx7ppiLhDkhz8cCA0Nn4zs2ryz8aDGvWRFLBIgYbI1PIPowm69FsZ9sy20chL
HG466027L12Y1cV2utzVdC55zPspR3Kigvp72ZVTc2odiguVCLrunpet/6Ax49OLrsqxa/dUgh/z
mqiiyGDcJ2dnx0Fzt195QeviWEP0ig57yC3L3sYa3V5xyA3rmhuZ2oshFfSeaUwhKmrf6qAa/I/c
a+cnXtdzeEhK2PQdE0/RCUKdvj8f8hwXS7gXF1lyQ9KgdHdQSdY0EtPcOadcyA7q4XC2tjCpnEOo
BkYcIvXFbZ9N9mHE3YgdygGQ5iYyYTu3ZWQySoJ5R4Oi4HuTeX55FImXDIe8hA6+gU0M/F/RE9f1
wO4nZrpp3851/U8wTQO/aS94kKjyCTS3KEOmcEyhqlt+sMKKT7mbgeU4ear5KUg/Y03ge392utlz
7mQ5zPM/MIVQ5rYu4Cz7CtpUByu2ZJBwl1e9/TykZv7XwKONRdKZjNwN6VwJ0DuY8zWBmFTzoTZ5
28QcstYZpJMQyO5N7yYQqun7gkRq8utmx1ufhnENgxrvmAZqumMkdL24oxp2izaYwnv0lRVonlJp
QFGobaHABD3l/IRDqSXxBJb6+L0BtqKPE91huSZ2zPKjN8Nc8zv8BNp/Q8/Q2Cl9Vd7QBv7vH6Ds
5UMnfu4CXH6g2pXfjnZ05K4zFYZYNpc560JedrCPS8owhmvIEGeQDm6HnfWAFD34F4xx7OsBJRHr
8OarBhgwgypkX3ycAcmoviSN25MbH8aKDGOcBweilJejukrhFBgl/OLW5GjcEvZ1A/QyNMi65qeL
0H4WBRnTU5iqWe1QAmf/5smIP0g9w1kuUFUXNWhL07tGujmJWR/AcqDKLV6ftEBSxBf72HGnBGu8
MvLAwT3B/CDNH9tSlC9kgooAfhC4rndd0VfZfihzk98CBGHJYUJZFwJ5zqxumPG8EnusLOb7Jncq
RqPcwJ/rSwfP8yHKSwAB7ufCti/O7Gq6x5Kv0p0XOjaLipIUn9symZJoKGsxH8PU9FD9HQ1qChJw
TqCRkoZawFQH/HjPzC47tE6oz4Xq0JqULTXhLiGcaPTDRma+oDDs9mfX0OLzqNzk7KhZh4Dfq7GN
0xqo7FfrXvC1Y1jZ05Rp+hl8nGJGIgGiw53jjJJvHAJrp+V/7mGmhAFPK56Zn+txz6kTers8Gxtz
CAO3fJe4j4BZxp/nWZmTLmMs8561ciGaTHPlhTGvtvR3VhKipXwUC6DJx9I+BEPDH2PQnsWj77jD
++ZoKRsFg0yuw65KX/jFaUpLwBOFAWhr6oNsI2lZG8Ai5dKegUrhmKUvshvdI7ncuBvrvTOnDy4f
/7eUiAQGrl6s9p4nyooXzxjn2IfeUMUm7ZN3XejpUhuKp5o2JK+858GnTXPEnnKDvPzolPPc7q4n
LGuTtEi5QCJBl7yYxbNH+/FknF7dQ9HHbNRWLkvxL8nQUiIq5wAP5s0knu3cDDuIOGmNKCcq8GlH
iPICx5XtK8/5OoRiCyq89srFXQvqYxQYQyPAaRifOD68NV4SG81IhBBnY4SWXe+jr5qOUAa4Pokr
G34pJqWq9oK5dIPn0s+VAWJxrPqoFgnOgqGpzFalauVbLVk/UETlQ5WBM6Uht6IjEqjAu3HgKUcO
18ex9gLx55q2AibcvaiD56RsAJzS2nPq3UD0/O/7nr+8Y/ky47ktQPqC1koTCwKxokMaENguXn/B
SjFnyfKRRAQBSxLzOkJra6+AjXwD76R+ghuqOZbo67W7wQ/UuzgJdEmf4b4naykN3uYD6W7SYcAG
SsooSDbJhJeZ/8sGWhJojM3bMBg88yoS+a8efAai9djpI+tL2G7Nk91NY0M+uDyZ3jmoRUAgduqy
SinzCotkAxcTbBLTJx5UP/Ha619ppfrCFxcxOPFCo8OvMaiSFXvTdw+laIMbuCI+FOAJvW9TLrXR
6Fgq7g+ifwXazkTC9/TJnYbHGdtl4w0roWbJqwFRh/lBYdxnihMGqADRxKS1kbqgNkZSDZFg5knY
6lgl4cYdduWVS/ZIXVSVaVr1f68k3vyPdcs46RFVf70RxmVdVLpdNGGdb2yqlaiwpJMkflHJLpzQ
xOWK2pPNldL7ckBbYOMFK+HTX4QFS7WYxiIbXpMBYnZxkvlTcponRcnRQdfqfaxZSGz9Gd1KN1dJ
Jqr+laTQam8Dv/lqZ+GcqrkKN5rMa1O1SApc3JO4A0TVUzh6c/JIZyTvMRDHqPhf3zor8WBJIBmr
ZuJTOMyvpEf+DZftI+/KYZeP4dmr+H3VBBCWbgpn40D4uxiXoEsiCRl1N4Mz375qO3bjswC1CMlg
5whib8tk1lDjSiFi9TLCuFj8I4RH/Q+5rYDQiZKgckUUMM2cDZGAlei+ZFiYErAbJQ1aKOns3ZaD
fmC42gJj7Kq7QgQfkbFubLO1aV4kES2qAW7WlxRldA3xnaS9T2rMLPXpj6SSMSpeDx3ZEtNYW/6L
60I9Zd1UoA32Kkgun0zfBl9lGNoHZ6T+y/Vls/KKpaaagEaAGwRmfNVGZY/EaMADiJvbWyRK9RbP
Zq0EvcTmqgGpaiAseZ2D9jyLWUaAPTsPtGpHXP/ZKwtl1E9YrmE2+499tuW9tnKeLDG7MDd22rpE
NR9a0rBEVUP4P9KupDlunFn+IkaAJACSV/YmtSxblmQtvjA84x4QXACCO/nrX/acNLDY/KKfDw5H
RxgglioAVVmZ+bzllLtIXkvXN2DL1pQ/XJ7Kha1h1+QaQLcTsM2SJz2WCoBMb4NCRBez6QAY5iFZ
6QzscSRRfd0hYxc+QukFURsE4p4IClLiHCLn3EHj/+YogX9XG8hW7lJvmGLQcw4rnS7A3D27CrLx
kr6pVTQ+I++fK7JBpA1A6FgqBiRoHLUd3ueQcid+tEWmwZ2/gDNJi3dExTznrtCRTvttlphsCnYT
90P5HSrhuOutLMHSglt3lNCUc5mjjOux64VsnlHZ7BT3QxOlwf3cMEQaEP0o3Z+hD4YXSORUErSe
v/K+xocc+yzBrTkH4JOjmCJTQsWBi6rPDWel/lX5Ug6vsoqAG96oweTy74bXCnTwrIsEEEzA+iLo
cQTg/5yqLgzLnVsJHbmObHldSUTbkpwgcCJa8M2xGJrHPYVAS11M/Y9xRoUApi2ZzTOkFItmq0mn
C6ib5mAkiI0LxtDfuVNQB5AkhpcDaiF45kVPgrEQWVzgwsDp2KmwBg9LHpTav8Wr1jO/BugZV7C6
dqog2jx7tI69kATkyZuwUrsuD5IpuIEQZertc1SmuM0uzwhHTWuSpJCi3JYZ94bvXhCMnowJo7T5
UbqhQAYx0cBiPXMKDfRnoHV95xW1HCLLN6USI8hLQQnitV2cEdC2fAf+c2DRJnTa3r8bg7zgb7JB
RXAYlyZP+Y0TQKeA3/DJQUZyK3tUhuNLEwdFkAhPRYiH1sZk9bQ1/VCKbwjqCo9uh1CU3jZvaMvK
vcuJbw44y71GbFDmT9WtztoRagRQ4BuDb14SQXAJyIVwqPku7UeSnC7vuqVNZ91aOanoEBCunqYQ
DIIEboyo1gFCpXuqII27srcXbhB2gRWB3EXmuTJ4IowgbE+9oi1B21Xn0YppLw3DOm0MVMLkSCaE
LICBm29Ay149aIiyftEQQh1vslCvAT0WhmJXOuTTpPJBAY5AR0S0oYoTGOfYV37PVy5Dn55qnNui
GoLUOe9ctxMx1Nq+5UYVxyJ0f9BWTdesBno4T+KHIA+UL3t39Ar00OQRlGZDT2/BCJasXHw/nSE0
fx7Yh+ZVpFq8Tt1WxLXgM6QmwFuPwDK5svlztx+a50XbAcEFzqxY1OMP0CRM2zbr1uZmafYtJ9xn
5eBmI0PrUdndp2mOb9fT19FdJd9fmh7L4rIk5YOIIMcByCpwZzsTOmn7SD2Plmuy8EuDsC56paN5
JbOCp3FO+S1zMwG8h1/sRg8Xl8t+Y2kUlsEh6QDaTtOiC6iCwMDwJngyBQofLje/MAI7CqwouJkI
CX2AfExPZdw6Z00jh51m11t7oC0MwQ4FF6EzIzOTBWncuu0bEmvOfSrgoC+PYKl16/kHStkalXCo
BYlNIn+fpSQPvlBrXmhpfiwT1qmfBV4XonU5A/ir8FzZNWWuUd2I9/ta1HFpDOfeP5haMkhoO6cj
SkLZWIxfnI6zB2AN12B5S82ff//QfCPKrgSXNwqMpFs8ulCyzeIyZfQqticAeCxbDruwDgfto7K2
b+Ce0yk0cVsn5JpnMZq3DHlSfmpAUkvTOAT92Y4gVUi86SrME1q3bDhqjGQ5CfDxvvJ+OSFo3Kse
qvSXd+fS/rHMN2cZNMvrCt9OjTdDiUrIoxT1bStMuLncxcLq2nHdMVS0ammDzVPVM6BBrgo3Caqh
Vkaw1Pz5JfNh8yRjhwynf3ZAweyoGEX77pbw7ipsNsf8/7d5lDtrJO3d5HealzquDZniooPwuklR
yHV5ghbWwA7r6q6BIJTPkt/FNLbbwE2yfTDp7EB151130tuxXN+0juw6AgvzmuKh8n12MNOY3Vwe
wNISWPZr5NSUEAbCJvJJ+KUsOrWlEIRamZ5P4yJYAct6Qd6GvE3QofUsd1/xMrwHYddd52gZD7M6
lNw9XDcMy45FC0lDaCqdPfWk5D7qR8Sfmm5Y2ahLy2wZsgH8gqCoCkeZZwb+BWQpeg/HrfesWQsV
LHVhWXPogTghV92AvDAOgy6hPwkwkvHctOnKIBaW2o7QQtioD8MmwSC4xkaNEdMEEjypqser1uCP
aOwQTK4Pap3fpQyeB9Tb3bphXq6UVy19vGXLKu9nJhEswTmAyGtMRDMC3lIUqH24/PXnU/ePfAbn
dgyWIt/Ya8gnHcEkcaPTKUYp0AvR7Bb8da/XdXFe+g/uLhTBMEU+Utdx2DZm24noIcrT9hc4l70d
JLrYSqJkaa4sm6ZNj1AXhSRGTHwoLVeeey6pVFfJpGOmLKMmiQGqAfjjNG6gWxwDQdLtILgpt5dn
aenrvf/OkkH0SgPP1B9Rbmgm1NGX6TsthtW64qX2LVv2pjxxmwqkVnGRwcBUNRS7/Mzee/nzF+yY
WXZc1lABhNAaPZK55g9l5+Y/StRA+TskFid5nbuzo6YywR03H4vhOEy0+ZVTv2g2daOmlY26MAY7
XJqns+Fhg6ShbEf+ZWi6N2+Qzh4Bt+fLk7SwBnZcNM9aE7G59I66D6INCMGmjWOq6fZy60ufb12s
SZPztGgAGuACol86VYhZdV/9cVyjYljq4Pz7R0OOKhTo4QV+9CYUZjQzQKdgboGWScbT6enyIJam
6Pz7hz6wmKi+Skl/LIdG7Lw8KIAzYyvwjaXGLRPWqDBC7HDqjyLhj17hkzjl5fvlD1+aHMt+wy5N
ZZ2Nyb6p/O4ASwsPkmSPLGvXaEwXXLUdiZq8yk0R3kYPkMgZUv7FVOWLxxCrSNnj5UF8GktHrM6y
Yg28uOM3wsj4fBycNUtQOv5Flf0OAvYHUwf7ek6vu4LZ0SjIWiAX50n05epsV7fhcwCJ3svjWFho
mxQmKLnXmsGBsKEYkwEcoArBinxcOZQXlvpPyQk58ESaOUW5mlTxWRSJ49YSM9AFXf7+8/H+yals
U3OQrm3mVrv4/tqdvpe0v3FIsTd5/siB+c0atrvcz9JIzr9/tDZWZV6rB4zEGV2xYdkEYJmhfKPK
ea3GZmktLItWENNGoFY7v6ewBsFb1Zlj6xj1dt0ILJM2ZeVpWs+YKV1CMyxRQ3NI+8YBtxG/7l7h
W5ZNueOXIxCRWIyKkR0DY8tGpOUaS8OCzdlEF2XRqJR4I5o3brcrPRCJSfldkPQmaBSLnYrdDSDh
uzxdS4thGXhn6gL0Vh46Ex7g5mUPZC6fy7UA8MK+tfkscFyCjByont90HJ04Ilm3d01tULg6/CBp
7T2Aq+vh8kiWujpP54etCx1yysh81i7ti478aKa8iKG1Pm7DJvU2fW/0XphhLc2/1Nv59w+9+Six
msAZj97mKbuhk/gJ3qPd2cFD83tHSHVdbNKzzvBU9O0waJOLmGhy0rCdDZghrgwb2hwaoMdAyQKg
0yJuu8nZRHNSbVy69pRbOJ88y9B5kdCgZU56KkcOpHgLtHEMvGr6jESA2WLj5XLFbS3sYs8y+q4H
zNYtZ3ESHfFvobRdzqi2cFDweHlvLbVvWTzUfkKwmlL3mKfZN+PpAbksnFOXG1/wuTZjBojI/aYG
6f0JUbjkUJ0xtnka8n1khuA6K7flJyTpIX1FcVEbhrA5JmE6f60GepWwGec2UwaAA44fmDE9hRMy
rtIY6IBXZ74GVv59eYoWXKJNkkENAZB9gqeKx4S9qszfJBpAMb//FZnguWXqxS3XZAAX1tomzJgD
7xyo4eKUTo25hceVT9pX6ePlkSy1btnzlEKYJS9QYR2bShIDoQYtZpBAgMM94teF621iC5THcVfw
nhwTKKgNbQqsWbN66VwawPn3D44P17O+qcQ0HU0xzxtatIgFcQQtr5sey5BNDyJvUJSAQCrFpXkI
IvnkiJzcXG59wdJskoqwCJwRh4GLKqNuLL5wSacp1gE4E2KXN2btgrPUjfWy7jKQMqZQKjmBkw6c
IhBjT1hEjmp0rwyo/4vv+bAIBLyBQqtWnTpQ4cWdar1dP+ZrnPALS2yTUZCmQmBs6rKTqVH5PzV9
cdujcGh7eRGWWrfO6dAlLOcoej9NUNbajoE/fefgR1i56C/MPbHO5SaFQJ6XafdYEuFtz7GrpHBf
x6FbC8ssHGrEMmAv90FxJML81M5JGNcI0tzVnN7xxO0fokKDefTyNC0N5Pz7hyXmQSUranL3KBps
Ij1KucOJhvD94Fz3QCWWJVPXDIiOOeTYeZPahdKZb4TvH1mEUrnrxmBZs6P7NmtR83bSWXLfRij6
qyf3n2gU5e5yB0t7yfvvJE0cFVtOlOsTHi36V9lOQJ4EICxdo2NbWgTLkk3vhUwAJnmCJKzcSg07
C4xODqBvKK+74BHrAi7zudJibIoT1fowQ0Ny9z9kNfzzTP/5bmQ2FUTugvh15nQ8aoMP3/saCXqU
dvl0QNxPnJnFj6Uah/kRJZAorUTNx1hMoKEP2rraSVd2wtu5oCvI2WEAtXKJ/ySlKOpN3wE89gsF
dNX8FRraZ5pAkrnNEbAu8iYyjUI20BBDMm3rRqh8f5czEOpeVziPGSQm8jcXuAdXHwmug+nBg57B
LOLUsJGFO0e6ESNx6Q1u9VxkM6oK47JuIVEPVujAXXlRf760LLLsGCjLpuxbrU6y6NgGTNLeg8mA
0Wt1syZUsNTF+fcPJtwFFUp1HeUeJ9nx3eSzFJWDLq3uMb9X5g4B7vtvJ6wdIlDekv40hyzZDn7y
oiYpVwz4c/ti/3JAfxjBpFTPwU7vHrtu+AoS+GKjxlUCv6XpsYwXRMEGEPzS/TfTYHzwVKAE8DYL
wJB82Tt8LqvBWWSZrx9oBzoXphBxFk35dyOjB5KOZA8l6XsjZL/psN+2vkn7HcBxY8zMLMDx1M8b
h6ffVInxkt7ZgGEy3LkF3/o9e2xA4nB0Qci6vfyRS7Ng278awaSGnMtpVF0SV+MYHry0R80lSeVK
cn+hiz94H7hfo2i1K09gdX8BsTqov4isoA6NiPBVg7CJH0YXNSkoyu1OhV+Kr7KE+Tpzyo99E6x1
sbQVrWsDCO/HIgKdwRHFrI98TE3cqOHH5c9fatu6NMjCjBAnbfITSs4nvFGhqCX3GUjb05U48+eX
Bmbj4MKyEK5TaH3q+mK8Y0LdMccL74IiyzZlAjjEVeOwwXAhsHaBFrg9I2TwkJyfqVEFUZjrGj/v
rg++wPM9wF1l35+aAKIThpXZpvWuk4DgLDwvzYfWad3Svo9Id6I9inRoK7/RDNBpwdcKBpaMwLqL
BD2oagDC7U6VP/hAKIxfi8E0YDrornvHM5u9IimpaAbj4WJrgvCHowLvNSpT7CeHFgAzXV6Fz+NO
7A/yiryZZrcd9SlPkDrlCciQ0qnkR+S0q43k7VM0ku735b4WzCK0XBOFVjkRrilPI63DO2ihZGSD
K9YQ7K5q3wbGgU6fMc8pu1M9yaDaQrpi/HvOKv+q+y2zMXEEKgNZEjbqNLr+XZomxV6p6Pe/QPzL
37+wpewKaepplWWyUKdcJr9phJJZ3gOHfm0ogtlaiLIntEJ5TnnKQqYOjBFyK3q3OFz+/IXlteuj
XZM2eZdM5Um3JIi9CFybo0jWZLgjGO4nN0+7MrpJgqEGS8F0DMmAk7e6Q4FCnJT1Lc+yR12xW5RI
+dN1uSNmw+MmMAemeAbXJxlWOEWl/Kka//m6ebLuKQ0J8oj3WGam1GPg579DHqxY2NIOsi4oUDQp
p7EZy1PgNP2/wFBeNu6h6PNyf/njl3qwbBhRDaQIa1mfypzrLTFIYfe13Ab19OtyBwtHmw2NE9rU
E26z9Yn08lva0Uc2tF89oJwcRlfuLwsb1RY4DFHvrGrpmZMfBGC+jwS4pCGOcN259gc6Dqoz5TDO
3clzPe+V59H0fRZgxLg8PQvzbwPjRua1NBLMnGQ/yC1P+UsU0GHDE7EGQ1kwNBsXB6wUyPJxGpyc
1LnBGfeGspUbXLzuu6a7mZn+Pfrt/4DPWlqM8+8fDup5rioOnqzylEPc9ttckQhMjBAguoo9E/Aj
65zmteajnjpz0lFTQVhlyje566yROi99vWXLvHWqOayFhp9wsh3FPs03kZ75cOVmsgw6HEGcICDK
ddI4ajyKNy/TxdrZv/Txli0blKwlbtpOR1lAYi2XzoupwVJ81Ua1UXEVCecMiUB1mhXNN0Q6ZJMP
xd8Iul9FjsBREPXfndM2SufFTM1pzFt9k8z5Y53yNW67hbmxK5SFGwaNNj2e8yOqEbooUgcnK9e4
5pdat4MF3TAScGCbkxtx9deYqaiI/Q6B9ctzv9T82Xl8sKkh4xnJoA9+SpX8Af7k7q4Bq9NKoGOp
8fPvHxqfRr8JfG9sTwEYruKgy/UBMkfOdRveBsElKG8TUxqY0+Sy09DSo5FrAJqFq65dTGwcMwXd
FJkTGJHfO1odzynwBkW9kA17yB25khRY6sYyWaIi1H/4pTmZ+Sxyl9LXvGjfUHsHPHnef+/ZVWw3
2P+2+c4dG/uhQP2ejOTvIUcsNK5Af7OGg19YaBsMF6aIVDpSgPnMr5t9yFqy96U7X7dHbSycV9Zd
FExBdUIomtzVTVHe65S626sswAbCjRLykaxjxQm36KqJe94pZLyh4ft8Xfu2AecB6Y3I6lPYkLS8
L6EJ1dylY5R/v659y4ITqO9BeSUJ9jL1mx3XaXdwCvLP5cYXdqhd6jvwuR8bd/LuuAqeS1nsE9nf
yLz+C5UWm2og170HbLXHzC200JXTnAoZ5ACmRwkUAvRUIkd2eRxLG9T7rycKaYirnDIgqJjoKW+D
34gsX4WFA5+A1XY1QX2v8433DkGt25TKx87lD4AsQ6ulXUF5fboM6MJyFBGYGdMwydVLU5ZfSj18
zXVxN9PoHvxl97q6Cl2Ebmw3AQ3pua2c+aWBGtMd0BnhIWvlGhBuYRB2bq+CZlspVEFeRK32oYDI
TGbG7wFPb/BAzmPJ2hWL+PTiS0ObLz6p674pNZ1forPSYzuU7iHpO0RWB7VW6P/pfkIX5zF+ONl0
CcFvZtr5haJ8/CFpG+e2cvy16MfSACyXETEnr4JAzS81E9F2Jk0C5sbe7LvJm67xehiA5TVMNABB
NE1Y6j6Bgg0vQG/N2LBiz+cP/eMFjtbP0/ZhelrheM1QkPnFzSnyOxOuRZQcDEQ8/bn8edmklybJ
uq1XdZbh9dHNL0kk3J1KcJFGDBKPtGS4KkyBYViWHY7n9LZ29Ms4sfY+k+aNVEO+cvgvbSHLpody
6FFe7Y4vEwOCWYMN6Fw5dnlulkzNMuS8jlxKQDT73rbqMefTAe/Ln0PU7Yme/2GmX3FLny9BYKf4
SDQFodPl4bvk7jc3mr6B/+X7/1Au8/k2CmyCd2OmBFylTvAeoO4QIi1xRUHB2qrDLPTKTv18pgKb
4Z22KSoPJREvs98+gYOuatSx6OVu7sCv0M0rvSwNxDJoKBPQcph78UKhrAy6KQf61P33MBHfVB+t
7KelkVgWLUptQN6KPvyJ/nPuAn7jFnRJty7pdmcve3lrfb5tAzvpB4pKEoLRTh9GaOhCHXJ/udnw
U48R2Om+DhCYRkTMfx8C+W2YnxHg3J43rMZqI1xXhfqaiA4NIsumIcnFsjMK5D0ZOLh11cO6OSyt
smXRITJzYNjEGKAbtFVDcOM0kCMfGVhN1xQ0l7qwDBuUpDw4E+C/z7k+YrtOECF2wTDr+m+X12HB
pO2E3RjoQvpJkfwAk9Qt4i3QsptAixJd5ZgCO1sHKpMwwSx5/04Rvr+A4hPr+X3WDduCX/WopYGd
8+oKEPiqQfjvMve+Qd1cxQ5bfTF/GvRC45Yte8SvoHVrxvfM4w9RVGx8Wh4oh8DcjOtf9GBaSB/U
wTUYDfRmWfVQZWOfGlq+eyhbpkdP+a16yqIMwaPLC76wo+zsF2TG+jSK0vrdUZX05CbzsnE+lAYM
1uAj1u6gQX8AzcrsdLm/pemzjm1E+UVTmKl+xyV/U8CvQ014p8opHmW/TeGq+g6/r26FBb9iZ8Y4
xJUZqXn1HsGRnFcqx07T0xgPqt8reMUsClc841JXlvkLtwOqbwyrdzCmnJ8wG+xvFLZvozHfjyDi
AzBy5fK24Ort7FjiVwPEq4PqfeDD98kL9tzJIL9UbEv6VwpG6csrtdCLnSNriCNoZUj1DpaK2xq7
eq7knlbhfdASgBPWnmYL02bnyqIWJAyGTuDbM0DNo6szaWHeJ5s2qm8L2e0TCOFcN6LzSD9cS6Ha
WQ850fo9mvU2FT+gTX0rZLLJ1N/Zaj5oYYPbmbO8dEibAI73DsLxePD0IZko6gL0tk0GCMZ3+xA+
I8P4Lo9pafpsB2FGCiX6Ur83ZwouX23L88sTNkSgn/T/uivZeTUIo3iBixvTiyLejQjkPhj72xpk
XmPq7hqnWlmlhRuGnVArmsalBSTq30zB2l8pyP55bDRVZmXGFjyeTTjRuHXa1DrP3nMc0w2h0GBX
D63bf42QIry8KAunqM060Q2IhsneTd8Tr4b4QqoPjRe9AOm1MoTPRdvAtm3dAyCFJaXrNM6bR+eZ
qrj3BC3kps247PS2Vp4YzcafZ81RfJRU6q70VBaVG89zOydC9blhprjRneiKewgfJsMbRS6/vYWm
V7/GdL5gCH8I13o0KBD3Fa8K9O9x1Xn/WkIEqYsOVBbx3A57X/2dduXKpCysq13wU84t50CsFnvt
RjdD4YIsAwHUpCo3vYjWIp0Lg7J1bFERWkI5fhCvEKu4MVSBSvBoKrVNGwEVjOg5I88Tu4pSgQL9
/19/VeYRFJ3bzHnmgsCBqEEP5baoenKlQ7RLfELq1SYqImRzcsAr4dLP1+5pbnfe0G46L9xfNocF
i7YTtSqCWIcTKO+NRxWtbmoNWvE9nQGOWLG3haPKTtPqqDaZmzLy1kmZgJuAOiMoSWNUfmX+oWM1
uOjAyYeK580YQHNjJQKxNCxreRB7EFU9ReMbRIB99gXFD2753INjr7nu8mdncA0Ts1BpX715aaV/
dTjaf4p+pD+uWxXr5OB9XYxFwZo3XSmoGM+pcZtD12YsPFzuYGlVzvP24bgdEBZDzKBp3xxATmfX
3bic7s44DFZ6d4r3K7trwdnaaduZ+ukc1H395idKdr+8YQyS76EPwtSf7Rhw8XTdaKyHoweS7SiC
Ou6b9PXd+QIhpdr4Cb073yDAs77ixRYcjM1MXaaQH5u9UL+dTfJ8np/NUjb91zIUcUIQdcd1sk6u
vLTaNNW5cqFgB3GFFy9p/yr9ANo1OBQN3UGh6FWIH9SbrikNooGd5Y0aSDMmgy/foqKJnpuhTMEZ
PevHy6uz4PztDG8lxMzhZ9I3B/O2zcdq3leRe+PldN42c7WmWbCw1+xcr+mh7I6ixfRNdbyZY0wU
VHn60mly1Be06Ro5wFI351F+sJwRIpiUuHX4mgfRfZcV4MEP3ofUrLjLBcfFLMsXmiDmmJrwFUIn
YwNC4RK1I22iXOfhutWwLB9CsTTvPBm8QrX2HqlBPPbEzThTsDOsAWcX7r129jeYIYarKsVfXQ4S
IFOgzDMxdQIELawRR9cWZaXnSrfS314e09KkWfYfCjnzzkENINish68pxMJeoV3er4GMl5bcej3q
EHWkfZ1CeAZQzvpAgf1y7yK3b+Zdysd8jR53aRTWxVF4Di2JhozKkI/fvQbky1GIvy5P0YIR2mlg
UTcA/WRhthO4250XQtfdW0+DY51EKyHnpS7O2+GDZXTe6ESU5O1rAsm/VwCoROLvR51NbI57PIPI
8JBHxFmbroVVsauUzTyFXt6E6Y62XRoPg/pbj8jO9/jH5SlbcPd2obJbqI50ijsvWaHu0sHdFPh2
6IRsurzbQbnnkKh7U7bXXSjsYmXUiImsirxijwdih6J0LSDV1rNhjFYOyaXlsa5EugGzPu0h3JLX
ffiQJB4oqBPpHk0LWKFQ1P/n8rQt9XP+/cM2gDSzlxjol0IBqnhujO5j6eljMpr7eRzXmOUWbMVm
1/agyiu8dEh3yYhXnIFo02Z94ZcaP//+YQQcjG8km3i2C/vph+wQKwBX8lroZml6/P82jqIIY+oR
Vl70DfSTwhtCxbdzSoNEaxDnpe+33CHgHdzXUAd6xYHLf0FjMH1tadpcxZlJA5tgBocTaEWnLn8N
OgDx96oI526jEl+sneRLU2Q5ws5xq0g2Wf4KdZ5XVJD/BhAKom/0uI4MXnAeNquMybTOqM+z11zk
wz2dK4g25orRKe6la9YK7BcGYvPLQIEHwoMjL/ZSp5BMJA8B9Xe5Ox7DXqw59oXFtllmynlUrg5Z
sa9Qg4papXCIZ5+sEYwuzZNlzKOkHc0UQPKjqNlfDBf6bjeA4OwZAmZFtr/sMZaGcO78g701YszA
yx4V+xnJq42r5XiYh3FNpmHhqeNb1lyJdkJ9I4aQeHh3qiGSEEqkxS0fBRDPqpkQMB3YyhNhaSiW
dQdGgA8dvnw/1dkTg1PdabehK4+2pcYtuyYgMjOMVZinjH5Lp4pvRnVdIQ8NbH6ZtkPpmx5zrDSq
VW67CWcQ71CveXmJF/aRZ326Yp0Z2YTbsgnmceP2tNyDiMw/TEysEQYvGJtNmMEazit/Coq9SOsA
5IoQnWyKs04jgIFxWFZXGrXNmhHl4NfPHHDJQ/C6848uyFnDG8o6vhE0Sd+bKhX0r8uztjAkm0LD
rXp/mAzWpOnC4Wc/zu1XFbHB2YTF7AGP7kRrkkgLRmJTaQSQkutmr8n2dT1k97VXPkpe7BJD04NT
ZX4cBGzlgfO52ggNbCYNZGJqHfVl8OLhBQ0Jjo0LR3IGcbLZOcCXHTq320NI4KYP6e7yPC6NzvJi
dVlA29qtwT47ZzdEiD0OYfB8Js033LgPcwbA3HUdWZ6sAqUeVEyr7AzmeCq6dtxAGjjd+Mbc8KaW
+6Tl2fa6riy3xjoHsHVfYBvm3QlHfg5BhuwuCZIbJ1JuHKTt83UdWS6Nj4Prj22e71kinsIhOUHv
963pvYM/uSr26+yfy/0svBptrB7K8AIN+fhsT4M5j5U/vwygmKhYfxPq/kfTTN9byfaX+1rwpDZo
D7JfBQSFg3zf+lHioe4vy5pdUXiqX9lxSx1YVxjtoYYNi8NfSnBltHX+3uXyuvWwsXpFEEFew9HZ
Hqm5+6BwJHDt5de29HcOpERj8MCuRAoWxmBj9SRoGsgYOsglDTl1oJkSZvfazYbuOmOxgXoBMW01
NATpUXAnzKwBIQrUmvU4385hbjat5Ct1tksDscy/x4HWyXFAR7Uv37nfz+9NyKKr6LIoVA//e31J
kwG6KY4HIgJwKrsxtCayMUZx/5het1ttyJ7jK9zAYGh7Z8gmVHdOZo/j+drPt+zbASdQMokWtiBS
8u632j86ZIaGzWVTO8/Cn3jDwAbqdZlsE5n2SCq0zldWgFucpcM+9JI1lMTS6lrRGWfqeJAiybBv
w/ovlrf+zwD8EWuzs+CVbCIOx8+J04AGY89wdIy59xUBtAcPPDWlI25aMCz2k56vMghuY/Y85gwc
LNrZPiTJlzFF4A+y2y/QpttTH+Iiw5UXSW6D9zzZupgyme3TNOi2Ze7Pe9627jVEiBCxP5/CH67z
EePhTFw48rkrVXIzp8L5WrY9kKCXd9TZbP/cUdzm6JiUkHQu4ZemPA32ouA3jKibOsyr7dzmK8Gs
z68MPLKMunUHwQKWZXtezgiRRCiWk/mhB6VfLKrxjQTBmpjM0nDO+/rDdKFKLvcmlmPVHfdunIOf
DDyeoF/ZI1W94gCXurBMfAB2PKcgqdunpv6CkFKcTI7YjDTajVPwdHlVPrdzBHmsYUC1xCBwIvdS
FfUuLF0XVx5df2kj0105DMvSWxSca+gnZnsIUO8ijmFE+RufuiOb5crt9HNnwiPr3G4VONk7gcO1
AbZhB9HedkeT+fXyFC00bgP4Goj5hT1J0v0su+AbyHDmGyNn7zpoHbcBfGldQttrwvRUObD1zdCL
DVlF1S8sr43bS3wZBf6ALZSrdCOq5kcGPNioqpUM1MIOtZF7vVNkqRzCdN84/l/S5y8egSB8XLmu
jg0dzBr5y1I/llnzdva7gGIYNOjvUzV/K0mLYbhvbTPtLq/yguewQUYcOskizKTcd+1830OIPc5L
9x6oll3CSxj4dWhfbhfq+8xjBXiu0r1kA0AODh9uSVEGK8c2/fc++YmbtdGHbCxFWxJX/kA4moa3
gYxmeQA1kneKmMuedOn43g9ey7ne6t7VTo2Abyb7RzeS9XBXT0SKvZNl+U+u8GfTobYqfCo4k6AW
w2M9+YkyvjTZtqWDfwqWQ5YWZFeSb6NE+HswnYX3ogugjFfPw1mQe+JduClzOoKVoGWI2KS1Q8Sh
9kLcewGn4gb6cm2p3hRXTrUPkz6Qm6BuWb4FIZXr7pkLEUBIzATC37ZKzb+RwQ/fvSlzy7hP6uZt
pkhJbQzxx5siHPj3XEDsZhPqufpaOGBY2I5RN4TRhswFqbdMATsEoeK5jYcpnJxb4Yg5ffJyBhKt
QTSOGxcGxKNxU0TN9xl8yfovyDPmzt7NQEa8F5Pf/q3yFgdlM4Uu32royfhg0AZWZcOrYPJi4del
+9WkSdq8TX0ZOo9p783srnbdvN/QLEw4+LQgDXYHf66+zQzFkXs5UFB7feUo5qfd5v84u5ImSXFm
+YswY5MQV3Kvfcne5oLN9EwLECAECAG//vPsd6nRFMmzvLVllyGQFKFQhIc7KZ1m2jA6B+l+BjG7
ODgDFHCOad+2IF713bzkL1HThuM//tQK77WbAzSmb7DmwaZwS/0Qchrqbdy6el96gBmaXM7xFksQ
R6+kUVkNCYWgDkFfRYPwWEy8AKSAZqwvflSzI7wnoCEhSj5PgBps0MjNzD0K9tkIcLRAryNkMrm7
LVHIGZMARSrMWsYKYOTLKM+jA8Qx6zvXA7FnmJCel/JX6pfGuTRL4gCovEKSJ5o7JDqymg/VgQFt
1ddJESisMgmEh3jTRFkM6+uaBmzDhdvQZk583gRutXfaKaPPzkDZ1xhUx4iDoqLrN1PgOxOKlvn0
03hqejeT052KkXcvMydGwa8WgUz8tu+LxIkc8VYjjEZdMwvb7MjjNA72BmA2CCgA7R/kf2YF1PO+
Tb1J1a96KHn8z1wqV27GErrdSTTlAaTBgx7LGeFuOlzku+fuwBuIVZxy43RfHSTQ6reakNnbQPrM
QJtyiJ1OP0DEM6AJkyE2UB/4/k8a0IGAnCrSmB6ToWGyjnP5lxOr/CFk0zQ+qHiAAJXg0KTeSQHN
ky02OoJ+VU9/NEEx/ayh2VPeKzoqs0EGqtAnFzjG4lDOUe2+uaOf9RCGlDA+gUmDjhzUPJtN22RM
fwm0qFkyU2d+K6txzCCVGfm70MzsvZ5ENx5xutI/K6hXPEVDP7hHb3Qid0OZYV9455Kv89SQ9GxM
XM7Qymz6536K2vwOpVfQXtd+7Q1HiP6k3r0BHa73AGmbSnwfwYFdbh0xKvFYRWmmoejRygkS4qpv
n5ys8TiIZAb3e9u4YbcDY12TJz66fNzXWneTThx/YMGBuKDbAr+2gxmcWAg5zg7xLTpz+zLK7sMs
bR7BU9e9dKmM/06h7jhucJq00z7zqhalqKJ5S+cJ0tECKfkvkFntyUZ3Tkh2US3T9sWbCHPGTTSU
kX7T+WxAhzuRMW6bBNZYBweKHmyG1S+qHCrxeeds+qbDa4w+6IATp/PIYzeM8jXvstg7QJ+agrSU
i/nvDpPZJwVaHN1tJvuYJlT5cXRQYTq9eJ4fqG2Huni3pVPnFJvAID+ROJWMz2Or+z+HeALtUULD
lIxweDzPNmLs+d4P++AX5qHvdgOvg3hPoKVKtrJSF5ZXT2LvZB3lsU7auCzF33Bebbmhncu6DR1C
4PxI2IgZajpxFqgjqJzk8GxC8DuIpOyMO+8Gj9BS7IgvO/rscq2gSVFm0Q8cBNh3ALXm48OoK4iG
trE06YsRFWAdes7Qxd+raop3cVmhKJFHrsRLR50fIp9PRHrf+6PPD+jicus7oNroNwddYoD94lDp
9lBlIemUtKHu/L2MqnzcZqVpzu0cI1FcQRXXORTIvzJ4SAlahTCo0gNoRLOuT8omL10/6dDcCyJ2
TxIkLtIMvjYsUCucN6BHJV2FwyLrf8FgO8gIlSn94UTUnXa+05dnjdPkG6J+WT7FYTe7rwb5dnIy
4yibbQX1IX/b1CFtT1MVKsQpTuvrA/c4NGGRQNTOPvb7ZnqLoJ/c38cKFA3bmQX1Ayn9KUXRuAzY
kQsVNa9hnyrvW5iOZuMDRRImJZOTm9Q0Hn3UzPkIcBEEPuEqMhn5e+Ancig18tDQxMmD0T+g10Cq
k9O2M8A0BgwT0LUpA5w8iddAs+VUojuOI0YbOBSHjMlBAjZl4HfbugzQtbfZJabBkVoPJEEyCbsL
rfvRz3ooSgCYqrRRAJ6AzSjbDfOMv0zh/OWx8QHQ3tUd8QV4zcHqdpcXafMri2dgOkTTKvGFFFXz
BgXO6p/W6+HkZRBQ9kOPcQ9aVwE4DrjnzHAqS0m6YYNeHCofIVbfQxY8hpbge1jEZfoNRay53l3q
vRPIuzsh+Bu6ztILRZ2Oql3KNU7ntswntgsyPPAO6191jyyLnbsgCxjfEeN1PzOZI+sLwR9wG20k
5DXRWxRfUh1FTkkGVUQF1keca6GT//S4K6td7M3yDJ2guEExqij4XegKrvbXI9ClWN267qGYCTwl
RTAd8Uzfg/ktRqVf0FfTqWBliKWrjHXbIxxkY9rDVYaUckKyVoovQdlUr7d9gHXRmwrlej6wXPtu
zrpsY4C0Nbu+zKBOJ0DZtlYWWPoI67KXgi2oLJA8Qsez/ubXvN2yzF0DCy4sgt2ikftg/SqQkN07
0i2PceD/qjrf2YEFmq+swdIIFt6m8iiIpLsg24O/qTiqQFQbgwznCQLBa7m1heuSzWWWMYDExYg7
Rh+F7gkELdkmC41/oJeek2ysp8P1Bf90JZhvF8pZzgsekVy+d0Hk/clzaMy/gSdVDyuZg0+nCs+/
3NU+5Fj8LO5BmkbUa1i6iMvV0AzFE06sKk3A7B6uqVt9Ol0Y5vL7h2EqGuuxi9vsbGo4HfTSsZOA
Gu4mYySC6sSqCNinSUmMc/nMD+MoPoqCAeJ8TpXTX467e923j8It6q0f0x7HIGS8K4gFXF+dT4FQ
GO6yah+G08FgjHKr8Z2leZu4EgxMuRd1f8lC/kQt9KKAjh6hdAjck19GNw5qObGqz9Mhyz3zPoHm
C9GY2FMWvehAPiBFgDtYnW4unaeZWNOlWPpKy6VxJAZcwOTMu9G4rl4GlKV80Xwst6bkbXKh1Yh4
/Pj/oG5a2paWn5OASbV1EeXnNOfRvrpwdOouBHfj3N7E84O1s31cXmEMkCa/V7iQHc1Ehico6a7l
OhbmzO7rMOlUsg4StO9uLn8ybX6vEe4NYMfty58qRNocixaRdK3quWBhdo9Hl8cI4gyrzuClKk4h
juBT2rT8VBIgJYtodZwFC7PbO6CNWpjANP07YKTOXxxXlw1ugx3op0FWQevBvzOZe6wDWNx1G/s0
a8R8u93Dn5ysTtEudJbGD7YTxVjhxZ5dFcYbNEmESazVGkplYd/Z0ElZqDjqZj0+pwxk+7/Jj90w
/VGycg3CtfQ5lsuALGEJyEIzPVeKZ/Vf3B2C8BArkkIICzW/uK63ugMz+7brGAtvEhHAJNo+owAj
TgGux7PxGEXY0MrXecIWub5EC4eUjWFxlQdpNRBKnk3WN0+otuf7sqOQ7r7++KUps5wB6OmRfWYI
TSdvhiQLCNcScE/Vh64Dv/9I9TsYvdXKWEufYnkFoYQTFMJt31PSx1+r2YvB3R5nbG03L5ipDVyZ
BgS1wSDkOaVj5B4rzjo0YU2gi0JRy0wmbOoka0ctV9LHCxvahq+YvE61UrU+i0l2Ej3e0kEWORR/
166J3q6vz8Kc2biVNCd5XJedejfBAMpb3CI5+SuL23E8Xx9gYQN4l8n8eMyCBnLSuinPaAIQm6rW
015U/fhb7zxBhF1vQfO3JlixNGOX3z8Mxjo9OK0u47fJ7Z0N2AjVgXfEbDOIjK2c4EsTdvn9wxAi
dKs5qIPynM+avlZVpIdDlCtciK7P19LzLWt3oc4IpGiqzmIMywPjfVzual6bmwDmDDyf/37/aeam
rJCePXcl+i+2skWqLFEuI2w/4gIdbK5/xtKyW3bPczRiRJTwV6bm8qFivtmAPw/6Lbiz3jWl/FrX
YbiyJEt2adm96+QTeF8NwKhdZkhisrxL78gkI34/CRI7W+SXvbX+pYX1sYEqKa4OJpY0eqlCQx7R
reTu/Yl15+vTtrCBbXSK6fOOorRcnHWU0wOyDe5WjjQ+5qVc03dfmC0boAIE4UQbkL6fJydi299S
mtCi3ISEBJuAO2sxzdI8XYb/YCc6Rxky0GkGTK3rT8cJIDLxGDBA41ZWfWkAy9ZDEcuwak1+1vXQ
Hbqx6E+khx7rbQtxGfXj61PV+RUC2LPrs9BN/AHCGRUSjNmubfp45QK39AmWrQuaKhP2o/OOOGVQ
iZ6RD0pKkPftrn/E0lJbtg5+KaVLiN28uwMtceSG3onVTQKutY0y4q/rgyxYumtZOlPezDrC23NH
+gJqNN2M2viedkNNFTSzgPV8DoTDhn80EPZmrXtpaeosm4daB9qt0JX4xpXU4M73oc0lIObYrviv
zw3Rs1ErRiP5DYmU7Kw65NMhUieDcJP2dUzv5nosVk74z7/CsyErdDYhQzsUe4MWJRCVTFUoQkwO
LvDX12bp+Zc1+7CL0T6ESlA0R2+yYsGzaEcOZoiqBUz0+vN/Qwv/U05lYIT99wBiGFLHpV7woruy
8A5NnKLskyD3oJwumWoVxw++Ds3wHdjUSX8DG9UQ9ElOm16DgE9MPD0XsRPymwwK0jn/fh1oI9JG
lGXwji5DtmFuNt15uHNvr3/t0mxefv8wm4J7YNntwwBp1mraqFm4Dw258U7r2YRUaeUJ8LLx4B0X
dfBMMzEWj34jbtKKxUpZviAPiQknT/nvbHDQL04dXF9REqjFvGXdmnbh5w7Hs0VoZIl2vICY4D1t
obiox8Z9UL56bKO2vvOC5rYjzLPxLJQjV9LE6PeCmolb7rpQSO+bX8R9cIzE7GWPUEXl6hb+LgaE
/b9X3QRO18gK6yIKHn9nsvPK/eDms7viaRZ2lQ1w6Wnas3nS/Bfy8n76HIU5+U4GNHd8vWnX2hiX
CarxTleU+VsOtqdtlZM/gEhZuxItuEkb4cL7tsr8JsjepxGJmClIRwpljgK8sD2cxf62L7CsmnHU
ckw16DPV2VDv06zt/whbrylWoH1LH2HZNZCiLYA5Xvyu5zl/yNPU+wMFxXpH5Cy+3PYJ1kkv0QhE
chY7Dx1UCrY5IqOd59UrK/y7d/MTL2xzTk2enAGZLrwX4QVdcafNiCOrI2UufvCKR8Ujz4ZWJhki
JrJNac82Lmd1vJPDPLinWcwtPUQl7pS6CkRzSgHBL56pbBtny3WLayEDv/5UJTpXDbRL8iEShzxV
AXJVvB2bgxewXm3HnhL/j6iF1PEKXHHJNKzQQjRqBL4v5W8d0eOD1iiZNaT+cX1JPo9bPJvTSrFW
d8LhHDE8bj0+JK9yrMg0INrryvrF628TvWWeXTTpZFPFWRfrMzCWs3mCvmvrAv/lkQrIo6ncXv+e
Bd9r01pp8AB6PrhVHw2wpPsLp1WVZsDpeNAfnv2bhBTxLVZEEUov95pyJC8p0+19CHH5De8D8zzS
Zi1qXTDH/0DNeujnVWVEXgz3i0d3jpoNVTXbKAn42W1zZXmUkIHEuuENf/xtjnzQ30OO649iQZRk
QdyuLMnC/rX5q9gAlE0B2Z/XidFqOmmhqr3JBpqvhDsLW9gmrlKUzBXAAeocBt10ysEFyFNCN6Lj
YNVvhv3NyVXP5rCaisY3bkD6M83ySB+nHsoJiPMCAzdJVLHWUbc0Y5bFd1Ho+Kqs2VtXgnmdsoGd
MzJEx+vL/rs+8ImjtFmsxFCPASoi8YXDrprF3qn12B+RXQVFlQtCK/bk+wJkelQEQDUKeEZy5AOQ
NnwDgUYCQq0wA5AiDWW60agPd0c6odkv3MimTKtiW5UAsO5CAFYBM6mhY3rHSzbRswCLDspZ4K5t
73g8Skg0ZWDzIJDaiREn96QIHrkfQkp9a2Rv5D6P0i47TFVckSfOoAe5ErAv2JbNWsLKlqsAlOdv
aJQHiEpOgeg31EDJLqmdebpJGoR5NmtJWrcDSpJN/oYbeiOOXZh55uA40Nm4vpAL24RcfOCHSHxy
ShQ/c9m8TXkZAoqqFYKNsnXJWpZvwZnaBFIdCjGEjFn3ptDh+SjT8kwn5n6VYXGe69ukBAGGtGrd
YHHKRulM6atbRWUN9VvB/+BUNPFT23TjipNYmCtb86eDaik6RrP2LZWRuKsih/xZO1reFjvZjFEp
uqncUQTijbM53XLcvhKXjOWx5fwmYU7MkuWsU6dHoTbUwxunefxETdc9gVyVbK9vpQUfSi/T9mEr
8ToPcnQJ8zeT6YZGCXpGh+AbhMol6NzmNgCfK3h22I8xBBRXrpjh0ppY4aBBgIH2hVZg0Houk7Qu
RZ1Ao89ZoxxcGsC67Rl/dOmUkRhy0yUndyLTPdKuvfb+uT5rS/Zh+WkfBHsmMjx+BRnOFxQOnYfI
8/iTh2buGjTNGXoorw/0ecnSs+miWMqARJ0dyGAyMpxU052mEOqppsyA4wvKH2E/7IsW9YTrwy18
l80Z5fbgLpyUrN6q7kIikhdV4utenTowBSAyQGx4fZyF9bEJkdTgRHNp/PoNGDI/e5x6JMhfGzHR
6UYPaW1rGXZOG0BR5jVkJYfwO23nMQFb2a0TZe3giRiAFdUo32SXZ0fDzR6E2vERYCCJijXwdLfN
k/9v6wR8mvqiD6s3HYMCVNM+f3Ba8nbbw61NnPZipIODU4Sjx2SrdSi3kMf1V4KNpSW2MpSXZCd3
ujp7C0FIc+8i0j+hOeZ806vbxEdTRErPz6L2lyCy+lu7bMwOQOci+Ljt+dbJZECkHeSoRJ01x514
exEFDO/jHHjflf25EIjYIjgQ1p7quGj5lw5y2lsWQVASSMr6FOm629/2DRcb/+DZ6QQc+0BG75Uy
CA0mmCOo7cRV8O22x1vHkutAV5g4TvZFeYY+SCBTD1oHNzoIWwdHIK6ZSnREn5nfZgcmW68D/hxc
hivzv+DoQst+ZQPK1qCc1VvaoU1jM4UFVO1k4Bf5V6KGVidoRgnbFUNbWmzLiqesrTNHR+xVtax6
x7n0hyBB/j67a8KMSwNYlixmXBCx/f1XHXnqpOqWbNCTFqJTZ1UTauEgCi1zpnmWxVGpnDej0SwT
zmKH/TQ+SNawg4qyLmkZj/eNMWt9s5+jkDybzEdUpMEduwjOQoxfVAlYWJJS0j0KE9zNDdQWwlFs
gnguKGDquPVd39ULn2ljFgEaFh4jzXBmFKCWFFqmxmV/a9QlEyQSdVLo8K73cAJfH27BSdoQxpDM
Y5aX3XCmHpFbTsZ+W8bZ37c93HIAPoix0VFUBa+hcEb0vE6SVoeSEfH1tudbHqCdxhngal18GRqa
Q4PSqVP1nTcOwLw3rsZl2j64sM4LdG5SPpxdRe45yY5CgHmMXuiNmcZJ69QUdDmXlNVtX2R5hYm3
KW3airxWysgHw5X/5FEY021Pt9yAn9IUwtoEAjFsDBrcPuPI0fGuVkRD/vq2MSxPkHeeC5/sIKQa
A39PidT7uVzTbvmc5YV5Nu6QA4Q+DsjkPgLRcjeFzUM4g9yfyxfusMfqon45+fMziSuw/wd85ZMW
nJsNR6xGSqa5mMNXXdYVCAcAmaEDWuIiv1iLFhcuQTYA0XQSqoCxcd5cBTk9GQ4Omq9wzRUj63bG
SX+gBXKNOnnpcy7v8GFPS8pEOER9+wbMcvrcNYX4ZdBx9+64jr9Gz7C0UDbwEM1DVQqmdX32jffc
KUGOvxFBnEx/TrqSD6gpwLvVDXAPcXjnpGtyKQv+zMYg0hk0mhy9l688aADZQm3cG95ISZriFkJF
SL9ZHgGtKGPH3ZC++nOet3uo783xztXMX8mKL32A5QGM04ICotb+qzt2OtuD5HaOD7PD9a/r9rm0
+pYPUGGIXkCU6l4lycCZJR007N0x4QF536Kxkd1SOaCBXZfWVNRxO7XkNDngac0v8HFo4qxl0T4N
nvB0y/G7qesMaub8pEeC9hmIRsW7yJPoozPQTjkR6t6CD8BA1mpPXROAkt0nJwp9ueM0Zr441r3r
xofrq/HpauP51mp7jlAexHdA/0DQgviE9jMU5+fiNqHawK45V27L0xE9pKfSuE37JejnSr4OTuA5
csU3Ln2A5e5po4QAZI7cK8dDgOST2GWbQk6o/t82Q1bYB9Jdr0BVzDlWRaESENTkCcSJ/r7p4XZp
udPFBPBEPPKkgkjNNg1LvQc1y4qpLcyNXVgGgKlvSu7re91c9Bvz4nsWuOUttx8a2FXlyk0NB5YL
r85NLrYanayJN6/V5pZe/WJ4H84IE6RBdymZnrh2+DYVpNyU7urdZ+nplvkaHGqqqnzn6ELIt09S
hCR/+n27xoW69PjL7x9eflY18WgPrE0yQxdvD+3wHrpGAL/etmksm3UbR3UlGkg5mszdcDfOqTmQ
MrspNYmFtRy0jHUpUiWdIyBW8xPkLcKEOu1aBWZpbix7FSO6QyrT8iKphg4MpbxJsvI20B7e3TJW
tDuyoU3x7oDiy3DL2mByN6ko1D6rwn+uT/+nBxgN7GJuzkagdNLSQGGyKcz3OY/MpmW18xgr+fX6
EAuTZFdy/VgYR83pgAh5RlfS2NXQ8YHpbq8/fukL7AAMSCOGyjAej9Sdt0lnec80czeQGFgpClye
9J8yG+bIMl8VmCjqcTG9r6CEanJnM0niJjJijzMHq3XR6+/XP2VpIMuSRdA7hIE+9Hi5Hwk33bDZ
fMmH+h7xxDby05UFubz3Z99jWbSepEih7KdQu6MPxh/2mpLtFM3PRbg2xNKaW1Y9BbSbpgYSeLIe
AZN2oS7CE8fp1mDfS8+3zFrPnlJdL8w9m/ImQTMYOpSz+c/blsGyajDDDaDn6M29Emzf0XNX0Acq
6Pmi3QWFyLWofukbLPOeSDaBSgCkElINY0J1maKCemOoZVf8pgiFV2IYGCsqU8RguuscsetnMf28
PkcLL2/X+qZQxpygGeEoyqJNJpk3vwiks287ju0iH/daPkoWqTuJJlOwJIX3boD8wPVXX7Ayu8Yn
FJLAPK/BPgeozNGfUOxLywItk+QUdUgHxaCduD7SgmuyS326HaAB7RTmPnSbF8pCthUmL5NMTDcp
UYA15LI8Hw5nfxrQjNvV/QE0jQ9TicBibpXaXn/9pTW2jLgC0M53Zi86qS5++V03AlWMXnGqS3Nj
WXDKstmjTeaeWIqYyI3BWZknddfn8iEAH0VzvO0bLFtOiwqKClmDCSLkHyEI32b4YXPbwy0LZjlS
C0C6p8cQGsHN1kd1bz76QWXSLzcNYNfvgN0AQVLZk2OeOwPbhA7YfJjj3LjANnxCNm5clH4IUMg0
xyJpMr96LL3uJvkt0NFcDPDD5pwgiM1byts7f4aWHvfbMSE+Io3rc7OwgWzQRKrLvAK9dgRlgRJE
J1UMl5HQNvTvm94dm5UlXjgr7cpm3qu2zv2hP7hkFugqCe9TSuc0KRjjW29Op1/Xv2bB1ohlyMoF
ccqsCnFHHY2enzx/nkR94z61tV5SUDy6JC3HeyGUqTZu29D4SwDZHXBy3fb6ljUzphx09XGWJzRG
kZkN0NVshrXawdLkWEZsQOWDNl9Oj3QkWXqoL2CiMXUp3V1/+6WtZNlxXmJrggGKHjlBPIfCaQEO
rOprNCMdfX2EhS+wC5x5VQ/N7Glso2D4LvQcbIdKDSsPXzjQwkvx44OdKZppPuQF/R02TujgA9SD
9gqY/rL9CxCvOdo4kzsHK2v9Wzv3k/jRLnaaGGVIFnv0aOqprRLwpoRlMo4DDcCoAgjItsra+bVo
GgaaJK5ICPK1IjQ7p8EGPwQ1m8xr1I7hL6TKfbXFW0JcGKWT6Yfyalc8pTn+yREQAccazwoB0uST
9xy8cXInmiJOj0WB67+fUwbEQRPQv6SEetU+BDnrDyRO8qdU1RfushwFhwRamL1+cQxEn6npo2Ez
y3QqEp0hgZSwuHa7x2HOJN8ZGc4pSyitKaEJJxCB3CraixxXxiZrOx/aMo6RME4nUuaIbwmz56mP
tQgSdDTqqE7o6OD/dqwYq/oczsBxnanLkMMxlQLRXRWit2jjF+gRxgZr4w7EUznyPPgB5Gs5Wopf
aJvh50q4wdssQO78UoJIDSSXShT6rLwhYE+hCHyZeFSn4/M0s6H5EdVOlG+5aLJh59djH2wiVo9/
yZxU/5g6V9+yDGRud6aiRmyRHgD9k586E3Q0ApUBWOsMWoOcKMtzneiUii9l1F8ggeh09nelm3ls
E4VV2K9AuBZ8ql0K9MusQJ8G9L0NIBZpf9mpfkxCL8nSaE+gbuzcdvjb1b90KNCfG7sR6kwgFAH0
ZoZsXrEmSr/gNcLL530wuxSUWU4aUXpM3Sx/SSGBkvajAKR7jexiaYDL7x8GkEroFiRd9JhjyTYd
QjG6ZQ059WNhsu1tjsk6d8K0Ni2aTSlITuMXpoZ+29DVmu+S1wusD4A2XhTKUh8EaYeNocgcGRrc
FkCG1pGThmCxK0ZCj0KLs4FOYZhEpHK3AUjj164KSx9gHTxT7wyxYhE9hi7/lucoGBNntTq5tLzW
qSNCFDtwZupD7tDyW16FziN4LqMfJFbuiqUtDGHXo8GNMoxsvvAuEnAtdK1APlzm6a6HVNLu+ga6
HDKfHAY2nY47hLFpcwwRhuMXsHyaXWem3v3DbXHISezW0YDjJhNB4f51fcSFRbGJdZhKy4gi/vo/
qw776c8wW1PFW3r25fcPJoc8cGwCcGvmiXTdYOuHEI/MDISrrr/60nrYBjGEjHQp53euMUIlIfQm
vk8pyGRiEpU3jmHZhQL/heRdhk+gtBKJlOnj7/utcvVt1ShbhUbNqi8AqmFHdBXNTxRVHf/Z4ZBr
vqUoSIP/lKVdnemiHwG/a+VPF6Qrm8jENwlj0cAuP0+OpGQEucnRjz1pIBGqiCBb9JKO/ev1RV7Y
Q3b1WVccGNwIjW+/w2CThW/OhRrmtodbdyo3pZc4aGbH3HEhWK2oBwR/Ibp6pT1wYYfalWaftGFL
HBcvL1Pnq39JZoNJ9qt3c1bbrinz3u/i0MtwKFwyR5ojleq2eZ/cnvS3q8pau3GZZRM4bJsalJ8R
KFkk+PRvXALLiAFiQhzl+eb+Is6pY2R1EGX02+vruzT/lvWmAGWnXe2Ze/Re/CHHBrSIHGdC0Aq+
BkJdCL9sDSagKt0GlYv4lF9mxxXmFQwQ6fPEofSTOd3KubBkBdbpRnUbR5FbxKcK1wUQnUb9xmnR
1X59mhaebnPXIIFW+9qT+qAjwjeU4+kRiMCuP3xhDWyiGihJ1A74JdkJubsgAWlNnlQ19bZlsEq9
tDSEZcaSF5DZbZgH2tosBIOvpiixFQcQxvng42od0ODeFgPbhDWuliB3qrD9k3zMUfIdO/lQo8hw
uG2uLh/44cDMg3JExnGSd9RFydfvKrXnIaLIImqa23aSd9kDH4Yws9eoeAa7+cRausMtp9nFPj1f
f/+ljWQbcyz7SV8AVik6nx7FnMavTTH3twEebHYan4Q0zOIS3lT3jrf1M/DURc5N5PI0sAWSfImU
C+6s4YmDF+8gA8qPQ0ZXQselibHsF8CvKo3HOMiTiZJ/QuGVu7Kph+1N027TzuRDFYOTrgtPGiHE
I/BaVIHa1dw47zbvDBt9l8n898v7wbfUbdWmrky34nwWjNemnHHjZjJpFjfIi0PXdCornUzgNN6B
C3Pa3zY/1t2yKy73+kvzchVfpFObHOz31VoL/dL7WzaL+Nlviceak0+aO5BMeF8FpEIPA51B5339
/ZeGuOyqDzbLJXiFmMubE0eSeYvkQ5xQU7TgUkdIen2IhWPMtSzXcBedmn3YnMBgMG20m7bbSkGm
oCdAePZZ5bxdH2fBEGxtpMqPpi52q+YkVPNi0noAb/1qNLo0T9YFU0gHzPp+0ZwgqgAmG4U7h5Bg
pG9jwCJve3/LkE1fKnBHg71YNuB91pfqVm+Gm64Cvs0rIz2IOSIE5XeidOoN8KlHJDhvO+T9/9DJ
xDpqI9+HnQ3afWZCg8Lcm0H3f8vEgGj933vUFd5FUQs2FvoN2PxB3je1jVnZnZ/vGhC6/vvh6FWP
nFb22J2xS7+F4AL/NVSmv4mOiiI79u/Hu3kxZ7nwXPgG5G3cEoDjHg23N768Zb1uF5R+1Gk8XdZI
nKWlQw7NMNS72ybeslwqK1Jl4O3KEzf0fnGgQt4Gr6Ir0dvnfsG3UXoQs6TgiHLK0wWtIaQ8pNg8
vGWPgcf+vu0DLKsFCQXSKrVqT9VIDEAauKFmwllrs/88o+LbdDCqBFG5rEz+mNd1DpHNju5AvYxs
QUybDbAC/Ra4PfI4sFUA6MJm/Q9wLyock8+Q2xWl/OmjrXwXD7dpaYNN+fKZH46CNJi16asGm6lS
kFpgGv4BbarTXRX374HGDeemRbEhfGKCCvw8w+I0GtZBFOGn4HPW6BNcCaQvbuG/iS7f5oZhpGBR
CSkWiDuU5BR20cVdv6Rh9g6ZP+dtyFEQvO1LLOPm81BK1yj4jmKGmmM6yi+zt44mX1rty+8fF8QB
XVWeBuVJgeMbaMomf2jNWhPi5weazyzbNmkPdhDoS5wgERmcTNXSlzwm3dmHdsTKlWPp/f1/v7/b
eqAmzd3yBNnLZzS3qn2D7sH9bXNvmbZ0IBdMa688TRotI6CeEXeQAb/x4dZRPJV0RqrU6KNxkTBQ
mpzjuVoLqRfcho3kqwhYl11XDQfIE37Li+4k0OMo/sfZtTTHiXPRX0SVEALEFpp+2HGcduIkkw2V
mckn8X4KBL/+O52VozFNFRuXqxcSetx7patzz7HVtSTQhhig1ZOPG6awssgmoi/JHDw4Fgq8GYui
31qAE4vbwUL+NRSV9ev+Qqz1YUTnpO3hYVG5B2zCdEwaKOWCefeTX2zGiZVtZKL6OIRs5OKK/CKI
hvJvgQKXFqQX+7yRKfyFZ7xxGSZrvHiD7A9lxt3TWG0eG9e+3TDhumM1tHB8dUlrpD/Y2DYxBaRv
X/g3eVhqqPa1nTunl1sKsHRQBrSNpVz7csN4VYBKqWGYUtw9rOmUonzt5Ixbzmcl9PuG8fKmaaZR
D+llXiBb8ji5UA9IgFDTwA9EqrPymkRiKTYPeSshweRfSSFMP3i6nk63o0YtvA8EKuO9X37qxvzL
MKjP901hZc5MLF+assSGgqc6UyurhmPtAChyCiaixPf7HazMmwnmY3KwG54TLLjns9ffz0QeOFTi
Wbvg07JFsG9jmbA+5XEIe+Fkc5lBzBrjnNFCR24TELQ2TbfRvYlrOA33jCyJOiutLLBb5hA6QipN
zhvLsOKRTDQf+Kt7PMVr0DZkDeDqiTXOMfTN9NkmYAe8vxJrfRiGDTBrIqmXzZffZ7+8RcIUUIZ/
+3ofBYFHPefPWUKqVKre0eMJmhAW3v41xHUOrk/sXbTl6MCw8H70aDlWxXiec+9HyycIOBX6dd/0
GAZeNygehQT5gHxaRp9/H7xvhIwZTXZR8eDrjRCtyskWXbaMF9zdsnAavCACgnkX94uH8p0/J7+W
HQccxsX3T0L+6DvUJN5cxf3JWdn/JpoPT04Zd0Dzc/kNT58bcIz57Wad47vHCwY/8OenBwKEMcNQ
yePcQQgp8YLLXHVPlUMOHZcd6nzAxQHUysYT4LseCb0ZuzS30qVcxha6mYXnH2ZSfCSJbg+ubC7Z
skUa8O6EoRNjp0rtF4Co1/LoqUyG/phXR29Ru/ga0LqxV8ENkHd44E+PeIEdzk5Rlo0KeQUg2NZD
1NokGXtVqzYBxipJX12uP9p8uPh2f8E0PWGJ9iSwmWeGHpbl9q30Mz0utZWcMocVZ5m5uxI8aP22
1954bE4CN2FihkCVXec/pQQBMpxF6g4b3nRlgc14A6nQoXXoTXxpYqgoKlsJRqTOBaPuYYfJYQBm
yNG9ZwMTJo+J48iPgKxlH61UphtvsWuffwsSb6ZnkePkqAKTj+i/WCG4IJomtJag3PUWjs+/dfym
gyKYoeXpLPJYg7QYNJHCO2gfDG73J+fdWIbWDRtOhAYi14UYqbZQOxw4Q/Oz8b0hZC6FsuD9Pt49
gaEPw4Qhi+eMfYoV1o18XiRrQDddn1OhHjKfP4Orf+PGs7YUhjGXTjeiqJvIYwVpG1D/D3WY93yr
xG7FkM2gM6Zylg1k1I4ADD5Lnb5olG+EKL49Zm61q9yEeWbsmecg95DAkKBs9GTIMjaHlldfdq2D
GXumGskRfyHimPRT/1gmycnqkydUrg7hkDQ5akGb4/2eVuKQCSqXRKnWL+EzNMsvrGjBWRDXPP+R
pc1laBQUTqt/9vVkGHdDpNXwm3GXfXAJgh994j92ULTsfR07UJ5KM3W939OKpZggc+pNTAh9G5Pv
uxHy6XWIB/8yzmoAqu93sTZthqmPSZs3kMlCFzV7KVsaOWUb6cY+gw/pWMxPfr9Fi/Eu0Qv2mWH2
vkxaKFag2D6pFkgaOpFO8+ch4cehZx9z8FGNVvBSuPLz/YGtWKZreACROTLpapwUyCCRs7QalDOG
tWV57obpr7gY1zB9miJgAG5sxSDi+JmBZtge2U0OuMuirOkfMlbveXHFxJnhHKWkAGSUVgxqTj+e
ANa7JMKaX+7P08oeMxHoFESkBKSnN0/Z18XFtqCUGXE3mIDwpbjDHu53s7IcJhY9E51gKR7jYimQ
jyCcNgc3E3qj9RVHaSLPQU0y2ZXGIbQGSd5pbAgy++mUvc7IskSagcd53ygM03fqhA69PSVxYxfV
5xbV1JHI0m4Dubo2R0ZcV9JnusVhJwbzdMT0oEInGcsNQ1+bolunb2I6UoBIHzdMHFkr6wcczS09
hsOoC7xUI4ddDqGTlvmPffNk2HquGgkANMJvCVm05mvL27T8KMF7sVXkszZVhnUvHmNlTiHJWYi6
uAI7aR+7Pnd3LoRh2lk9EEsnWAiRWPTDMs9JNKmper0/Oe+ztgDpYRh0nuAaDGFo8nViRYG6f18V
Vn+ExCQKIWJpo9CqPPYj7h0ypFWBAumT15QpDNKD8jNzIxvqkHJjqCtezMTcD37Ch7Kok7jty/KD
5Ur2EcI8PBasS6KKejqiY7lVkr2yB03cvTc4nZANseI5h+kvbpGcuqydnhTrUKZQe0l8f4ZXdocJ
b4aulyjHrE3iSub1EapIMhyHecvxr3hME9lsuyrVg8bu4N1kXSaIfEcQE2YHZttbfB9rE2V4Ar8t
bqxMfRLrqTyPA2vDRUN0fLDz0Jqdn/tmyfAI/ZgGFHWoSbwsdnUk3F6eK5flG/F3bQiGC7BdwEZm
jbVWKfdCV7bJdeFeF1GIVZ+6ecw2Tphra214gsSykpHiiS9uhyKJrNqpoFdeiZ2tG54gdRsn0Ki0
iXOQ0l1d4vMLS/hWomFtJxmOwG7AhJw5FfZpB/kuUO8OTyA/zD/qHmzPuxbZhDW7UDv3WI9FditW
fEoC38bbQNJH+1q/nSrfBBWeQYzEvblhYtVZrB3LxluJ4Md9rd981pvWg6Dz3RsENS7gjb8pNx0u
Ik+bjVi+MvkmonlZWLckIktimjvVGRW78kzHbDpnQ7EzjpiQZtaBLJp6eXKzAVwV5IgyTrHkW5fc
FRMz4czSnaYMZWhJbA/aObC+OJd9fRlS8muw9VZqcuXYbspyelnPZaZ1cKhHFTWeOlrSeci7/AyK
viNuXbEPew7SrSfEFXM2dTrBmqIVUACIR2NDD9pm2YFb9la55Uq0MyHO1ewTXpZoXZDg0nL1hWdl
FpfeHOrOtiNCtd5pd4Zpg0626oQnkphQAe0IyOuEUHKp9909TJgz7KHMkSlOYubkP5u2yUMQK/01
Os4J5QV/NynbSg6sbDET8gyyCGjpUngobIPgG1j+8w9Nz/sLwUU3tqUNOqT7tr5ijaZAZ50lXTBV
VhBDpTqNgAGFzI5bOZEsyRbieWXxTcRzYaE21XZnC3ow8hMFHywua/lfgRzOnpfUYYuK1I3BrPVk
hG+buaVruXYST5ANH34E1QwkXJl1rLoUY+JGMyjQcQ3m0746a+aZWOjKgxRDX2or9ntb/1P6dnNN
uN4FdUTrRixvoGPcOUMQxOCsCCKB1g80y7qN++1KCsIEQwNWIRfi1Gid5p/zXqdxM5WAJYzTebDm
fypoBpz8at6I6Gs72ojoiFOOmngb4MArk+MMvMvRJlMPbm+w0rega97YA2v9GA4AqXa3K/CQdMCL
M6zzklgLimuPvbORgV8xGBMpTfMkGJMS7Qv6ZE0fMhyq3E+7bNFESRekSMDLg6alQEyPqSXBm1ds
zMvad99s5k1QH0BLmXYDKlb97JXok27/cdKd331bijdNF7rsXVugaY99Ifqjas9k52GBGBZN/a5o
ksAF/2HmDccKyMsoU1SH5TTtTCUT4zjeLrc308IPYrw1+gev8pdILa1/ur+mK3HVREXjDqchsGoH
8RSASzAchjkIq2Dpvt5vfmW3m2DoIbELwHJm7zC4Q+zp4oQSuqhbqmPa5RuGu7ZxDMMFfGwMKqqx
K50qVnYVUUaPJR03ml+bIMNerQn0DpYzeQfwAkeD+D4i/XJ/bt6PBq6Jha4gd9lQcPAfEk5CAHQO
moxI8dTHpLBDPFtvdPP+/LgmKlpIUOblBANw5MlvhijostCzt64q70tgMtdERTMcnYrEuzU/fq7m
x16IOCn4Zyb+57MjCqxjUVqHSiQHaGdtjOj9TeWaWOkcIAV/7EbvEKBKnFTLQ+cUUdXTxwxiIvfX
5v1Vd028NEQ7yxJinfBGJccT2lX7W3CHtY83zRkFgA3pMV91/9UdUaoagAX2GSfbw/0vX2vfiMkt
CAwnz8aXc2SElOs/+IJHjR7CbJPfbm1H0T/9ab6wdBlB33Fo5/lBOAnKnukpk85GjcCaXRgGLYlb
CYjPIoI59kOFWg0XhCS+3T11c3UEpcUuwwYz6p+jqHPidv1tiXWyHDz9rV7oxuZZmR8THu1Ir6v6
RGF+7Ke2+GdmAkrvP+8v78rGNNHRdduW9uyi7ZsiQoOkhsw3pn1l45h4aJzeqoESwg/eIC6wsGOC
yxvggs+gJ//f/Y9fm5hb128CMefVOCc1Pr7PP5fqx1h/5NV1X9O3Lt80XXvDmEKlEVEAXCwq+OoH
n0f91/221+bcMFnoRoM/cL59tn7tFQ91oTbyJCtb/T/o5xQXc6A94Azaf8flO+CHKOw5+mw+8kBu
9LG2roa1LjwbaU6wz5eufpDszOkv36sOwn65Pztri2qYa60sPyc+xmBPYCW0rrr+KOtdVcHMNSlN
x4A7wdj1aNyT0dx9b3fxZzHXRD9zG9p2CXSC49TJ5YOcC3pyZCd+7ZoTE/CctW4xuRXmfCz/Au1Y
qN0mYnwD5rEy4aYGZeZ1wof+Nzw8gFshyL8vnT8/FPXWdl9r37BS0KvPfg4amUPjvzb8oSLDgbBd
9eqY91unb+yUkq7C0Qa2lJDqIIu/FlA0qS1ukbUvNwx1aaCXBJg2DrOF+htZiH9Tt78BL9Iv+5bV
iK1+mmdDGnQwJesIcYrYr29gxa3k/oqbMeFlZWNzGqB650DbR8s/Uv3r/levtWsYKBMAWPop2m3n
/jo09ieUPMX7mjZiqDPgwSMv0HRJgifZBlHvtPt2uYkkG8ZKjUGKuXbY1w4PKG5/VMEWgGZlo5hA
skCNM+PZbSGdr6rww7I48nZLg2Ot8Zuzf7PFHZQdAsfUejj1PopqCcH8gIeIDW++spgmgix1+eT2
M4w/sMuvaYUqqV5OG2eLtQ+//f7mw5XjZrgn4MN9/TkI0rNOnxIqjve3ylrjtwG9abzzLUgEZGjc
8fJTMX8t8ocl8eN9jRuG2WdD5wu3xqnodgccz8kSHCZvYyeuTbkRQOV40yflaLysirMe0yN1t0x+
JTZ7hmkOQ+DjAQ9NZ87XrHLDBURzvf/CW/twf2Lez6GBDvjPWZ+qQkIcAx34FnkqXCTpcGVqdNeF
yBSDQ6XJ//bJFhnSyhKbiDGR4hWmtvMg9kiZRGAKy0Ke+uMpyOeth6UA3/2fojrmmrixcamaSTYl
1qI7+hwg3Eod3OCvXP6cGxLKQUfprjyaa+LGdMZZDo1c7NepvUwoDRTZUsWTb9PT/aVZOfuZfKS9
04Hl3808gOmfS64v7vRp6r/X1c/JVhvPAWsLcvv9jc15rPSzgKGLPru4y9fJeamrrUv4ys4yCUg9
PfgssNB2PVsP3PoKXv6waP4u0vFAhijPdwG7XRMdVvAhK6YS3Yzyp1/z8GbcGa7k5VYoWDFBEw+G
Rz4cLyUIzcuxOXQk+LjM40Uu3ktbt6/3V3rFgZiIsBZIisG2ZBCXotDPOimGT0ovG0CNtTU2LBzC
lq2XSzwoTUI16tBCHzKP29nm+mAH2VYF88osmWgwPII2Fp0ljxMx96dUe9nZnQUNSWktR3zBFpXO
yq4y4WD+VBDfrxwep633I18CfcroOEajX8a2KtOQQXjjsXfsjRzAig2a+DDUbdQ+AzlprOvyLDL3
Hz4t30XVnxY2fQzyzRqXlUUyqR/zDAJpYH/2Y2jp1lHKSXfwq7EO5xGH1V2bjN26fmPrEDkZdVMV
fhyg4OEBdP3sUjbFrvJEsBYb0TsF+1CC6gcvJv5MPt64gdW5LYJgH3bGNfUYOyedilY43gGcT1Fm
eUA201OR9/tCuMn96JGutyFfyGLqdepIyjp4aFCF/2vf1BtRPC26PKCo2Ix5YTvTA2n0gpSnk2q5
sU1XHIgJDKuJ9oC9n9y4pstwQIGr++h3oIm4//krNmdCvWgvpWbl6MZzYZ/m5Hta14+p7x7AAPwI
kuMPo5vt26Mmzkt4vLaU17vxb10bJoI+9qtdej/MNcFdttvovqcBixn4gIMjr1Sln3AzLrwNT7vi
A018l0KGbCqow+I+8y/EK/+h/nKyS/vZsZb/3V+KtS5MI+Z2x8GpxmIObvjkTEbVfZjtwnpZKHWe
QY3esI2jwVpPhkGrzNNZt2C2ajt99pr8mNeoNlZL9pLd/tk3HONYPjdj3rByZnGrUGhE1Odk8j9l
dfq8V0oay26czgWlGq8zlMXg1hg/payFHoDQeEG5P4QV0zO5K8GrYA/cR/O0SPq/c1BDfYfmWfD1
futrq2AE7xIsDSOyZyz2fpNC2yC9pl1jgU7c4UMkeY6/u3oy8V5DsIxLKbryMw62T/3gPiQuCmnL
qv4ATpWN++NKNDWJLHueJLPydfmZ5/JHUjYP9th/RkLjxQYcyHZRF75vLLf+34Q6DvxMX6A46zOB
Hg3pcY/Bep/sof+Ud8NGNnxl3U0UGMlxXlNeTeO2dPKHtoOysSUQNu6P4GbP71xjTAAYIL2ioKM7
vCxs0V8WHJrjzCrKJ9ygin1JaxMEVta6Q+koH15yvI6dZ4uKqPBwjbk/gLWlNix76kY/zYaKxtDT
CUJhk58TooRSY3EArjDWmpzud7Q2U4Z5DwMZ7Dq1h5dALUtojUUVzVCfujiq30XhgWIyI3wzZ4CU
qV/oFxkgnzeO0IMeg0zti3nUMPGEtFOfTRMG4GovRBakCQNOv92fnRX/YeK9ahZwQRaQrhM1vxIC
JfpsvIJf+SKLnd9vIr1o2YHiFWXNL3WTnucA0seFyLbQXStWZqK7BrHopLGT8aWxiIhKlXegL5Vb
9a4re8cEdiUTTyDu3fYvkqokrquxAi19txydeTOBszaAW9dvXFEKMjNNJtW/MOuDSn75W49xa+3e
fn/T7lCxjMuq8V9EYP8PwhVVnGl/F58WRFSNDV/7Ds2rXrIruJXox5bZ/IsENuOwY0+idWPDtzVs
iflavpQMyh4qAx0VyM1+QIBWvlRF2m14oHdniNvm1mczaequAXqcDL5ajiInHniJOlQ4bxz33t09
6OB2XH6zBMiEKlm5pH5peTKdehH8mzC3Oi3TrgMrOjDCGHhibZAOK3KdBZmDMweBODsPE2u3ZFDW
RnDzGm9GMBdthuMRBKdFJ62fjKK2P4fOYx36bUm+31/ttWUwDaDKJ22Nsn5NceNcwiSQqRuO7qYQ
yruBBpNkGMKckyGvheP+gxLBsSuPll+lVhFCmEbxh8Cd/eS73XOIpl9AbBfgXfP+sN51rOjWiG89
S9kwNJV/5Xj+0iysWmkX//g2I85fE6M9pNcUlXTPcQC9GUGOVLlHcWusX+dgKQ5pKvFwkLpOtHDN
N/Joa3vBsHnPFjojldZXaDSXT4zO5Ngnc/JTJ/60EarXtoJh+Knd1Z4zQfxZ6YnW30rmjsFVBLWz
gQddGcJ/kI0e8Ue3zMh1onIezikLevmV8MXp4gZCLPOG3a8svYlyrDX33Knn+WuacPrIKutrbenh
kLppe/RrEKzs2mEmKSxLh1HlhUOvrU0Xnx+FSGwCgZmOD/Uh9cZ+dMD14W4Sha+sDjGcAR0Zm3Lf
Ll6h3tn5kVKFWz8WWKOtGsh3U/PcNqGQCsXBFcWp/5WPuVWGk9/Pn5HFU9lTspR4Yp8U7pY9pEl6
iKuzzjpPQ78FR1/bGoaXaGviej4qHq51Vn5ReSsusrOfl4BsgTDXNoXhD+hEKa43qX3lvMyPkCBP
DpPCXhCoXv08UrXhTW+x5T/3Asyh4QhS1Nq1djNVL7MzAuiu9dj3YW4xujzLLPMQ7KAuJD/OslRp
mFm6cXcB3tCz4R8woHTxhehevVExqHuKRf2LSkOxhbZaWyHDOSRpBnLryvGuJd7oP7B+qNyIBH5w
ls4ISM19m3p/jxMTUUm8oLHtdHCuXgnTwdVNZW3cqXre8NPvLw8xoZTlcmNazKV8movBikQDGU7u
WiEIsMSxFPl4uL1MFQgSG+N5f9IwHX8G8KRbsh5YXPEyE7X4IQOt54XnPSJ4Qz1+2DdphmNQ7lLr
MciXKyW2g1pS4jpsifCy44PR634XvwPZf/c1aFr+HIg3gNuI231yLVvoH77wgZRBEYoUZ5ICquKD
XT5AxZwGvzqwWsiIDkBGHlDxwdNLb5UMb3wlKP2+pVYQDMf737S2VwyXwT3duSrBhlfM6q5M1woq
w5RD22Nf+4bHEE5LuqDpgitIv1vr0HLhyCjXAo9j+zowfIUSbZBZadu9UkANHxT4iOOlrfXf91tf
23qGP+gZ2IeqjHpXKhiUzIQ7QCSJDG0+RJAGElvlUGvdGG5h6iZVgw7avfaLqPwPSd1Yv6bStpNH
V7N+666w0osJyBRtMuRzUaMXMOqDAcAi0Rz47mlo7Y3X4pXdZMIyabV0rGeCXdvBoXMsmqQEGE46
9sZyvB9/QFn2pwGpxBF+bmcdLvn9eO7lTcTYBY0wmaBQCu7IYuOMtTYOwxkkXSUrKW2Mw2pTekzT
efQuma42gdXvn+fJb43AN3cSJNK8JXf84ZVOffcYsH6pIwF7pwhzS7BcJQ6M06nxWL5sGOJaj7eh
vumR0NnPErcXL8qy2Xc8DjRhnsz5QRC7OqQJ2GyRe9hVVguhPsPqEUMTZIwJu04FxMyA7M+dGoX8
wtt4CVrbyYbR46ITBA4R4sUr6y7ClM3nWhciGhG/N7pY2wKG5XuqDDwGP/uKxKf94JWz9eQMjrMv
hJqAzhxlVlA40tUH7pTkjAKI9lIWN64t1iCZ6Hs3hw/d16EDvep9T/ZbBuqd4GNCPT0rLUvf5w2O
Np01nPssm+WrUhqvu14LPjQRemX7QEeVfhz6MX9aQAhKJQlalLUtFkAy1BIxB7NHxLwqj+kw1l9A
Pg9hZm8i9aGcutYLWzkE7ZNnobr9iEzlkGWhlaX+IbUp+KstKMI7Z4jOgfULQtX58ERGEMH81Shv
bkUoM0n6UzPRNDnfH/TKIpoA1NxvQRhC0/F1sqzgirLCSV4sUHvQjevkij8yMajIpfngkKfuNacF
eZknMOnksudP862KGfmALc+91o/hjyAXI5Kgr8ZXwoov6ez1Z1WrJXIW9mA5xfLp/mytWJUJSs29
NIBIVmtfKW774zHNe0hMKoFDK/QDwGV/v5e1sRiOSFXWglqWtngB23z5PBWec8oZ8tk9zRFb7Xza
QpWtDcdwQiRNfKeYU3qte2hzPRP/Rj6ek1I3J6b5NOzcY4Yv6gfkw5JlrD5MDYo0SuGreOjrjVv4
2gY2vJBKW9SlFcq51opB8bCZhy7WpB6c+P5irLVvHDwo5WLp7XF8TYDxuszQFO9CK3fdLZzmyhqY
8FXalYOYUjidqV6c+Ui9oJsuKue6/ro4ou2vu4ZhAlkVmJzrTHCIEPmkfOycKf1WsG6LOX0ldJp8
iB6kcHOQTOUvLMVVp16mowAzxVEoaAqQKokcJ90qwl6bL8PQlXCoCuZhfK31wOJUBp8mCNadpXC+
7ZupW8dvjwEWipQAy5UvTPjeD9D1T14U6EVuvZOsDcCw7jkRFUu5zF9y8EWGPQPBDCRe+3AAp2d8
fwhrXRh2TRsc7/tS0evs1+XHeXGHLCRJHXzoBlr/uN/HipMyCRLnZqj8rlY4n3n2c5ra5VNvpVVU
OBD2s2vH2hc/TOArCUYKVUUsN6Q4oWkTcmo133rS1fOpbst0jkBCAwny8P6g3k9NERN+VWrHLtwh
US+0gzqSctkUta77C3KnnzzeQBOl9rsDqqrOKCn/536XK/NowrHa2Z+hnFPpl6mVtEdefCing9cD
0nToU2/WkSWktUs9iRMT5Uu5zYsGMmRXwVVSxMyXTUhmKshBeMEW0/HK7jPRvXOjuAWyMFxoQawT
I9P7cS6g29AskLvbNWcmuFdkdJ5SnWSfazy8P02oZE/DJrOLxzQfy6fFTsqtqtW1sdwc3htngJ6G
LoBo6Es/QOe2XtJzjSzRxVo2NTnWejD8We+mWY2QyK991kkde/4QfAUzoG2dlnRZturH1nq5/f52
HDdp2952nSu0rdzHiXjuY66B3oeea368vygrgfI/ON+00TnDMQx+s8pzaA8TwGuioCzIvLUaK2HG
xPh6hW/zWlD7ZzpbnQ3Fl9JLjxnkGt1obD0A1nuXJDLMoJS6VYa0Nirj7JI7vPUtRZzHEgn+H9PU
LsNXaWci3zhRrrVvHF9yrWUSNNx5TJi2iykkNEicD5QE2t/woGtLbxxgpsnLoQg5LVfiZzU7iG6i
H6dapN4hzxnfg4LhxIT9ciAPZVmx/rVfiDtA4rVNUG2WJnKId+0uE+/LCxmgPl2JDzzzgdkCIWBd
Rnpxt/DEa27YMHQ12suY+l3y2FJWPEJE/jBrbh9y5JyOlltuOPuV1TbRsRS8JAPvkf2BAGv2nRDE
fg6AzMaFfGWlTWwsWAcTwpZGX0er6KOSQoRV9Sl5Ti218f1rPRjW0HadBemoVF1R49BHKNOtorwr
ug8jT77uW2fDHoiUbsuqrHntYQ7qkBeL962GjkSzETrWIrxhDXkA8jIy1uTKMkAmUb08ZdFUK239
4iNlHs72eC7McQkKbuyJvV+J9NsQ1G2/S3SUk/+AaJmCXojyhqta4M9Cngz+t7wf+cZ16PfD8ztJ
DBM623a6GrWTWFdCnUxdZlaQ/n9Muj0Eb6Yld3+UM5J0sVrcGUccpwHQ6BMeKSx+cLtM2ji8sRZa
6wnS8CCB8sdGjhsm/D5tJYZu2BizwOZM6Di9TF7gRBCgBEo8AFZZBE9t4Pyqcy4feMa8qAECtEjs
Kbq/p1Zs28TjernP+IxauGuZWkPk8aCIICZI4pZTEmpH/ruvm5vRvImxZZVbLSon8axdN6q90oYV
6UkIryPxlPMqeFosHIE21nnFkzi33990BvpbC7hMxn8OntWF7m1M/rgpVrESaB3nz9ZBpiQdh1r+
z7J2kpMo8EwWljOVL4WPi5Hf1/O3FqRqP+9P3IpXMZG5AG4sQVBO5JpLmxyFC684Zak4QjyObBxO
ftO/vWcWhl8pNV7NS1SJX7mVyflr4knIk4aOwiNdjwz53OYPDWrE3L88TCMouJH/SC/E6lv1MSnS
NgGLfVJCpCWqM0DRonZJq7KBxnLP9QkEGhD2Okxd4ZKQqi51vrZOjsdRbjez/JtatoN3bu7r1tNH
a7bFVunr2iYwnFmfeW3Nymp+SVpa4SSfZqk+NPUcePsyNyYY2AKLc18Sl/0roYvtXBkZmpSGNcAG
4Km/v/jvjgGve4ZTKCkKIiRHJZsHuMs3r24BDrJ6KvbEEzR/8wlv7IQkSzWxRZZnzpafqgoAllZy
i6Jl7dsNi4c7bZwi6PUlz6fv1Kun0A3Ynvs1PtwwcLFUZV9AP/TcW1Czn+0ssVDUNBex0yAV6A44
8G6swLvmh54MY28rbPs8zdsH4SfpoxBB+pHLXodOq7eqMdcmyjg3eJPG62y31JdU14BFNfwE/ii6
Z5Pi+w3TviHJees0+tLqEYLwSnbASENN9/7+fDd4oHXDxlSQC6Dgu/GiiuKlpdD5wIutPN3UUNy6
3cXcjSKE23HlzTZNoAERAK+2XDzqc/DZkALlWc3GW9273hyNc6NxpiVzi3I8t6NHwpyqCOVkzy1f
TnjTeN6GYK+sslkkp2QaoLSm0BeoKOYHIhgkjtqtA/pa44Yhi6Ip/CUV9iOy1k/Cn72wE/XWIq81
bhhyC1yG7UhLnUtrnsO+5yRyx/7v+ztorfHb72/Wtndp3SrCxgtq/PPuBOaxxH50haTlxlPZWgeG
AaeFlNKf3OnCGyBPIkEy5R6gbNx93zcAw3pVxQZ7LOYJ1pu2oSj1q2r2agIyw3opsgbumCiIS4nb
C2+T90fXKre0K1es1yyIQ+5ZCtnT6UJk3Z5qcHY+JUPtxZOdZOCBa7J9Pug/p3pc4vqWjNPF63Ng
makSoe9tgb1WHLR5pK9V5TvVgPkHcIA83t4fP6gBgpLddhZqZQuZR3PaSmVTi0DbMwuaaPIzcqim
eeN8t9a4Ybr5YCcOUG1I/ylQ0y9N3Fe0p+TJxQt4Q/93f5OurLRjmvCiboSWw3SZRPbsSf6JL9Mr
LauvFtl1e/dQwPenIU/t7OQBy7FVR5ueE3CmhcQH+vb+AG7e+D8nVLRuWDGZZJE1+TRAAdiNyxJA
T4jOzNo/Qo32y0KTaPGr0/2u1hbEMGgAKqZmbicFjJguPvwu6Jum2dnZumnRkIco+0nqi2rmOuJE
5EdZpM5GPF4zBiMeEyftO8vRw6XmPIjyIX2eLQ9Yo9T/cn9yVjowz7z90BHuBQMoiuep+CSKvAs9
ELGClHIoNhI1K3vVrH+bAFyo54mIp9oSP8T/OfuuJclRrtsnUoRAIHMrpSlf3dm+bhRtphFCAuSQ
efp/5Zyb/jStzBN5MzNREyESszcbWEZ1xREGhMmdHQCx7mUzHC73ZKuZVWnd9R4dCMLg3u9qjFdJ
ws9dOMQ7WTYAERhVz1fm5K+XKiFdc+BqFuS84NiAFK/96LEZyuXFB+gxSWFjWlaZ6bT10jqGiryJ
kqF87+UTXpov93JrvlaBz0LVSiOa8R4H8DoVioBcYOvPuoGj0m0trOJeBCDkhz1oTakAuCCecgAl
cPrbO5Xbm9R+MYSr6KeBpXR0yPGjqfUuz4cPZtbjoWvi5wLWjld6shH4a3F0lHy57n3j7mk7DU+A
LziXLrZtrmHVt76/Cn02VtHMRmwj+RkpUwfAV3v+NRvKreW8ivxwyCNmirG7r9tpPpjFFcd/68Ba
teJ5mfjpptle84Vw6JoC6sNeDujzJMxoo9q98uJyx5WfX0mRG2t2TRkysGUDnHbp7mXizBPFI/ZM
ev5SjNceY7YaWIW+kmGg44Tihq8bxBtMNfWRu7jKXFj7u8vjtDEda9IcK2C0bOAudw/tILmHC8xw
qG3e7vwJW+JIwYS43M5WV1bx3ZS+SSbZdffDBCx1V3fxfnBddd/a6hr/b2PrXXOHlMebqLFDf1/j
EjhrenBrAFmJ0nAChCjqwvuiacU+Of/pcp824mTNGjIQudIsqbp7FiwqoxH9AgjWNTbX1sTQ/y1T
BhiQ98rX473o6JKasQb+jGFihCTjnrvmGlh7qxOrYB9YP+bUnh1t4VS5kz54vfw643OrF6top5Wz
np7pcCfhmvtMbdzd1Q2QQ3jsS94FOA5+vDwVG3O/JgvF02SkSob5cezmdNDm0RB3EMD76GbI4B56
WkL97nJTGwO2JgzNyqMFuNzYinvxBWbAcxZwr9zd9vFVxMOYfJkEODP3olVwsPFrl0Lumt22YNek
IGlUUOUGgkeNFtEBoAV+hErojcfvNSPIL/2gcg18G1JfAxPTnK27JXPXypOtcT///Y8D+CjzMpfw
jr6f4WTzknOiHtwkrynSbH19tXPX1pJ2gigN9osZ09pg4DXY+VcGfiP7rYk+dZTDfKcoMfCCj1ld
whA8B/RmD1PHX7ctnFUYy7zxvRJ2I4957D6oxV9SoJ9uIqaAm7iK4tm4OnK4PJYpxp+nEkiQfV2p
Ia2KJtzf0gGyJvOEnOZkyMl0rGtyBEy7Tj3ifbvt2+es8cfSmXHbX/pN4e6VRVkWj1CCVGP087aP
r0I2HgPpWQUBerhCJVkbTQt8zfybKPMhWYufixx8oHluMPRhAn71aMFCq5P+w22/fbUrI/EzH461
8/1YDIDh9dga5yb45/LH/577SbIKWFxT4gbODOdVMzZlRiUpj7PuvKzxw/5LFN+Y1kiyit1QUiLi
eERDM7gqQPJ20V0w2ZveejEFq53YtEZouLiglPR14wAip1+sr68szb9nBpKs4rabgVWPeo3fLnvE
UuyCMKvjAqs/0tfkR/6e28ha+rw2dSMcOU+EMaTfwcUCmQeEr5uSG1nTbaitO426Yb5vmuhjbXp+
fncvoNAv5ZXc8PeTKVnTbYydCFSEcbHbJeKNMmG+g7lCuh3Qb7CSFPDvussryDNlQzctfeYlQX1l
DW9Mz5qI4zPelWCNzcchnAzoN3GQzV7pdrcydUMSn8Pnj+TEdJ97raJSnh2d3yQV0I+eMIiXg3Bj
7tcEHKgMaDiZLcBZCgJTBqig9XAn7ulyZWo2gjxeBbnxOphBaTIf64G8Alx5B0f1LHQGsZiXh8t9
2GpjFd9zDJvwAAQlCVxlrVJp9bcYdct7ptx7B3ff95ebOSfs/17dQX35fyeioRyktC6ZAT+PwL60
/vfZAQF7fpt9sCWOXRYReqWtv9erJF6FvWqhhpYs+XwUTr4qFt6f33Og832EQOF+FsE/fd9eQY5t
NbXavIeOkNkLwvnYNWCzeOS18WvcSPrHQfKPkPk79K27BT8WkjX1hgEBX9CZz0eYTplshnr2ri3H
K0O2EYprjgttOjUX1QJkoNCwje7yoIfxiwCUdyLC3qRqgC6sdnMB/fluApLmicWVODQe/QfV+DWA
/UYwRqtQj8sFdoMEH29ghHney79iT78JVolffh63P/JIrvmSQyYjKNKzThbjH+UwfJiH5t6J8bBM
xRXq40YwRquAp1y5zg6Bf6QGj2xxzR9Nzx7lgJcMj+TZ5VDcamQV8bRVc+t1HtYo+DOxnECrGHfK
8qfrYbE1F6ton0FFnDg35NgE4VsocUyJguLaPeDWWl2Ft2GQnxxMS45xrUFA9KEi76cS7888415S
XNNB2OrDKrRDjrJHmAGn68h9oHX4cbHXom0jGa4JLQzS3XpqgjN/btoxpT6eH5tZ8qNK6m8RdVdi
eqMD/+GzRK3VoKO3d7XDm2QDZBmA8tfIkxtVw5rOMibAnnURpGtVPR4oLuU6yPwCRnuQJQ4B0r2v
Y/3oLe5wec1uNbcKbgFgkRCdpUXazBO09s7HGEMzkCi+zdPyes62Fpk3uvFBjoSrgFdwBm/j3JR3
lGgH+nzxK6LltRPr1syc//5HNgmjeZwCS5CqbBKc8lxEr17cuCvxvfX1VXwPQzMxNtf1s6qm95RE
Dl4ojn29PBF/B0+GZE1qES7vlG2L+rlR5EjPQoQArIR7yCk0aYzpYEX5Me50meIqqt2NEF2chu7H
NE8Ueu9XH5M3csCa8wJb8sWLUBw9KxWJT1QOFBrpRGTM6pskctDRVfxTGKn7OczJn1Tdu6wZz3fc
cRhkPUDi+8uDuZGJ/0MD6SIbJiasnoep6tICmK4v1LZ5OiPZix34z+La5dRWS6tDuohg9BtGhXiW
ZvhBu2X+hnvDeadr8TaN83zlvLWR19ZAtabjuRd6ZY3+6F2j3H4A2eAYT6HNeo4LExcKc3956DYW
wBq0xjiXQ5Ek6kmQpfgo847ux2UMdoWVvy63sFHa8XUGANugjGEC+zxyWj7HPve+CbNUwUHDFOxN
uMa8b/uAw14EhkBXFsRWr1aJAbLjuCdjMICtC9cdlVeW97VXAyWpb13Wayib6EOAOHsqnnFD6QPH
A3UxkETKFD7ltz3dkLUMvPBwGVd4Uj3XChdaeQUyblcA0IbLlvJK3b21nlc1AO2ZGv2a43m46uOj
UNE97pxww97Ca9rq8OPlJbA1HasUMHCb+9bPMfudSg5NsHQ/RMEeeAl4yeUWNiJmDWobJh8qBMRW
zz7F7YdMvGFv80KecwHJAIYKgj2Q/sNNbt9wsF2lgblsJ+KHI2Ym+Jeyb0BNyBxpw/h4uT8b87LG
t4WdiPGrQ/UswD/CKRXPsnWYUPhUVhB8DXwCp7XLLW2N3PkX/LGHsqlNlg6h8lwuPVop5g9i+tjh
tS0dWFAGzxCE8ugtSHIM2yoVxKZMGgHOY5FKSFdhMeP5riLqdLknG6tszXhpajWRvpSQNlAc9Wxj
INcQm+m7bek1eP9GSbCmvUxlFZI6VPWdisp715kJ5WB07UV76/eviv16iqNZACFbpCMx76iyUHhw
7GTZ1d1+6+evol0KDlqb4SNOp4z8BpLBZVC8uAbu3VqzqyhXYP0V4E5Vd6qF1PIYHUzhDgraBZW6
yXEd3s7nsvaPxdq1QkDHLbKY4iIn34fZebAE6yN129MWWePfmqmNoM8KceLQhW+EGeiylMWny+tz
Y3zWwDcJY3pGFKnuKKSnaejuVClfYx3fGRrfXW7i77wXDNAqmsEE4IZin31SbNyNEs/WUtqnnJcK
snAAWre9lxZD+1z283fgZ6+pX28s3TUijsICJxA9Pwf2YvqPvhrfGwul2ISyfy73bGPprgFxcQnd
9rxsoBpdjefzCvRYbGU+3/bxVaWvZoj16SrBz0fBDTkzuA/fLejDbV9fxTUAmpHzyn8HJ1/k08zw
oql978pv3xr6VUwLCbmAycX47WB6wV2VVQNAZC3NiqkZr+wRW4O/iuwmdjh/zChG0q4hYfrvCYFg
Fd00PmsUnKpIUXZwhCzSsD+j+BRUbJLbjGFDsgbAxXVXTLFPkTLEWRsPgJ4lM9J1mR2ba7pqG5FN
z3vrH2nJJ15bawKIStrQ6gR35kdZ8o8lwJVldQ0rtDEHa+CbL/J+hAA8+lGrZU5REWLvdNeA4xur
aC3+3qkWyrHId+iB7cYUHFgLCggeSHoKHsvled5q49yzP0aprohcyv48SmGozJ2/5L/icsp3Q8LD
w+UmtgZpFcgNdCFkJRo0oZaIP+YwaboH7fAamHVrnleRDAqDg9hi4h2ZhvIPpVkc5Z+N4vcWILrL
PdgapFU4d6Wp2nis0IOuBj5BauH2eaf5rozna3bMW22swpl1ScB7yzQmQuTRz7pgQXM8G9KPu742
Y3PbfK/RbbSD5XAUFuhKHiLvdcnwFSZy7oUDtXslMW30ZA1uqwj0tr1K+gdS8DuIdmZto3fkqlj7
xnJaq2FXwZgPeVL6hwYiT7TDxZgXB9Hu8kxvffy8yP4Ih7hmeO0KFIYnZr7KhIRnRCkLeWX0tz5/
HrI/Pt/4FJJ5FENDjcE1fu/ptAWL7MYff271j69DfL9RWs3zYYhdOrX90RTqthuJNWANSsA87yaB
caEMT1yG+r8HBQ+HSNym034m+/3vr/dIVQSAWC4HLZrdwvwsyscrv35r2FfxO9QKKJ2gXw5QqjtM
U3c/N9d0CTayz7813x9jXgd9HrftAq8AMx295anrwK2WOtXX9HA3fvsanwZwGm3HGpPKw+4gSXRs
omtqMFufXh2YmQxVaYJmOZQ5sJv0WxJeE+Ui55H9y4voWrTa0b4QcYPJnMpDsmdpmAZZ9FCmYufx
bLxSWG8kmjUojefaA2QBmv4QzTnx0TvxgB8Cr/12ORdsTO0alZbEOSAnHmwg/MkcYd5wbNTwUHR1
qtr6ytl7qweriLX9RPOiM8shDAO282rc+tuJkVQrdk1ocuMqwV/vvlWdsKZI0IRRHZSBS7mnU5Xv
uyDu9kAhvxFaiSsvfFsLahXC0MopippjrTo570MHO0xzk75f+B/ZaeZi6DZ4djk0yxjtQcGujjbC
cxhtvTwFudvsL0/6VhdW2zAeYHxJ5gU5dPmkArdPjLqyWs/H4f+GxH80p5khgQur8wZvFlE+GmqG
b3IeTJZoI15FPv82A0Tcw8J/LSpYCV3uz99X2H+UqI0Mo9gvPLQKq1WBO0TyGgICs1/INXeKvy+w
/2hP9/HsJ1Xk5gOYsrhpFWSnW5tqP9qPNTsVw00cYsbXW9BURmoqVA6TFhLuE90/l+zaxd5fJx2f
Xq/bkGEeBh+fxooa8JgjimsIqr+OPz692no6uMo1uZraE7SjHgM3fpZLnac0vibstPXTV+sV3k1x
wYe4PSXAB1TPJGnocAr0aK9dE/81CzK+3n8a8P7rqdftKbThydPd1xG0NLx3fAU8+9MNaxRNrPYh
0Q/Ez5XfnCQfX8Yez2teFd73xdWKdGOQ1rtR11ZlVeNO+DRBvBMSS7in6Ii6sk1sfXxVMvqQ66zH
2bSnziYurbrxDXe01xQGtkb/vKz+KC9sXiambEd8HEqjR89PzN1Mu+GhxV6dzaxs97dNwblzf7QT
e6GDfncMxXXbVC5buIZ216ip/5PJhna7y638NVVgold7URFA3cowM5yMp14mEsA9kn6pm+Z+EvQx
oNdO5VvNrMJZwCxZEhuwk2v5DhIZ36qxfbB4x4UHo9jBEPJwuTsbsb22QqhgiNl1YzmdiEh2ondp
U5tdwa/t3FufX4V2x8FE6nHHdoKJXZXCMY9mDO/1eD6p5JUe/H15Qaz5f6edQzJq6HLbnGzUPJ6d
Ks8+f1HoDlhjn24ZJPiM/W8TYQXrElYWE1S134W+TcvzCbe/dr399+Bja+ODMebgW4fddPqXt9xw
AX3c6CZQGmNrBDUfAk20RtogxIP4M+2Y+9QFZXclcfx9ftna6yAPbX92jmpOjTCfhal+xr0+FsRd
U/fdGptVTNcQ7Bn6LqcnRXIQmipWAEZw9evn+ftPOYPBWcWyrqyTqo2DkxiqjxUeiR34lgGXe2Xj
Ow832kNQny4vob9WTmhqFc8oKGfIMlB6Kv3/h44BbSYrW/bWhYA9JsP7XOrPBvF9W3OrLXuEQIBt
HAtOMCk8zZXbR0HzFPXdC5Qnsn97RoZDJ+3xcnNb07QKcwAFk35xuUWFYNG/IpLm/dJxe82YdGOZ
rUHWPV4KgYKm9tSr6Ndokl+0xrWDjNW1PWqrgVWEw30haHRLkKcW0F5yyIr0hc6wmZTp5RH6ez5n
ayh1T3hhrV82p570X33CHsqlPsLrUaTadg8R5MNua+ecJf/YBD1gygLXYKQMUM/wUdjXuMqNKv7A
efT/0czGhK+B1UJ7eURpY09Vi2zeD77Nynm5lhG3ZmMV9TJ38KTUo0Fc4mZ96nKdTkrLw0La4rYV
u/YuYM4L2DSO9lSq9ofTfb8rnLkmwbuxJa2x1HPIA2eUHk6wtrqjyOXJOH6AOfDXSt/0tsHYGkKd
V3NPRm7MyUsW9SBI3T76NdzoLq+ireldxXNe8bwHtAEawgP/h3e9VJD6M/M1wdCNYFgjpXOQ0QGW
H/TJuOTuXDAPjTqEFcYptk8smK4ZrmzMwxo0HVa6nkuonZ5wkl2mtJILeVML7KDxylvGHzs46X28
acDWwOmOQACMFWY5ubnlKZmrOGvn4rYqiq2R0zNQW/lcaXMKvWDMZLj4sAioWdpKaX5c7sBGyK3x
0wBidzzRpT4RKC5mzQR+TA4XaECcxTVAyNZsrKKaL7VrA97qE66LcYDvfpx916OEH84npdt6sdrQ
ixnVGTba+jSiHixN8wAI0tMQ8Rv3oWi1i5fRMkLYM69PwVLLDFp7UEtzhd1D4/4m5jNj0WrnFs6z
MJjAKFnhveubDjB8YZ4kO2tp19Xny+O0NRWr+JZD6Hc0tvrkU8ilTYmwQOeKfK9A0NzRgcpr7/cb
Da2B1MBoQ0S/jqpT7pvPQTzcnY3Rz3VI25trW+tGslrDqBsqbKhDvI+Gqh9TQC/qHRtgm3nTUK1x
1KyqxwVgNnlCwn0tBdyG+fLlbPtsS5pdbmIj9sLz4P2xZ4d2SbquZfJErAy+wFVQZkkyez+TGH46
tzVxbvqPJgooRnZhBPFLHgWPI5lUhqo69WL8x+UGtiZhFdwjzPNGY5biNPnBg07c91JNny5/Omb/
bgx/KdTDVVzzog0BIvPcflLzIsudF5CZf2iSNiLDbuRxVPJdoAHRrjPNg6SlqTBn5x244tU2oilu
Bvy2TBtITYoiTSD00DeZABS2mPdTkxsxp6YrVX6E/9oYkZ0ZQgrbIV61mIu6m0PyY56xl/zyA156
4lWL0XqwybTdFH4NbVc3b7ORI56WZrtU+U+qIL7z0PTjJMa0CHCh9eAHUOPEA7jjVthMjm03+Snn
M9n3hqqHsQl5jR/a+J38RL1BN20aeAEHKUMNbDqLvA6wXWBpBOJRjqIIMvi4ZCrxxure9VJ4Okgh
qKjjpzwO5/5zMBC4lynSQhrY8+Wvsl7MOGUqiqsgAjzfeuRY+nnu+fd1GLTitcRPaheAG41WP9ux
otTuYh67pX3RSxMGXkaSrvLUPq4goLmkZAAy+h1OZ/kEXVU8X3OawUNpYGWqas7xO6Ja6a9T3cC3
6Rh6i4y+jgsbHX9f9YEOQSgL56AiuzCPyexSIuaKfA/6XrYvdqq0ZzMFGUAwWulEluizdpAjdVm5
KBd96BI9iTefm6jR+yqoAQPOiqo1Pts7KZK62zFuVVOnJBncmTQ3Qhw7T5OWLEBejXQswmOhVIUH
3bIoGxXiXSShiqZcLzz8YQT4C3V6vo2sG+RDVlbLQwBhoBZ7bsiK4LHoF+85iaekhFhqM+VpCwma
5NRA0IXfJR3z2e+hi4vyZ9LFc1sdbBmYTsH5gTsBq1voMiw/S+j3yk9QQZN5/+jiACaiKbRYC1Ag
h9CNXfOgXMBYf5i9Chr36ayKeIaD4JT8jNrezfOejv04lgdomRa0TRMW4BA+M7c4kZZYTf6bVpWX
mKxiMRe/Ip/JUewFT1T44hGYGVWPPocNzHfPEz0pD95gg/zN6qWIYMdKurn4kC/4KZ8shVT26wIq
onnuQma64tC6Fjy9JOTayYzGC54G0tGr53bvcPtGXoEsLaTaa2Anwxq4WdM2/S7qVO4+RDBhLIqU
WO7mH3PRuFY+IRENydPMozCfdi3Yvz1JjYsi3HIKWBPD+TMy0iuWfQDNiWl5SozU1Y9BhWC4ZDo2
8fJkbRzzN8sbsTzU/tIl3qG0Y8C+JsRTcXwYBy9cfo+zDod75jd9NO0mMxTDR3DYg/ibN7jCsUcb
+mERgSraaoY36Nnmz5TlkX0NsKzI/QKNPPcSdtZzx2bkRf8Igy3PDQfPnwP9tIwwdfjUjHT2Pud5
AIJF2uK+LuXAlpk5LUfIUj9YwaO6hLAu79hnM8dD9zWCdVEOaQTa6fwDjJ6D9sfkRUIlKaxYA3Nn
8oTi6AjX5LBPGW/JCC1fbYvmXZvEiQStogosYgBSgUUzp0lF+3pfD3OpfpXg+NQ6NY3R/QdNh4Gk
lUesOsAkZLDfp6Lv5kePh/jXjolunh5qpUjwDWp9iTzhNrDzdlUBRVVxgIPQEr5zZJTsU0KWenoo
kQfhyQccvO9/d0pNeDWOoQHVaYQ/wF24cJrAwAX1Ou8nXHB5hDQfwAFbVJnNARlRaSrj+iCdGNRh
dbbA7Tg8MgON2PGnKEVVk70oJhH7qRinoXnkcm6sADDA+d5PXuUwVWlVkIefe5dA/rsdc1/i5yr5
IWrhFHhYCruYd2PHyEPb8yZhgC2yXtSQ84Jc5qepUiN9N0CGx6jUgdzn/QTJnfTNrmRV4kLcODWB
fCOVMt5rPicC+gMVHjxdk8mqnAJv53tYQ++8EJBUD5aatEx+B3VZBe9FEfmdSOHzN5qHOBoa8w+t
+sp8iXr8vN9R6DXzG+2xO9E97JPUso/g2RfvZ458PGcWYnD9FxeUsj80hGs2ZXnXdf1pUmACwkOm
8ACVSAlkjM07pJtGveCmr4BDQtwFdQE24qyn30L2Emd0VoP9c3Rta8Y5xcR2Htzg+rLuv4exc/Mr
qLhI7pARhwQClsosKrkjuiD2oe2SPMnTYnE2/KWJL5ox45CbHl8hCs6qI6h3NHlpFuHVXwI5keKl
73TTwearmmKXSRiD9B88wGiXx8DUdfENsihJ/5VIyDLf8WUUI0ndkocdO7TeUofvqPVjUqUTBKxV
/ogiRcrXxWrYNexUIFtEBAtZ6IOzgvNWnSYSm5NJXWlgxJzivubMk44CUGbMUWB3buwdToBgG3/K
S8hJqWdoyQeifOqK2sTTI8RYvdFl1FotsNMkgsvuofeahGpoeFe2a9JJuqH9lsyt770gW6IvmV81
xvtZ15qCeBYZzVWaB2VbHxdo01qAt+BYSX4hfgMbpiX1HE0X1C3fSFFH5gHDn3CbiZY2YXyYhzhZ
PqsIeKM5xT7PsO8UvJDwzMk1Q+ZkhLNdA6/p8hgvNpY73YNpHD3AORJ3blkZ9b700zYBMPChjFjk
fRkAwTq/01WcvZ9n1K6HqR3CwBxL4o/R+7OrEj7c+ihklxRswGU6Tlz1/IBcX8xvSQ3h9CwJ5Sjd
Q1UKiYMmg3MMh6QbPyuoJuVI41MeTG5s0h4yRhOkUNoimuq0DkWEaJ+BjJtCYDpZYpu0CzzWmIcB
58vKoBqabP80AUTKl9SKeByDAyZzHt4VBa5KfhQhVGLiNIDNJ8NUgOK5ixQHQHufRzBFOfIo1/bH
NNGG2X2r/aUGwdRTZ9F16S/f4py67xQdJUVazGRyza4OIojVHRr87zLMdOQX7AR0OjH1sfDGMjzC
6rqpn3JbieJVIAsYKKDH0zyX6TBIY59KmYupzeDBJ+xuiQMk9HgehMMrnOeVZqd9M5uvzAYTEPbJ
0Pp3Pi/CB4LnzCRJNewAHGrPweqxSh1Kx3rJ8imHIkE2lc5F4t6VoBsWWRg0A3mBEhkNj9hWeLJD
0TnlwQ4I5SF/R0ozsVeVoFBVu2Syiv1MyryV7wV8Boo5LVg8dsu+8aMv40Rl+EH3TbF8CxaK0iJL
bBlNbNeLvAQULI6HeYFFbx9qA7MhwvT3CDaKI2BRzGviIY2Em3Hyd6Ml/TOMfLsHJ6ceYVoHPnde
VlEPqSVFYYKNdJ8LXlK994fIF/+4NuHNx7pQJbsbqwXU9XtaRiSeD7qvoON86Muo9H4Il9Qz/NWY
mvMxTZKmzJ89FA/6n2621HZpo2Rg3A5y1jOQ2Yn0TIwnz9ADo7gbAuJSjPQYAjVMh5o/a1RkPVy8
NSpiWD64wffvFsfr4ne9FLrTqGKJD6A6Ket4mZ6qaBLBHqY1tmO7CGlqGo+cCe6DF5l3MZJ5H8Lx
kt9Po6T6pQKw1ztRXcjqy1xOBDAUvUgShrtpVoOO70Mk3Kl5gmdUUbz3mmp5hMtlbG1atJjPkxuW
uH4SfQlqxA6EJRuoewp3wqA++gVUEOwDvGCt/dEyiuPgrhwTAmXLJNbR0D60+IdyWasxM+auKqHq
uqAkCHvq9p4vChseK6mHwe5RznTW4VQw8FYdOTaUyp3iOWxpsk+Cgam7OZlZrx/wxGuLJdOCwBnq
kOfzdw8iQVlolQbjGeU1d+9j3ZesT2kPa6oKcttQ+hl2JJA4yODWo2ezzJZzISR35ZL7Hdzf4oTD
imlR8SjEQQ0S1UHa63HJK1RADkarKaqktvi18NZ2WIRDPSdfKErA+jM9K/DBI1WpYHT7wknXqLQf
Kwb7KOQWCAHdx63Ase1eQTfbksPAuyCyoIJ4fePeQ30LNpm4Q6x0Z1L0x0mW6oAHU5lyj3fxI5wt
iCswKyWb30V67PiXhViL6fSjZvynKAWtZhzfEssPM27zQhSBCqH6s+vHSH4vwkEUcRqWsg0QzGS0
cZNB30fGPy1tsd/HxYISbheDWMc/EzGW1btyKLrq1Ra+CL4O1qr6pLohpz5QJmOMg5lcWh4rgK3x
uBimFQTTPZQX8ZjENB0IXq6jXZ9LVUEIW7fdKHY6dzFeHrkzfZ32k+e6lyqExwxkWSoT1rDK8xl8
ku3kmDM7OmHn03sgpwYcpmaY0nt0V0G4Kj7CIjiC0n+V+9GSZIOGofZXh8ywfKua3g5fHESnZ7Hr
plr7n8pCJaCKBhNiXULdZhTY02c3D+pRRNXCfgf+wKRJF0S/abKpJk1Y7F0E8RXYo/Y0t+xdAIxh
MkK3vS5mlZoQmFcM5mQSZbNQCjP9YiHctoq7JcIeWKcm4b4PH8+K6xzPoUXJ4XSBHgziZ9Pn8Cch
fS48oNWRk3esgkpJWpcUturpotXUtLtkiJJJw2mXzVzsUb7J5ee4yBF5PMRRxDxCq1Lm7U+atIUk
eFTUevYzPckJ565ZKsl02uPuoEleCjxudQ+WYaWBLDeEknz0yVx3Proanf1vkOpk/cuDzhANs7x1
c8WzFipAZYy6wLTxxxJbR2kzW2CRnG8hxi4+aphyye9lYST/5o+toe8WUuF0EABnPkxplLiqf9FM
t/RlaMEZ6aHI1kblc1HMsw//PpCFgdDkFbeP8NmCXQuUgCTug1FHBUH5s4k6rMQUgDk9v5bNUKGw
G0DOgv9XwEz8CEZYO1RHyB+y5YtysRA4xdum1ID0jmXffaEMapJDykYR4xBWNWEFUTLjk9J7i2sv
HN7ypPEMfZGkV96LxwJZtinEKvxGyxQmhIHgqfPHT4P8P47Oa7ltZgnCT4QqAIt4i0BSVKBkybJ+
36AsB+S0Aenpz6dzbZdEgYvZme6ebuOEr6xWNetCwN0xHS+czpX63mAJ4U1J1ERgCfeTO8S2dxqC
vresZJVr8LewWsKZDiYbvaeSRU8MJFyQIMG4tVpqiFOxH9vWIW509nalfeunyGR91UX6vgt1N6t8
MLMhcrGQbr366T5WY9Q89P0S4VG2EJVejjlBX+4aZMInC3lJVyAY4Z+Fb/MyJQ4vmfMnsKyw0em0
h7N1Dppl3L8j8jW0ODSOrMXse1m/9pHfCxoqJPt0zOu6xuJPWbLz9VFzWOq/BQmM+0bjPit5axTl
5nu8kp78hli7WNq0UocT3veupxWDjOWMwTd7PgabXVNVVR0jvWNKJqpSjPP+I9p4Dx4DPdi8Vhsn
S37DHJXYunSb5kA/6NKaynNoFb3oE9WYor74JQTnrTtma9uzyo54eVMxIpp3EgaQvn3SHhY/Ki2w
CN8fBke7LubjwABnIcdCNnguN27w6lXVUdyEplRW2dbVRBgkne3yc5LDCfQ0/xhLHG6P1Nl5nuKM
tDiYuDrtDYuqchyX8dvKbFHIq9bbAlbbFaHsCKrcjvF6BGrd/aR0Vizvk8BpC3rUEDVHQM91qEid
XAcnPnZIJ3ufCYIQbmh/jD6O2gfmzIMoqmSIvarw0r5gNBWg/3R3ryrsh06nRKmM/adjTzErOo3D
Q5LJZnmu56dfNUaahFQ8Tj8fCmhuTL0vxMhLyljN7jvvoGyRARfawnJ4Dsd9DlJJ7wqbsWHffBvp
F2o8TpzNDkvmrNqKSXmj1Wx/79Tx4zoOc9vcqsBzWO9fOnav+eKMR29YyHg+RYZgkOfoq8neczsy
Q/WBvLkYo5sdF3ug88ma6s06S6eP6/2KK3HVuLmWvvb7k4vCP9jOnhFmB0Bi+OxHvECLJRjuegen
mpT/Xn2nleZySknSreYoXzciyp1zyNjhN5eDFVQUQH1EXrjOts04zLlV6Uwaf1exGv028Jbbw7s9
bVHMVeUDoc53zQRCV14s1tE2+aoZDJ/1xoLGLeC9qcZU4LrVeOSB2kv1a5QAhsE3Lx7J+ErrsI7y
OvhK8oRNqcj6UgsCyXwVe9uxczFWbo6EpQn2BFtWjW55GOcJXs1rlPUfZg/uKQrU6+ra5Bk1ou3E
H9baV6OSWlb0j0k4sc403JHRzYRMlddj94y1UVD/moelm64kktvFnBYEffCi4SU9a8nfNQAznkaH
pcr/VklPw69nNRuUMnJLx3pdl7JaAmhvrbopQV7RiBN331BMF2MzUBZvLEZu4xuLkLr9DcuIfReA
+6z1v1a3Lh+kw9H2bSZrSd2HPjdfnMNboVHM+7F1tyeXm5e3i2B67ZnE5k7r9rwQ9ibK08go1xxp
PBqn/NWtFrlZiTceQS3v+MBU0XT1y929ErnezbnvkVz+uu4xipB0Uz54lyjcipeP5bvw08YQODYJ
O2aD9522dsWIZhRKyFMEshfAn83HeJ5a6xBgbxhe+jvxuE7J6ORqepeeqWK+6a72fIqhE3rlCagB
wi3ly/G6Dz+wt/ibzeBc/3Z7Cue32dL9rpOQiaB69KxdBO/TUMTln7klBQdtTGfWBRM44JH4BcDF
Wn5wWIf9lQ5aRI+bpY7xYTPN9qtduMiLZG6WI853A7yHiY7TxPZjSYdiX0oR7suvrvW5f1z2q4ss
btp4ytjfn5s5K/bKwxaf+WQp0w0YpXuGFauj7UfpM+HgsdVNW/E0brtLpKnXhzZjWzSQ0Z6ZMdjl
P0KyAoDjuK6DX/Yh8WlyKSJmT2OberVeCzdsaljCpdHRlZvfee0HXYYZGabY9JJDyB14VOyu5QJv
V+vk2MYOU2tgmHwg/XWbr5xZcxKHU/NYyi8ovPL24AsRJdn3vmTkwLgaIF8ljuuMe8of3IOQD4tq
8ji2jo+iGNqfeD3wRbVm9qz7dhZxwEXvWspOuklEbdLFUoGGBUtHzp4Mbyuz473wMIdglYtZwivM
cC17L/QS15f6Z7BuETnivfuD2Tz47dvHvmexvSwX2Sn35BphcVWNznAOuqkg35JSr884hYc2T7Sq
3sHx99e+90mdL2bp/pT+jhmRb8wDTg6RgnvevDaRxSZkCqdkTg6NyKkS/fR0FFMr8rXx17/N4Xvx
a0ezHXwTBV3gHengTgMkPqolH8qpUdnkF9MvjYP4XSx2Qe9btPgjruUR+wmX+PAJpuPr31VnvqhP
Eg2XE/DhNGUtLwsQRLzO43k4rFiej71yjmukrUpk5T4K7+Jqh/MWm6Kyr7x2hnbWF42bFXoePjp/
t8vzSNo6gEMwekkjY8x23L3cf8vN3q/CIxY5OZZOzISUmPkWOxhqJ1Y5+u9jrYLPwdJEhAJje01a
coeEuWm9+sPv7GgEXylZtdfOHPVPs21iKxOKNNd2V2pJN89vxWMsJ//Vnsv9SOyu7YYLPYp4LGTp
fjZORMmrlh6/B8ULnNRh5IJ0+dbhh5d+7YbhIoGM5pwXMXCymPDtJwPLFTz5C+uPqd93/gYtI4fX
adgbEhi12wyJQJp6tRrdgFp3tH60Hdv43Ww9XydAa0+SUr01/h24dtGkHS6iOiHpqZxTx5jSykO3
NP+8YzTytmJYO6WVxG+HOWT3Mkn4YZdFWDn+cKZQH9nRO3B+mmGmTU2I+/9D4MSbOGtB432O/VZt
4DLhYWUeTnCblzAQV4gH7WODqVj2yr8HrjQwRJHtvNLecp9NPC86zKo+3Iv3hXbkAyP8k/J9y85m
BHowN9gXmWSzl+a4bBbQX1q4K989ugAkuQD76lerdzCVsl7c7gTB6Ku7xbj7P/C4uLkujS3VRZYz
k9QQNs32WFpfjwrUQrZ4kw7eBeOMok3DcAlvwvObb+1W9ubk9g2nNiQXKaDiBSSFLXSmXtKt3iLT
fditLaMI8H/Y9ujGvyrcq7fIC9Scle4qBZuGrGGlsahr/9Ss/ransxWX3jXCmuDBUxyUS0WHM78o
T/pPHXl2wWk9wvilN7KCHfmKT4RqMP85DfL21J/X+n76SqU7dys3//XYTPB1ifukjGpu7Dj1bNcM
aXHgd5t0rQ6dp2jYD9BWzXTADe0Uy/saj5XN9DCuPphbN89gF9PRvHg929uJHBv3qYIyu9s3scts
jtvqi+eynJ9gubK6BEGknNxr563m4XHLJVghiDdnKcRbOVXj8rBW2tvIiHHkfHbgXN+QOw+3KKj8
4LkUK6/2hN6iyTVTIL98xrDkPHWmy4byCI5b0XX83fRM6s1dt65K5BQVzg/Tx87fCnOoz60OMIwA
yqjc5qajWhY5iEdtpzV9vpN6cy+8dJjZf7t32kHXV5DMtfjPSBzRkmOi8X9Tnmj/dWYJp2wID9/g
wiI9riYd+BOOZouqEEg1bscrvx629+Z7FewpFu+2fl+tcOXSnFDGtddmCndIfa+anBRdnq4yrcuq
S9wQqjPjr7T3v1NQzMc9rYg7P5Nnh4lhI9XXPhsANnZ3pux/FRvF+QxYIh1SV2DEk6mV+/4QbCLU
ac+dHeIAOwEXxeVcFK873d5+iQWoWSJFBenRL57/1AvqOQP4V+HndvT7S9d7m7kr7XafsuKreOWK
9fyf0xG1/9V0efJPO+E/c8Fs2L4d28zHcsetOJJjjsTN0UtrEhcdw4Pn0WO6alHBiRa0+djGytxG
b1s+HB0NzNCxNdKakyHrnQNWh/72qg1NauSimwSHKBQKJULlVOJ8eHXq3SLkRTFdEPQj1NXzobFO
mrCtP9pxPRbjfTc4hvMsHX+jESwW56r7svvTIWB6ceiKvMSeY8c5qQhi995FhXRXMo0Pv8cZap25
2nfvVbOqb7sCxmSL7SDdsu3r2P70zOLKD49cg+6E6C6iSZk78Yi9na5OAxeQlclWz+Tcjw7XIDmj
3Nw0bSh04A+230EDn5CNlHzmJC2t/k87rFH/p+9rofKWYM3UKWL/pVV9LwgG7sfh2+q0Mji36xo0
j8UMQ362oCqqy2ZkEVzmgMk1dQ97D9NO2/pm27KdL26F3oDEEp7c49644XjphTm8O1kofqQMY7fJ
MMlx7QdhLU3IaSkRCygTdn1mSrc9HoqWtgUXW6utm7z1AfvP9CNBnZauTwaNVQ/qOWrX9rfD/BZd
961QIq1HlCt0/Xu1PWJkA4iKyCGgVBaYqN8UbXj3tvRRzXZBGFdNv57r/TCxTD3XD4+zQTU3f7pO
GE9ncGTn+DluDYdH7fG0J5OM1EPNPYSXm5TFT2KTp5sN0iDvo8NwXSy4WM45y9RVwzw5x2zeNDUs
nU6dsip2SJphHlrqMnuW4z9du6OOz2btjPyIoqpV08duPGwJb5vPCsH6oDvbnhqU1zHDkPgrq4it
1QpmANOqjuiyfc3XcOxD7H9qbxamQ0po1dttHbvBeap9rHRTMyMV+tOZ2AkfGbRbGvooAtgOdovw
uahliJkS3+6t6oZ8xIpZhAE9S5t2YFCP6KrDjI6mczO9fUnemXrL98kt5JatXQx+F8SFx5VeOhVA
sOuI4T4QFYoCu2otL3PnSMlLfMj4GZ+CIzwXy6GeXM58lfvbtINclrblpQZuBIDRNINJoPvZpYQC
9vtULQEpzk4XtuPzgN5dJ5GIx3fG/e0WHs78h7vA+7BjXJtf+ukrF7jTekKdO+xiui1YChpULY6v
OS+4NCZj01ZWLnsd0tEvm35v6WTxgCANIyDjbIgsckZF531leLllVhILdx2/Our76oC7SgkDnl7p
uIoi710Z9h9GR5qrNCqCV9Qv7rMarU7k3RiGLmkUUx3P1cmB2OP+Vc3w0EAXb1SzStk3M7ht/6qO
erxDKtH1t16Fsr7GcwHysfp9sV6QcTpDqtg3WESKasEsuRNJVyVYE6OcobdxjwyxCG9F3wOJZ7So
Ha1VGIgmb4Kg7B51HSEUWRabq3Aqa6xhVSncMflClNq7qXRdiGi+sib3NH6+mfRwwsrLoXGGSyDQ
p9wfTSNfwS+jf3vTxQ/tYndkrGy1bT83bRj8YAV/at8jCKq/DR5Rj+RnOwMgRenaj5aDzaZKJv4Q
AIDCVW8HbEOErmkXx8PQS8pqWGyTOvcYNBgQhnqNPrpJesfPISyIjEw55uUQpquryiN3pS5vPfm2
9ZivtdUPN+zLmzKLw8kK71xbm+4vk+QS33ZbaJqKVVPj4I8984qmoeredRgi9RhQ7GDmvNe+yypt
Hb8Pdh9PjzC/289KWstxUlZQbt+n3VnbzzbuOxtweg4tZGE400WOSu3ejd7lRFRtl0au4/wK1ma4
0f2t+gxiRRyfG2xEjWf9UcwLDG7s1cdtg/MNcEUyBnJzW6tVXFbsvMY7RhoyLg4vrOqTasXs3hW2
WMV5I/iHeGDYmOo8dxHNn7uqQCTTGNUNAAMse+6ttiyzDij7uymdMryDhBVlhlHb8hHMS/ibiuTS
4MrI0rmSfLjUtiZ9h9agJ4HJH3LFvFrkTCFTfGdtpHWeK8QwakwXEzVo4JB9dPOTmkJzZJjHS/MQ
zZgI1YmkC6sfBlPOTT5Jq5S5T8qbfl6BrctfPYOjdbOK+gs1HIGhXudt3u4td52eakRZv1j2sqN0
XFf01ovytAaWPhZx3UVx6LuuM0f4yG3FvwYm5CAddISP3rb3t3YKjyI3fSFfbK+Nr+4W9VEmGtsR
qTcUzf7syWL8fvBU6nSdyiqbhAI/tujzPgVN88U5EPP/qjmV42Vjou5yrMzlrz5avTeEIfIBWW38
L3ZK/YZ5bPAyoZ157bt+sJB6SfsjaOh9QW7b4w/THewCU131vHZT8Owxiv8rumYowcD76X2v6zj6
2zB1i/M8+KGTQisyiAM3l3/WYQeGNBPeJNMgw/ULRB+eDvjnP6hsadpIKVmzsbWZMBb0OncRLcWp
nFEyXKZNHhAWmwpGW5xWdxvnW9hEahHAwHEYXqLaW3Ni7ecthdiZRwrLAXFl03kxce1de8JFSb3r
yNt/lDHv25eet8x0t0ARTI1WZ4K7mhbr9Xlds9jb2pdon4sXSqp1vwRF87tjRenO0xsoq15Lu0Af
DKu3w/ffTTZdWdbZqhFXPSq5XEsTmuayHS1akppsHTON63cAay/Xjhg9cGZj7B+mpmBWzRb+1osn
nRPb20wt7SFormkT/eNie2KwUwcQMc48e0KiUSKnhwdZSroAeBbvnXHrCwz2SDfMi1iUQcqJi1C/
VNuUC5wSoYLBRJ78upZLXtL84cUUdqN/kmIwzbVfdP1QKdxBT6XVEQ4KAgvCX8ljz47JLfe8Deq2
hLwPDv8CZjW+oyEUoNur6W1sMtv1ODtmkA/T+tUDgjkix+sixiXHIjk7jboAv5URt0Y/10VYPat4
KZeUD1bZiW2jgPamtfzT0k5ZZzrrbn4Yg8Fds93bOpEhT6tf4bKbmztFQ/UEiUzGoaxnUZwQRuHa
uoWTGS+mpREsD6cA2J/pZaJYV28y5OC5Rbw/9euXnSNwenhxJxvZeNlU4qXzl+WKXbLz5irHXfNK
WXAJqFVsJi4l+1QIr2oToUz3EPfYriVGlWVzAf0s7TtWEtY+7Ujy+05lDOHhj4Y+FFBqADzeml98
zaDZoY3xqr0ZGo1pDDl0gzWQ+/2FX2ZiXrc1hSaInbSvB/9R226YsA+/XfhKQb8IYbk1KxDCYpUh
kwRAgJf0Ry2tL6I0XBlyGSFZzhT07ZDXZ4MuhHtrtgYnKw+xtm+YQnR/hlBWL609e7k7AHyn8xbz
944t/mtbb8lMy2b9zrAwyLSoDyhRq23af3THKrrTKN1kNkm3OW9xH/6t7SjqLiTuqpxXuGD8wPdT
ZUVPtFoed46aEpcbk/7fxYTU6WHeMrvryztVeBRWO6IKXdtiFdEVsNB/VG7f/raCeFYwUjYVBrTT
0knR1sdjX4WLSnYVVEsGjMi3I+QRP0S+EOc+3vbcrxra5GotgyrxYjU9tWUIvxbW5ocRksFh8K1v
WxHab/satNe6GuJ3zwFnosH29jwsCrmm6y7Ft7ptaRWnAUEfaq8gesJdxv3siy50f7ZNsVvlqW+c
Nr6UpVisF1OiUE37FodypnbQ1pOvVgSQQV/XxLty5y5nwBdGLiUmgmICCOU5o4Q55gFhGHIav47k
L0e1oIJMtSKdxxkurzZR0N0vQxzC0A7h+HMthLjzoQcr7kdUSok78gYoRCUiW9FZ3PeNP6Go6f36
AfB9+m2+LOwLawj/OxroFpDXqepPu+NDYwVRV0RESAMUnYmAaD/wePSjtLWn9rsEU/iyR4KIThSp
SN4rQLR/P/lhHaaexXuCR1DDHzH0UHSnukAFc2eXDI1MfqE4/lHcpubb7g92kHlF1KwPEEy9PC8o
KxMZ4LV5Rmht6rtil2p5VFZVCnTBDluXnuOtfwUGQdd93vTPqFX7j2re2LrhrLvFyYuX9t9QmzVI
LFmbV7W7Y3iqlqaOOR1W+dK14bxcGOqUm+FsYMTFqG7FF6XozJhNgGEGtTm5r9ifbfEpApVEYUhq
cRIaKkUBWPwZ84zarNuPFQ+EHq2U0zX9U7So/tUUXvghFix0k5IWu0tRhPvyZKaVR0vCTDykAE3i
X7SAhYMzBPvveC/Nj9remt/4sLgzsqmBoWAqi+XaF80ynCatnI0Yke5LM1Qjsn5CYCFSYhzm8FKy
Xv3irVag6FtdwOXJYFSz8KzulygefkihwnhMxG7r5XfFi7GfwtEKwsuXNOJ+C+GRxoIPbuETiqa3
K5F/h1+W1muztlcjihi9eOi+FGPo3k8juVoCT5zc82Dh1wHFqvG+PjRks61Tb2HkqOvNRdGLApRp
vCGiM264Nq26OsN2hLTmW9V4+P6iUAjm2V+fi/gYPrVuge+s2HgLtIunfwq0bd55Is+Geajrg3yx
Qj+PjuPf4a8OLCf5ieHdF7LVZexOW3eMx8j4jVy5HKHv3CdU+8FP9MtTeJIQAq+Ltbk/OQPezbfn
6l25frEgK1BgknS0KIaowvqHcmz54Wp7H7IOsj/TYQcSI5AdEtHZFvkSO6hvpM2+TBqoqkMovbbO
z7FqpHmaCqZGYBuC6tPYPdY8mvjVgLuB+GyPaX89Qkor5ZRvcved5cNCUnkGO99gLt39gRiZ6b7x
/a/xoPfGX+Omq78tVg8/pQZvTJwAojvZ61GatJstB9tQGNhThQDnO/7zRp5c2532CyJV7z82RFpM
/ZCvaFrEjB4OVxug7nrI+rlxSAZtje/w3HafK68v9ae7eQhBd3svZGrc/nhhQJL3CiD43t+/Sj77
sdkCZ4rMKxqzstNg4cs8q2/t7tT3KHlklFpq7sacbW3awSBmwWJx4TkHf8L1FNlYla4G8+R5UmXO
U66ndJBackLH0ftni8kPMmabGHTa8aeLM7hC5q5hfTJZvc3/8Lcq+Lti5vGm3M38x9ZF/fQl4ViT
XgzzaQUy26AiXedX56DwxDc2fh67cEoL56B0za1/6SfEDFsnC/oKQ8vXNbu4+k2s3inMh8CiOCzO
JaDEHQT+Cs+LWmpHpFk776tAqJIVlmm4qsIdM4mIWvtXIRnTidIzWq1lssHQB++LJkC1NfWJVw3j
p7fYgXkMddE9sclSUOetQP7FNaQePpGhKJkcqPebtOC3Pe6FKnKra6yTaSMnm6MA03lEt/GZ3QtQ
hnpU3ltc94CaBfsEMlGIYnLp9CPcDG1DkRYtP33bZ3Y0pr2la5jEZB4WXBiHxD8quaROj4l12nLb
QbOHtX4D4G1+BQ4yeWgtsHkd28PVTDNQAvXvqY2w3LWGg9Kvyx1AsIEzyqeu099rtx3vq3oonmMk
EW8WojcOnj31J4N28WYNHRSNpZvLOrkKC4sg+JzjL7i6CDZUSMOyPdTCpdztVasvUcQ2A+7gW4ia
hm2YC6/sKu5LI52/9sCskUjqzpBXwgWQ1OjOSR2V4KRO0BIktq/RHc2r6vOA104lreUvfzzrQAMR
zHjCR5Y0/61z6bjpbrhBHcZr7p+ly+0x8nBF1tvFJ3rOAhcsWyfFjsHNF3rw336orb8xF5YgJ65p
o3QA5ltTVpZg6myc92SytDOKFvaq1Pem82o/t1a3I/U+sMq/UCnlP6/u7G9VwcD9xFTCKxXNC1Wh
ChhIseJcP7lPnfMiZu+D+91r7mb+su9IAZuPudjbFwzhJ+usui347CLmWNJ9bSDNuI9+bz1rNKfN
N82nXndM6CC6Hp3RrqtTbW3g3NvhBl5W+pu4q1fqThJTltJjX8eLNK59w5rbyDTst/mikKZ1bMiO
pZ11ET30ncLy8jpuXXRvo2H5Xvmsw5m5ryUblltVwXV39seikHhMYnVztfbmXtj7+B3dTPdf1frL
c6cm4Eb2rC7oNb7yo+BnEGyakSWtFosZaXT8UDgiKs4jzPWMoru3kU1FNs+0QhzaM+60xZAiE1Yu
77uGtvEGxmU8lT0nq9oqzjazghsUy8jZWymjOjLNI9Se9VnLVX3Jy7X7SGGPstkX853qrcNJ1023
/0a3Kv/oPupyN6AdZx4DMV65KYAYQnWJUS+eAGqtK7AUWhf4ccvFRWGY/5NHCS7Yl7YX50ccK8TI
ewHyPbpxEN25rEBRvEA632iztUIUEiOuOIomiq5lS7cEfWZMVgb6+IORGcKo4Bi9lHTj4MfiBEzD
PLj1sbOr8GYXAyI4yBBgFkH30Ca+CcfmbM3oDO91CEWKZB620LUIOGWRSWscGYQfvMx9Pwu2O9jJ
sbVYvUvnzaqna6jlsJ30yDvLVqa/+td5GY+XQwj3RYCDnPCj9qt8H9CjJztt2tcuxdiAngphPzBg
lPJjnrUgQYgEV+eHoqEs+IQh7ItF7ir2f7Gr3+hZt4doZyJnfQ/USjBedac6FBZIycDz9Y5l/e6D
SCO8Yd1Lp11hOZ/eHhOMWQXWf/P/V11EWHMwjc3UAffidOV37qn4va53tmwgx0YrrFK/bb6ER9Rd
oR/RU4E9omE3NdtVKoryUJV19IZsuVLPxwptvmGktKGEqed1ovsL23qS6dzPfG3hsi7PblX0rxWw
40vY22PW9/H4rcPKM2XrohwvzP0LhvyR/2m30+Lc+6Gnq+8bixbfgcfDIO+PmZnaWLHv3mE37rDz
B2g2bvQAZVE5V6/WOrijLC9sNa4TKfB2wsKssx1Ju4/hN7YDO3HzDy6fPpdru2UOyipicqvZvAQl
YlusXZrbJrfpkYUHLrwCUTSXWxWNORCYkC/oF8JWsGLQFvGDc6xWkWMtOzrNjTaXDqo5VgbluADY
TAfgtjgZef5dqtBmOVlhOtec+9Y7atY2zdqerYVB8GJgJlx41QZ1xTw6qkwtOromPcqj1ydEZiMr
PvMQ54HbzDZvvGPf1V4wvPDxQZj1gXw7qQabD1C4ZFuEyos+/MNhgB5VB/2/yLCKqMl28TMeLUbM
fjue1GCpq6Xj9bORNQofnEl3bIXQYtT4aPBfEBq7Yf0STYLb3N4mc2OZbDcAIfiwnaeYTaLECQXb
2sgLgr9lZcNQ+GMl74Ml+r+WhIWo1B8MPxyNxBJnUuAhkEibk5zH7KzNSELaIoKacwfEhwzbUyK6
vUajh7TiO8uGHUg0/eUI+cvTuw+cIfyN90p3oUmdb461WLBHX2/xQLNrXzyL1PTcCoTJ1cSOxqkt
BQuvIVdhca0qez0hWIBdsyL3Ra2uuNWQiqd6bzkqjjMdT8jJ5D0VtrwbWliTrBttDfwvEcem9mR1
p4Uo8zOQkXvagcufggiUWRhKThei2rzNlVgtaLEF2vm1M/zgq9qi7o1lcHxijqPxq0vF1/PG2mj0
pGYfVq1HyvOw+fH4Fq6NejKTaRDPFR7fhhh4DFYHZ5xAeeqsQMZF/8e91lDNNpz87Sgg54Du+qGG
GfwxAgc9R2hi0WjSEN4psmkEUkbwXLyPqx8hHsWPTum7/4nGKd9jjdqG/pcvu+r86r+NE/8ApLD9
XDgBTuYui0YuCv3FOgonndDkunY/I7/ar66MwfyQ16Hanc0INwBc57yrImJ9v/XGZw5VdL92Rf1a
s8V0jo8ZTse4EyuZ8OkQtZNhvTOFv/f/Yd7Zo1tdmvhhKkvrjD/G9gN1Bq3Z4kb/7TYTV1KNE6wO
58H5tJSGBy3Eon8qPcXXtRLBLTR1fxnLrbgBM8cPaMT8597EPS0L60oNSLS0TlPv1a9aRv1NWlNx
btnn+qdxHQ9RhtQyDxtA9/5/HJ3Zkpy4FkW/iAgQIMRrzllD1uiyq14Iu10WYhLz9PV3cZ86Otp2
lzNBOmeftffBK1nBC7iwRJ3PllzMxPN/SrQ8S3mFg+o49WwqYUai9yVTmhO+4Tz/DALRd6+d2yMd
4RYqLp4cEtBCMNxdlyp/OAR9GUId5IVWR4s/5ztk1g7OifHqVOE64D3P1+cS/PZW0A3vaVl5ta0v
2Flt4rD4xtUFcdC2xZU4yuqspIEd6ljQ1LhgcZfaEfpT9MU2uvG34mtijk9TkLL0AT5S37u66347
RtkSVMh1n0KMU2cnx9xw8MYlz34HMuuvuWa9I0oLRSqXETDgPvSxCZwKZK6PsZyxiqtcip1vPPyN
LV7e+A61YPVePSVmn5Ompr5ETKJnFHYlgLsMimzc4aVMx2PnDl7M6Kvxi88s8ycm2VJiaYvkEttT
blnmfLILJtd92Yb5bxhUVmQqAsO7g1Tp8NNhIBrdNkGGwzluVHSgm+/9Y9SPs2L9LaCLN84d0z5u
wfhfMzntfJGpREaXOM52mdNiQV5zY6JL7KQGz2us0uLWlSGFfyAVsU5ruyGgOhrUeCU5PnMvPdPp
uxw7xYuVTTgyBW9XDmdPqb+ZpDUjzTynVMibTCeXgdYYbTyR4Nth5oINVdh4H8HXg79OrmNzW6My
iY/eEPpcUjG87Q7Wu6ERaoj0fzShG5a4XuT0J5oYWBzKrtC4BqAi2tO4FQWwlxOfMWENiFgjJZ6/
w7XgHaK1VLiox3H65mYcxwcmAN5HtIR0UBkkiEMLmWQs7Ozi91lVLh0pDQo2gyX4kBWmXeZHuDvP
VUVIRtMFE979JaezCMY6Oao8w2i35nNQInLELjCqr5zkrUzJ/plWthPBroWI4lDa436J0u6d8jCd
z1Cv/lkvNU61BYniidOHRQiVjhKWAVqXx23SM7KaBpJPGc5kWXFA4W9bvM02ZWefHjAtqbjI7hkc
M9GpIKCjHeuA5WVcm03s9La2pYFo2Ft38pu9T2LAt6PaXD2lS7wWh2aO+qcF+Pgm60Ys56ZD0Bwb
SH3Oxjkpj6LGRbcfphY2XddeAuXEH/2INEhvuApc9SUpfw72NMOOQTG2kue9WfTeUBV5R2Q30rYB
PqrvqUZ5rqnjv9jh0lymOOj/KTXWHC/Au78bLFHyRdi6/C6TYfnEAlDW52DxLdvWmqIebq2ucC+l
RXSIRdQ9Tv2ENzJN6L2dJQsivddZ4XLA+LwKJw66GaUJUfNKiWqDPxUrA//iOmHGxyUd80HnbX0b
FBtCR+WxGXjmuuG4RZYI9p3b5eEvKJ3QlwcrTWML5I4+3VyTS0PAZOUXc/PZ27Tr8Y34XnDW2JDM
B5YFxuzmznKmVN4jUFnR6gdoC6RAvoNh3nYUlH65V/if//WwJ8nFkrr5GsWNbDaKpS1dvkk7YKmM
ksH/N4ox/9E0ArWuW1d7n6xEX4sdmwki7r60d65eKiKFZa7Pv8jIY2o1xHl2WvGxDxVldc5kfslk
8nOuyk6FB1EocYrLYHmU7Vi4HwC/MviLqVV0yQGAdJrfnSyfwm+iYUYuIDpCnLa7MnL8iNKTpYW7
csFICe2Sy+ZEjkPs3sERGnNCU9TMAGd3Y3jW2v6jo42mJxzrXnOwadLduaHgXk2U8F+LhdiDHYaP
hseEOMRzVqCqKpFnv3j6UcAFdv1PnK/bK+0p7snOFM3fjYh+LUncZPUMg2qY4jIAFPeI/AT+aGPi
UeNqYGWn6ibrXdpgmaOD50Dj7rGbwZzZkjM8oHtb5JFLbqzEvnGDLDx6DCCLl2qjufM9zvnBvV/I
uv0NB17YQw4rrW44MVVxsPgf2TVW5kP6GgM2N5y5CTJwqgLIuqoAYiMQAXP4AT8t/68YduWBK6N+
jMdFlCdrcCfu2nbkC4oxvH9MJLTgRjJ80zVa+cM0UQoxg8U+dCkzxzOvZoxV9h73mdfccnRfEBf+
5RaxF+chkA6iiq/T3CKdUCzvQVzGW0KCgfxvGgpKgbGCAGmMKmNm25lEWgAGuOP/v9KIxAp2lV1a
9i7Cl7kcCAjpvsPZEs5Qh23XnFPuWYaJcCbdvc142RhI0VfbHXIpjWOT9flxLHF7vvdOzW4j/Orw
T7u1rGSwXaKTN+uj4/dd/Yd6EzF1x3I+/G9c8j5yo/V03r1lGIq6B/QiNN8lUjJ7aOBqRlwmfje+
Qc+u8jBG9HaHAmSj3XM/zeOzXuuYPoFJYP0xgF28ep4t5HHoMjOfh7Aen8JAkOBNJEEtir1kKNTe
e24EYcPozdDre3CixwazJ0PfuvOfSaBYrhDbNXQrrvU7YQs4inapm7OrVu8HB3FbfrrEp4z7QiJ1
XaMAzulKEkSZUfVES3S/0KvXvL+5br9iQJxLzwWbXKqBTZL4MdmJcuNk6EDoOvbXZS+LE9BINf54
jaTt7UPKArvhG4EukF82bG2KbFHYPxXjdHlYu27IXir8mYx6rFz1uQita29p6Y6IfSTEyfmTt3qI
gj0Zv1g1egJC+u+U0KfpT2F6KNmdqBpT/UorFPZnNMzFPaXCX0JY5bB2qNSCVp2ZZUWMTYJo6nBe
ud6oildPesXqHUKJJfpaxgwyXrLceCwqnQImHgHXeXUnGEZFv+mG5qBHg7XASlwe+aBD0l2qKljg
orfOYz8lZI8te9OgfpBW4NfBhX0kPhEy8KPtvwCpJ0yYZHGsbt1LFvkXF39K/UfxlnT3GdEFAXMh
hjKfxFkJ1HmhOmJ8KrabluWuCKaJgBZdDcVzLXHbXlEWw/LWL3OovGPmwOIagJlPm4JA7xcdrvk1
iRWjcqZk8b8CK558mCCrCF5xmn7yv2pmc1sPOa5BkBxt08SnWTcyuRsDryewg0FJ+uD0fZd+r/AB
YuHbpoT/1JinS+AD4LnyR09eWfYRtb5QPzPSI/xkZxKOxw+hK5kNxzwXa8+os2Pl5HQljEEs3SXz
zdBmaHu5Cp1jM8nCS15Nmk0eDjuvqOpHQmfweWzPTj+dNdm7aZSxOtSd0qOK40xflobMLHWYa/zK
O0V3BbXd2iY45V65rnu20wY1910ZKtfFwz8v8Uc7ivRzWXWU3cc9ZTxpHNTM9bkYG57wEdGnu2ZV
Nztk8FZz8mNjs7wj8Q+pfg0yj/nCIWmDCvXBdYM+uhPRgJ1714IB9D9aEKX+wkQe1TyZrBP8dKcB
BEMvxOSzukzE5XFmRNm/QVxH1UvdtL1/DzHGSlTG7Et+Sh2hzAufyfqMhS0wxwTz4nLKmOW9hksU
mr0pcyyWRDr4xJy0HSWxVzCmY/Yf60uNpDudkjDKUZrDOb6Us9MDpZCz5OFhq/vyZzTxg1MMVq4X
X5lq6PTcqXhKYOERxm6yQJW6tT7hT4+iy5fi4sIfrU+TSa1tD14YWX00BckXFyNNwl99nOOxfoZ6
y2oec2+bXo/Luia7AEWVf4FS7gIOa6cNl/xcRQH+eeILSgZEaCuMIzmvQ8+cZR92neISlDTEx64C
TeIfvZVei7+sFXV/mYY6zh/DuJ4kkFPZttF+7KRZH8YqmVcHTdlllprITZtiNA18Gi0+OlvFzqyz
Zo/vd73iG8VBPCbRY1uXzIkqA4fHU9VAPC2xR9mMgf8Nx0gb7YRjAfWZys3PU7Xt0iOkZn2MGnj0
XRdFkz0lw+w+uYw712OM4YR6qfWfqjb3l6tbRnjK50EYZlv+yGTRc2L3t6iSFprA+JXaLWht2dGU
Da5NSczJzoa9/pHx0pFQKdtXh7Cz3x61FqdO5gLRRkPeHKt25HpcCi7afdstjNiypk/PvhWBdyRL
APWOsAOT35KB/PCTZwPaOI8lI6cgKrI3Rjxw0WHsTxIr21j8zJZqAH2ZkE126dDSGbEkjZEdd6H4
j658eOiSiBiEZfYQc6Oijj90BS26j9MZcnRd58DdDamuX5swhjqMydGivCwnRLFGtqXH5ZqkR5Pi
siCsFOIKJz32v2xk/r4FrK37Im+d341TAGZNgXV+q3kdzJ3HRGUl/9xg3cB2Rpz7SIwYWBtpDsvW
NE9x5eKEXxiCBLHZIAMmJskuI1f0B0FT+HsrN/PGi3Zq91KgPb1t5+L90rFIdaddcM1XRkL2KgtN
h0jFgEUtDsPA2yVM9n8wCy9vFkohP+bDVLco6HVBNFMr+N3kZB5gs8JbZFwEKuBajr4qDXfFOOir
6e16m3OIxt0E0BODdLJSAmfl7Hb2t3Ty3mXvw+T282MX9hHrFIehi48M2dLuPGXcgsV5whMc17jX
PZSrnDiTNr6G4apMTX1ZmeTFXURj+v2wgLSfVlqRYmbO2i/9GVkjd0+qDbvpM2mk9u86BrDjKY3n
KabwGUZz18cl/rccPZqRZFl9EzLlgxFgKntI0jn6ZIOd84eijM9k5A4pDkuDJZJZ+lYxm0lQNCXJ
TOOxrETS8YB1TnsOJCj4XeE7yvyo5yZmjqYqjFqNM6TTFTMwz0RKFtU1nShqQdrgIXaBm3W/0BMp
qoOVKvdiIo/MuZo7xjvQi3CrTKRV2NtqrRblK1AKvrTRbVxd7MvV9RT7TNNqFoQPA5wwJ4MiSn+x
n2RIHxO5TWGPeWdjhkzKQ2bGLAIlneb0dAFuJxpjpIjp4vs4ef0XVKRh/VijQVroGRbnyAPml3K5
gGe1+SmMGuWhNg8WD200Ga99HXM8GcUiqNAmxhi3GlQoP4xWR4Y0sBGurFlcsAhIWLq1cNLM80D3
qJbwC0zzTyCnEOdyADy2i2oi83ZGr3K4N1CbH0DjaXezwzzNp7hQ5fQ20fo+VJleu33UZDgxDLFG
8S4XY9PdE+2Dma5MXNWfI9k73U8dNHwEMLSBD2Ds+2F3l/oDBomxL1fKZ95iEKDcqeevaQYSuU8a
I5ZjyvNYvauCGu1o4HIwNARO8AsXBx9ctFYFzBy7ZzRFU+/az37O5EMnhRnPlTN15twP6PFPHD2d
O+/XvlgwzoIvlBDFpMefPCO2zebuoP8ufSLNlV89sdZnIIvjgQfH1oxdUyvOAQl9/WcHmvHPUSiz
TPsXPPIJ5ffn2hJcBV4TVd7FNEu+/nAzu6z7sXdkiB0mdZKY+ymw7DbX9XiHDWdx71ZIy4+gb026
72JEiEuBWViResQ2JF8Pwy/UTnqOtnTCCntqVhenVdhxPi9FU+PUGeO3tvIY5w1oaBmpWUxoSUtK
m58MWIN/qwIi3XdyXDEiNuPm4hSMPpZELp/lNJH4gtIH35Zu0luUB5U6iFUHFV5Uo8xvdDzxIuc0
6h82DapDlbctLDkRw+sVc6Z/xtPrfGOz864NSafTI+ERmL07CxzaiRWpEU4IPTPLQaozfyjtKWAq
f9dlGro6LPRU3ZLe2oq6qcDZFUdVxKU6zFRMUNLUp0PboZSg4UqSr+imt5geDsFHdFZ8kyiPfDkx
fvLpyrstws/EwkvsosQHUENd4kpr6R5/dXREODNQF/Vu7Ssq22Yu+Y/ct9m417WtbziR7YfnhMtb
5UjvK3NC8V8UorV9O9LE4zWjf8f3h108n/4kU0E5YntCvs5b8Io54CeMYWoLj9ZtaaF0LrmD7r0z
oLjnOUXXQ2Ob7sPVKZ+ME2EgnV2V+2dB6Bg8C5uRQE1DN0hQjLf9cgEpS9ehDLR7zHIhf+K+JqST
wSKrdBNTxqeUUYHY0ahyEGbU/O9ok+MlzFbzvShjXyJihx6JKF3+ORl1EesJER/342aA26U6IIVA
9HlCMiSRL49qDddXr2mcbz91WOo52zB+0VCNP+RQcOQzH9fHVkvxX8p0ed3xU2/TUdIfHlbG1nQg
3IKUvSa71CLtiD5o9NHNfS7GetXdSywS/6nFi3JvcAeiHWYFU15T96I8SFI1nzeNFnBFBC6SVs+c
PJ5hI32NfONUEIPEQuniQ/J+91fkL0bAPdk/cBWZulkp6W7zLlTX3Frg/qxyXwdsVcuRYMStlMG1
a/ZVmZDh4BFiSQDK9GvqWLQANULKGZhlKmeepiL94fteNmN8MWhwRepiaK90+COoSXvYBbV2f/mN
HcQJdG8ZdmQHQ/MSVBcemmZozK73GB/WbZ08GX7HMZkr6Gn+XMHDF7JU/Y6ff/4K2i7/SIFGGdav
4UxR0iqXeJu5JTnyYk0WBQeqQtveJ4Pmx5Ok+qiTLIfJ2UoFhMIKLvvNxgzlUWLzVz5NzC117Pg/
CBEaDzoowTC6VObir7XbUH4lVvBEeGIGyBNtvkaf0IFX8hroQUgqXHyHiNwiPrmo8qTLrHw6HwJr
MhsbdF0q2NmwuIH9YOQnP0v0TzRWJj/3S55nKOx0ITdMIXPIcWzrV7cnEmrfEQX7MGVLLI5rxFKU
o+l91+VMhgNAp9/O/UK0ZX0KpqatnrOewNQ7ohP1gCrClQLIo6jdXX8xxWFkA9qWzZehiso1IppV
0VwmMcmaJxzm6h0Gy/WBbuykL90KGEQmKxkT1LHgcfvGd7tbCWVJmho6ir/nZ02mv4iv0XyuGpYM
RXTmTuKN52kMmIjvtCzr//OATN/ULmCM6/12BkqKY5hHU39ZGP/iZxlFKU8Ay+Eb7HaYniZDst8J
OUc3dJId1OVHi39oHs+lalpaNSn8fwOrHF5CKRN7AGxT6d04Kd2/OpnOrnIKGbExqJ7+CF7ZeNdA
+L6sSmSPLRHJf/nP1XJovY1nawAPeBhGHIE7jMN58QxNaJJ35mPYfPkjneJlIgUkOsOnsn+NHieD
TMx8SeThXEAQJEXXnZOexKID6TfOH5KAsU95lZq+QoI13ZVZ1lLpJzctcWWPWBy+qoBmgy/MYBqf
+jnC7a9gKjhdwOdg9Kl9ZQ4djv7YA2eSBWL1YVQsiQTJrKCTAnbVV9eBAAXAN5iJ8ECirhf9UFXI
cAiy5YckWfikMXrqI2ZtrN02wbJwJtoRZ0CRcOdSd8XPEf4JYmhRKSlgvUlc2OFbDec4J7xpq0r4
lnLU3ZvIG9iIRRbOK3VmEt2VYJH+VSpNP13Zzti7cojwZuok4UrZ5UZIcoCGoin4jFt3+SRWL76Q
47IQFscri2u9dwmusvgKcHvYIn1sUWcQYjslvQezNgirbg89wmwKkxvwZsj4oIlqNCaHRIBlFy0l
snoCSvY+IzecVa8rF4wX798xkbp/jwgV2ndt0tTkABd8hXEZhx+p6LI/5crAbrKqUOecNd5Ek8mg
fGsGU7zboJuG/3S5+M1vKC+6sBbzXbfjetq8Okk39+cVc7d9Ukif9oHczuGhZV53xD1VRuepiTZ+
oRe1INm3ki+I3AUjozLDCg+pMIbHgV9i9/k4JD8ntaprs24oQkNk0YmZla8uuZ5CJp2iXds30nW1
OuHgbjIyTkvQqV73q9kFw9I9d7By3AJ8OBQOPGHncJ4wyFc1I3mG3oKRzZC67e9td+BFQU8BA5DR
4++hLtE7hjZb/ptXjO3XBjyaYRhhlGf03vpZdWaqHjaNfd4rg0N7j704VE+ZItv3FKGB9KdkrL0P
6S3ZORO+9R7ghRSyf1lSHrNNsMtPwCtsLPFCFOT/QB8oiXGuyGf64WJzX7hZdadqNSFXs9FydJ9T
dxnO0ncRFaxf5uaIxFU59zPI+L2H3vy8dFVY/e2maooP0g119emkEz4UNeThlURZnvFq7KvqHGKJ
NA/ktjGhIVfIfjVp4l4hlcBXGFjm/r52rNecls4DD1LwivmBQTPY4yqG+lF3G/uYmq5pn4MpZzqP
wy/G/2dV+q5DJHx8C9BjxwU+MLhywgf/VCMkDCx2EFKX59kFh6dzguHPWzDEdc7PqMVEVux06usP
wNBsPMfYeTYfaVR1lzLUdUP2ny9b+VdQcJEDWrbeOx6C4B1EgsqLNk77t9AhgWvPRASzblxj1bsf
u6EbT5lZwd1s1LnZtTaBw+jOzzAGaJ72ETvNEjj4sjQt09wJr7jJiVXIp6LOMnlg1Sq1WevZ7GLC
tPiL6IviNJAwD3CUtfTyjh+Ln9UaQzqOVPZPUx5uk9ghcH8It8fHkYwJMbo2S/RjECOx/BkIr4rP
TMgpVYcc1uDOkkdwT4gME6tIVu1wsf6qyDYM3Qxb1zJTwrPnkvURZGUKAhGCOmbw3bKIONxhsWPz
EkxBl1YnsLum2JPkQCDG7Kb97xozvXoivkz2T3Bz7pFpBx2bJA4dPbmZq+OE0xQPYlNE97HMDRcJ
CZkYn3I6m23vinhZ8ijx7vXEyvcrSYmbVYZmUGJG6+XGR5dk8MglNWDEfYQjurPTN0nYwXsjBc6L
XAf4tlOO6F8mDDi+i7peq0M+JFx52OhAZUEV9XhYMgwrrMGkf5zGpuivmSEBcJ9nNdpLIkLDeKR2
VXtymNDwRZdzcdX+ChBHVOpCtmAeRcclqQj5THqykPeJz41C4FRJiSWszr8irJbsnAWSf3aRPKFB
sXftCQLAC9J0FOB7W3jDOQly8TwyMGOVNGElpETPWJN3YQKRwMfTQa1X8Ty+1LgroCAGoh12kqhm
Df9HcOGRDZj0vbTzTkmCQB+9os9QQrDKvjhy0wPQCBZS/PSwhzi7vE7U3+2KdHdBMMpn0nPkAxZg
7F9RRWwNlOKGhcKJQmBn5zyywM3UT4F/7KRLUyDdCiSBi6iwJ3fux/TougmpzMw/0/ZU6kY/TegG
L7pOpncTrRSnwTjUt0m06tF4nA7QgZrABF9sgRioqCxjgPk2NzESqHci3FL8VnokHNw0jn4rayAT
imvBH7RAJMnHcGW0uzB5PcL2JsWF8zOvb1Ks6ofOS/8zaCHJCBNcNg2NRu/SZAyAiP6dIxwireYD
mSZcM/upGPtb4jkZQhUR21ekorA+Jh4DI0CiKcblHOBSoP7zsZ1xCj3ypRWfphPwNPj3lOI1H8Uj
Rwb2MpLWoWpCy7cQQOCUe0xZm9Eqrdh2q/FQgh5twTATcZczauWc/lzGKMSw2nFA7M1cQxhTOVMp
MZ7tGMhWJtuziVddrV9wDoZ6gG4osYh9S6KH4uOQ+RzRQ7jGb8b26WtJoN7PmMBof2faaMMC1sj8
GtYtzEH0Lb9Wtar6446kKPB74w+VR7gN3FY+KKZEX8nKnrXDJgi1exsRqbsLG6awDSzQG1W+rI+m
Is//QCubviRDGgOC1Z0Vb0StO+ZC3g3gGnHFdMpaOsHFuIZkAab0xV8SIFYiYxgNfbldDPbRlcq8
WWzvXyULWJqLAsZGlEZE6g55mIEqWIlWtZPR0ENilcz1DVvEYsRs1WqGdCGMslMCuuHr4i3vlqHA
OGR8IAxNAHVDF8f1kK8Lp1xJoDkXdBOG5VkuXfpq22J+QqkaORIJakKbBg4eZskMQlEiZdi6CF+D
QtxcgUlru/kYoHv7R6kZmB62fXCfFBec7QwzsAFbjuWXSUCLAjzy0zQaaKjkzrF7RHqekwZU6MuJ
F9oJ40xgaPhNDMDfYv/TbVtpQrACcSFoGCEwYaLM6oiwz+vjUtvlv6aLQQQN2ZlA664AnEApoEmL
m/betIr+UBVO/0nwLA94HjoExoXphqeDdOMjo/nBLQGy+FesUq6ccEH9c+jQvPg5EScPzFUYiDR9
6/5I8iD7I3Bb293kmcxjY9Ek7zSW2fWseNowxDo1CfNzDpHk0og0yKjGqc6zP0E0whKTb8KutDG9
m+zcRbsh64P0lHbwb8fOq+J8x6x3LB6h34Ek2xW+6yLIMJ7uyB7Pu5Puygnr8Crd5RoIF1sPNA0S
CX+5oAUOJbKp64kR/0rMyN/F7S3HYx+PCOiYp5or2ZsghLaX632jqXJONF1T8qPuF0Kr1LopgV7o
tqib3RhO13nifKDh5GekiFZXlYEJHBpLB4Pw4dSEd+ht3U3EJp+rmypKvp7gSjJ5QDOhC9UszYON
Bp+l0zWV0kLNmN0DcbQLr2dmyP+nNQhBR8Bv8gcxm7z6MHwL5ilgEte+1DJHuiRhVYm91pRrdCph
LZt7GcbROCBnktJ5DQKyX+84Z6r0mddgbjndqQ335CK18RM7LiAbQD0798Ky39q0e2L9JCE/ycS3
SVM4ES7BuPubvW+SbWO45Az6cT3wPyDcJE2ni+q9anAPg1v2a38JiBiNOGvSLYkkSaKRVrBl6cTN
snZlQXuMp/ygfKb6w7EEJGqbBzZO5cnrtPCwPg1eR/axSWNkYChQLv9rnzFWuWky3+X9hCztHAlV
or2hFsnb8+CRnWcJL56mSt/lAa9ggCoCC31yvaHBFIsZkdH7HcUSDNReSPy/WJEyprHtRU/Q5b9K
+DyN1aR1xYW4nqYtDy6rDuxfd3XRDwTHZP6rERUz6CNQnOLvTgB6K25h2eMylStk1r4My2HlYp2J
0DnRPgkHZnFo8AsOfHKYPmNQK3geMpR4VgOAZYqHceTrJ/Uopv2A9SAUH15zi3mR2ivdB9EJw/yg
nas02vUERyV/crX98yD8XFW4N1jDnsH75HUZfrkOmTNsiCA//zBKwxjA5CPPMblTwn9s6pHwX50P
jrcTGeozFKQkq/I+mfNQPURQ6WTR2z4glGSSrKg6Z32RhV9kc8UbkAnrhoHYX8DYMDPW1bWt+AI2
wMOKhC8JW9J1NGFdP3bl1pmreqDHXXK3IvjPi1I5fhA0O5bPE9Pt/J9GZ0FUWeZ8fQoaoocvSy2A
rxncCfWIoZ5zxK0I0XrRPVlxzwRZlWCublsFjx0J5851BD4grZi8/OBNBo23PGsRILe5JOHkANVN
X+8C+LTmkpAHhaSMlXw+6THz03dball9KbdegvSYNx5FKnmE0CJwT/GDSC2ZBKNL+FREU9DueViX
+jpHbIHYLU40pofJY1MhOQ9B/XfgNd1Dv0zjL+5OwpLiVPUl4Q0zneqOdENMS4Yc6OQ6VChyaOjK
X/6Ck7vpcEACalxSrDaou1+tLM8tHlzNWLuaXgcfon9vfDf/gYhPgcE+MAwkiRSQykQuFIjSvVQH
ZkOO/YtPOBzfUTJ8JBPwJ+ZMeRIubPUN+dLdP70s5fC7G31LHDK7QvvyLFZv7YnZEr56YpzmUVaK
KR8/yqyq85/IIw7e+8wBRzlKiA68C4PS0t6JOexXHNEoKojhA2bwuxrVOT9NESadlIS16RBkBPT9
YiFEn1xGIiZpQ0tFL0uIWNs0pybSBNNj3NX04SDjTPmQj1NqioUiEQ8VBUuV2+Fe0dUvCS94RxQP
VVlcsYdXEeTTkWA4ASCMh2YZfHFO5hH1aTFCTz8XzLvEAmrT6P/wfGX6DscoVisVJAxkiEGlFiE1
HssKgQ36kXHRRiDSLPcHSwJKyU2as/Bjh7vLn69kOobOh6gMlLuhj/f7vWLt/cpcoWNikQ4udxVg
ZksxAnZB7KdQbUzMWeQtLx2ucCaGjuVyEmyQs99u5gzhHYda8+RsjjbXbKkdbb4V8MTGYqYrvcoN
mEi7ea5fyQqoq28230AsLkwy3Re6XXDLIJrn7AR0MAZ3CyP8Cl/YNs1GA6CN4FBUZ0LE+lzTly0q
5NS28lry/mKeDnzvjyld173pcXB2kYnL/tdCggILsvA8ZD6PJNno33B3XXJHTbXYm7ATqM9paSFP
eHAtn+grGWEiZCtIkZ4ssY3jBdGAb3wPBww2MHjaqpeOT1tFO5+itGd060M3BPOqZ3IJR4NK0sT0
tLvGp8a+r/N4Hg514cqlOqJD98uBjUYoVSguc/1shnItuwc2K8jhxUzlGBd7ptwka+zmWjM+ccNh
Ji92xTWRvg0oQfXfskug4oiXcJP2mZUOW4YfzCWJp45i9IUFiGuXDDdkCm2InyT1xzDXF8rr2tsa
rJwlgkjN5TJkNe5tV4b9c0BooXvf0fy3OLtV2zxaHPd/hp5cmKumVWn/dGvrq59WsLLzoIjI7e6X
EYbzxRscVRGpEazvWNN97zipZvHuypQwgV/Cq5P5KR2IJDm1GA/cDsBJcJgudunby0BokEfsRo+P
I0mGLn9UC7XDPYtMMcE0Q1ebr8mpnfynVIvj/JvMSjXM4JKjQJBQFO5kmwWqh9tkAHxcQ7D4K/fd
5mXJuvybaCZCFLLVPQrWHNm3RqzjeiPs2pSwE5WKfRgjvGHFhSgp/jTSlrqvhvhvBj5Fht7aRbSb
9B9uEXRHVPKEUOIU+fsx0EsznKY+DN+oqkl+cwU/4V7xaoi9XFFi9kKDqh8monDMi6yQ1H5RKBZb
sJZfNycXgccnqDOlfyI4pV7OBDvByNFgB7D4I/3zvIszH3oqz9uYnsftGgcBZLbYqknv80Ne/mx5
K92sdJ4CZ7TqIfAQxjj+2WaQ7SjnquEHbFeOOL2FxIIwgHpgNVqiF5Ml0XSPdUE84uAiDITkFYFb
BR2Jc0q72QiLJl09BO+gNFF/XjxFXG7A3joqzdE08ZNUAW4jFJVoes+Yl8ntFfLljuT/ZBsAxMuf
INYjPa+N/sfRmW3HqUNB9ItYSwgQ4rVnd3u2kzh5YcWJL/MgxPz1d5PXO2RwN+ioTtUuXs0FjNju
OI0SKonPAiriUoC4e+rIHq9k0beTYfPpOycweVS0HHh6y+VN8b8RsOLNsV4dORBFsBSBO78TRxas
hCd2xZcVGyeaCvH94RA3S6Z/qoRN3ckF+RKc5pht20GrqNv2SFGb3Szgk/Cz8XMIEtxB6Wm6kv7z
Me9NcM2dI/Fh9+C0QW9OrSX2DJ0HWPldZWLUMx9a07CbMNz9MJFpKDGjteaoMDfXnN1e1v6OJ2pe
FlyH+O/5GhGcnH3EyWwqMeL0kKIOXLEqCQYRiPAZGWZuz9QA8EajIc3x7vm+8hJOaqP8BzW2bNVi
ku3i2oQs64bZielSGl09k5hNMudR6gpbEpSmqD8TYYI47dvQ2BedYWG6DUPvpgwMkfvJraBwv7Rb
NO6PiTwsRXGiBPVZLViAjlVVICSJGr/XfTZNgNBij2nmQVU5mhmH+yzI8Xjw82Bgu3g3myUPD0Z5
pr/iQG7+2AoKEmvEpFkwqUleNu1apKSGpAgCsGSQzClEWjP/MQBYt96RD9DZA4uXwhw0fgc8v2ol
hECwXGQXF6xYeebCQVKTG/LsOj9YW/TlLwGcUt1NrIpYRwn01G+t42IRT2bbzU/wB4I329aTOiKs
zdV7DCWYnUHVcoTYcWRuVH4SYaUoG0vSpkYM/K7XVAZEfMKkbu4Qksrlqhh6pzves7l55t7BhT3p
cfnFpLnCN5qTuIJjy4JIEaONHozIWcXoIlm830PQV/VF13POJTbcML6LYN7RXKYFi0U9cTG1EdGs
Axv0Ul4gOhfpA5n42L4MY0+B9xHxjVN0KVt2FcPKmpLP0sEhUGFiVRe2teXwUzms0v7KRfM9Z5nY
0MJTYwaEop9NQ33iZCfmQxyhifjdCAqdh4p/8qXgt4SXZdA8qLGKwAmzwuYmx+lKPMqv6PC5SO1B
YjAmXP0//eASDEjaDvBXs0Q9hW1m5SsT0sv+gEtqES89SPNfeB2tPdpuYQKh5QmD0G7xhsk9lPin
NJaZdcYT26z5U+OO3NAWbyLaO7Ccq3gatPuJsXgz7jVwLBmoK+W2e+t48ROrQsGmFRpwd9bL5M2P
LBGUuAz4ZYZDMZONfPBrI8ozdnbxxN4oCW5p3jLqZlwo/07zZnrlbe0NH8Vqc/0EExaZHTWH6LzA
Y1Uz2VsOnWoY8uwzi81wP6mGCEqX2zW8Fe7mxAO/wgiodAVgr3CbrRGm6dHDcbNkMSi1LWpH9yFy
SUZhlj02/67XfsrCfD85vv8+KMV/AqnUfkvyPHHeTCA59YiRK0RhXGrt/ez2c3vNxo4GOvhconHY
95bb+ZPNaOJAX0oPNBiKnbXiKLC78DbPdaT3zL5xj0lzsr897DEhF7GcQ7b0SvkRcfiT1Kab6gfD
PTifIR6hJOqkJeUUiikClNQTNRpy2jV2vMvoTPawwffPTDxkpZinPHWUow8VmsJLLrsdI9LwQNsD
e7GkwScF9Ceexl/Si/vtEZlt/06fTyneckUM5EfR9mFPVSM7cEp9YodVAUJiVDyRW9hA1HNSPqxg
2M9RE6fqFsmI6X302MO81a0KPKb3nrUtjy1fHGQ5lFcYli79noir8c0y8a7XRuXqi3ANhE7VBbm+
YTpNv2LifunJL0JX0NpT8y0xeSf8OzKybvCyVNDGfhT8scfHcpxlc51juZofgkybpt8Imuw+A6Ub
0Bmh2BPavqS5jL3x4nAUEtbIDlaQvYRlhbiGsIWF643ljOahC+pyfZQM+sHZDhJjkcRijlEM4Q4/
v4LGUFVlpL8LszpmPDY2VvUT9Vmd+3f0pnp9GPs08KAstQO9TVz6+i93nSHfDViCvUfU0ppbdTH5
FTZuNt6AHgYzMPQ3gZmXJ5stWyAD5j91PbMw1SOIfRSkJWyg1/PeDJZf/uwj22sYpOXJ0PCpd6oe
Q3HhhuttFQBBhkGr92GIh1ni/8emT/k0IAOMBIIKuYwLkAun9gNPjCCUIeZgviShmt6rmqAh5Ecp
LYNhlZ08ZpHiTAJ2k5yQV3+z9gr6p4Kbq7NnEOQ1BKdUyrNZWMVsQg/atqaZ4x9amzSE9mX3kTg4
GdI9FohY3DJbj+NdjQdxeK5GJyhvtF0h5Qg3MWhMmZJB9LBNq8kDLxMSt0kHWOqS5ZQAXJpqLIDO
trH75gNS7GnfbfG7HqAkzc0jjsm1xIW8Rv5bJsepvCNailsVvd+zlEcJ4SpSnGOah38KHyf/laOQ
xQ0JKfUldDt9ZdD2y8eWDgH/SHlE/qbwbqbvqOBNcUpKP06fNI0bDXMwM5P/3Soait4K9jefg+t6
tmDNWLnOMebGDhShFkn25KqO90VmxVYTkAsVPQg2/Xxa/Gb9y4TBav5UFiGLpyOmEva1iZnY9ppe
GvekqRJpX7kIkcnFHpT1Gjuz5wKF8BAm/hs9NlYoyy49Li3gqJkNXZTr1wVJH3S5x/u2sNiUko6u
5WyHl5AFEItx4E4yclMIHiG3p1cChmlzIUhDFLafg7H9uaB2ahxWJMPWg53yXtyEsjDZ8bkgMoD6
3F7l7jYQZ2E6Dgc+hYUtAj7a8LVy3O1UHTxvvBIq5VUxeYWfXrwcqu2bWFoFwrUB3AjNGdraXzEx
SrAxWCHr+STVy+OUVJP7Fi0KAdDHWxU8eZXPu2vCbBye8nJGgxWeQVgq40ELQpPFgp5pZRxc2ZaQ
n/DxI1BauXRD8tQpxSsZgNcSntHcK5dDMrBVepxUwvxu/BBRpveIQR/gFQlxqJTdjnMNSNMc3IVe
lx17cAB8u7Qdic1wSOfrEyxdf3b2g0uRwWOl8OC0Z37tJbjHybysr5scyfeqCukIGMYWUjiCk17S
HfEEzh5VJPN0WVh+2vvOCSr3RQaLykEMJCGrJdUIsPfU7/XPAzyY8l6OumDnRmBf4ZLhxUI0zebh
fOX3CqOrjorYXHtiLa8eJH7n7GVFfEKZBSzo89OLvsTitvVBoK5NeFpGdU9VCfkVK7aJbK4cFMq2
xwddzt5orkPa8DJhf54/oCNsFDVpBjR9cNOFOiosKJvx3mBXx4qJTtG0G85XUpKFaSLMWXg0WQbZ
fOpdmz8zRJKHzapxyjlpiYj5p6z1h+oAEiHFgaTatv816Mhv3aPJhvq4jDGzLR5OyOIw5ZOmOBRp
NSc/mk72zksOKc+7kI5DyRUTof9DhuuXZGYBXZZlncfxLYe8HO+muR3wJWbQDX4NZOYNvz9Le0TP
dfUi71TA4MKJzKuP1OMSjVVznOhWIm7mRIV4G6YwGn6JplDPgwYM8MYc6aePIfbi2b3UFfvgJ+aa
wX50Bt30Umi8ibjpGI32M2ghaQ5ll29gBTEt+cPKRWMBh8Fd4JKOmtvm5I2QqC01VvRJ5iXJYJ9s
JhKIAo6eVFDtP4GX2uY8CL7x54qd5fLKqYIfB3NbFzxkZUUSbKwAyJmlmRaKYZKS9Wo2kCXD4xmt
+hb7BMrOE3/t7I7NI6naSU+oAyzEU+8nT20Qv7CI8gnBk7+zb6aJIBJnrs/+3ClmL+Ce2urlUayx
l70l28v7CItBFw+xD2ryulGicU3oEBg4hOc8OMsewhpVAav2nymxlL+iLG7a96YHxHEaBhlGz/FM
knXHLT/t+cxZKJ6SCvLASzcQpz5GdYFQq4vR/c0SGfspySfsdBNcivJOz9bLHnDDEngufH9S7+Mc
T/5TKbHNut3orOfIzBzhwtjhVrszrjVUW2Tn2c8Z0cl0Vj2Qbm+k6iKUkJE9mnJxrtPfqLFeyAbM
ClVX/zpd5g4FaRxp1cUj1LJXLYxFS2kZhRQZgpkUqCcxfh8Yf8cGJ2KFT2dv+Ml3+4RPCi5PT2oF
3i8mJAmdKYA6R3o/ln9G12n8Z14XoGYFvNLsaEIbmCOOCSuPoPja7qZzRZaUuYyDl3o9mqd2FkYL
HcIpDfRnO29g56IJSjo6ppyPgeXkoClkqkx5kiaIsz9Vh8o2hTBSrooX9ROwHb4+w9ZV9B4ElJkC
3GZzON0JuhWYJihEbz8Uct70Rb8Mm6Kuw0V17MTAN4GhwUkGiiwtKzCfrtjsFXOGyr6j7TV8saYB
TlWOpyr9EC1QDkiMDHShxVa8xVAW9okDsKG3mlM3QNORQIkJbgbty9BLXlQcBA1HaEfqdUn4RFq4
40eFVbXJzhPCGOaHdQ675sEd3CF6NHRnxA/QAeGiZQRsMcWEYyeOIeT8Cpp4katnqDJLcGaTDVO/
grTB7j9oBICn3IQwzJDU/917HElMWzeSgQ7IricQuJ1pqKrv/sD+wfthCgeGdeuxlZRuhYp2jAsc
8tChQs1BuGCVk7RzuGZ4qzDfZ++2AH4PRQe19QnQAuuV3ZaZxwDMUlkeRl/NwNGwofzwBh5ghp8i
fKKrIXfPLDHgFUxuyx0mIPlDLtBhsHoHxYM9VnZj5T+IKZgoWgrasnV3qA48WbS/cYkZqI8FjWCY
yi7IvdG9YPacfuDU4dWNvkOEH2iK96SJGK0Gc2BAARxutxFwFq8seFh95dGOzvskFLR2I5Yloo8J
XTalAI+xCof5fSRVHv6w6bYKTylC+a584uSHdUod1lohbXQHNHJ8AoH0u/7aNt4sWowTK9/LxGAg
OeDA8eRT6AYyGHdAnSml5ErXdZfCh2Jwv0alhYAGgfI4+x1CGN66kHo/6APY4tdF1MERpACi7Mxa
OcFosD3/l2S0wrkbhJvdI9EgNmXd6pp7nVf9H06v0n32WMzQyFtmXvkvtU2HOLZg2uO457mEoFkj
RgMpfmh8rB1zCB/BUSL6LJ+gflR+s0ztDFl6k0JtKN34L5sBxDVw48geHf2WWZr2ZKlno17izAH/
eRHK58Pm2Sn52sSjX15DrAPunhsS2Twurkl3CcNcoWUTFkkSc/FT63X98wZKCx5iveX2gLs29ZfC
MiJujjOZSwMjLv0vWSo5wOAmxNFusRF3/NVH4D33Lhbn4Q45qYeDr+cgAS4yuqV6TXL439lOa6dn
Nk3nTVVWC9I+nT/KxjsLJHvzK1c+P/aqm/mDPai1a5L2RHIVZcG0Ae+sLNX6G7EWX9fHaFaogrVk
TPzE4yLlN88PuT2s41A4qKp+hzMNym5YUSIQp7T8UF2VqO9lzC573FMthcBt4sqfnkbsptXdTFGv
890dSuw2zbASOLIhZ84LYSIWIkKN1Zdqt5OuXlB7j2pEdDr3DTgzNm+1V7zgX+abzgqfOPxILcH6
SQkotS3LnE8fNFDGxX3ZTDxO/pTG4XsUBZn3bssauAe4Cvcdl4YTfZim7d8LUq8sdZ2KVV5UeWzK
+jVvLolokUz17Bf1lbJYfFXcl3BXo0qxX0Ndmt1DltEYxBunDLgdN2Yl5sCc4ST2HbNaVzd0CPis
4diikvo4N+PYDc8AlUJ+j8L48meQ01m266kERbXA+9880jpUEmiXmvgK1DTIoFRCCwKwOENirdpb
X3ENYPcst4ZedlnsXwemE0CyDtaUmLV6u2+iNcErxV65uRZ9M3q4cBYoeMdKtVH0zLeHOd+Go5Hn
EM1mOilOCOigkRnwAFCMK75l+SSbT4stAEuVIjv/3uQVBcqxj0P6QG0uEu/iDOIJL+86uuhsbHuO
NHkDb6ul4Lw1roNfVXGpZO8bFbh1Khaoa3oSYKQjVh+5qr81eZp/pBaFjUCmA/WSabyH4P1JxN4t
fi0tW7sfkZ6A0B7qkk5hCa+SmiDy8nTQTSfkbm++6cxG7R1vR4z213ly7TcYektFQ5jvrBQkmCbw
ymafIA5hCMHtvQqav5MJbFA6FC5wPDD2LZTxyG8SIqBzyt0OXhKHYMzKZ3lJyCitP6ugICknWHev
TAUoO4So0uAfEnIAV/qTd2TJ5AHQYhWPNQITtnymk5KbGAg17EOUM/HoIOzk3gdf4zH5Slh7tvti
Ig70A6HSXe7AwK7OXsW1TXFVbxkIXpTd9Ju5BUQKLTgynykQrJnlviL+CpQCse5immdBDhxU4ZZ9
DqDajDgbLClgBh9iGfWOcqFs+s+FgFMf+2CieHmHS2dD5zIR10fMcewY4PyuyT5XfvU1JDWmtBx9
NLzUuKb/4vwEcEYnjn0OmN/lsyMJtz5tq8pxR6co1kGBOfzRyxoKeZJJZtl3HtUqB+cTSKytmIwX
QgO0IzRYlMbaUqaFGI3+GhOCpxltdm4h5mse+tmXLxmnL49lx1R6HDtQoDd+1PPwNyGS11x9n0cC
CqDkJkEXIkrMEm+yEidi6oF/YacrfMsnnCKJTfsxHmT/wLrVtJcU8h0VxtIgAxOsiNU15kXBCtyC
5CbvS4c3ceFFr2faX1j1Z0NGM15H2tXeD9HkoOvPga/v2eKQvMpqqjN2YzDm3SseSoxxUZbIX8LD
ZMQ/rgdFt9smaK6UsEJ0Jll9c/oEG12S5vxObjQObJtKnwVGoGtYXJx3m5RBiDeEUFkE0xMrH8ap
qgOWtOc6XehDkhDUgYvc9+1f6ZCcuMucLIKoXGnAMtj+WHzdFeTKIAoOTSM/ldehqpwlBS/Jg2M6
rEy2kjym6Ou8SHGqZPLa9LMOPk2lelFAGC8iUjXcvdgf7+zcxPmFli7yU/Tw8T5ANkFX5mjmajb1
I87BpCXOeGlaik7XE1cabBixBeX87IyhstSHYZ0ao6tfOJMgm27LMOM+Tc548XdeVYURqRomBLUL
t8AgegcFDim2I2ic+jrpYCu3wIIk+xrGzYrpC6MbEK031XZIu4co5hZ7pavNW3B9oQXMUMjY8Kf/
UTBcq+QyoWBBRsKJotwjQcOVqcebmjj7NoOq0tza+XFKdvNtstLOmAlT1u9DwjnKVhG0TWKeggLq
wpdi4GVLlSMHbvfPqNURN/U6BuTLrW34SEfSvg9lv7RldMzGeHtrhFlHda6ZAaVRPtYO80XUNhgp
J/K9ub+0VBsp55CQZ6rAN+fGrM+MYJ7zWwVdTe1MAq+pRPrAE48jpw3dGXRlYymPWovG4ws9cU1I
f7NUAXK6W1I5iR9xD5cHUmgzYFQqxm55yyERN/dZYAjGKR1ud9fKssAPuNPE22haF8L5DHhY6Owh
gIsNCyz3m+qoqme5NHj9kXuoPfMp6J9h71bmt9IzvyL7zi8eZkefaWHP/qxesd1ZjEDWEHNVnFwf
+2vX97h1qV8M2weO0RBsBiDs16DcLLvk7lljZVsxnwiMPqMYefc2N/kHGC1MdCYecaih56/2iSKq
sNmneEmu8G9XoCj0XFKkh51Cs8MpEbK5qA+bDhTW8Hr3rH0pyxjTNuB/ZmCyL26h4LodBirH22GP
U2wSIDnnULJNjrwuIv8frj3LJHeLg/kwUeAlGJeIAxeVyeXGwVj2FhKsXg8snECe52HoxncTG5b0
KNEFqcHrBOuIJk1pN2OnnbjvMQtBVo1rs4aPSYdLHHr3FI6Y+5xc/ilQN+nWYTx/iUURNRfHp7n0
GJAtdk8L+pt8F1O8fCdczvIoXToyPc0i3G0JOLv5AARsNCySIv2e2MxmtwEniH6prLfU96Zcgu7e
jHmq9gXu1vJQ+WmUXZVeg4x92hr+4YB2ENmc2K/vRNltxKhyAx/Eninfk9WxjDf85zNhqI3hkR1g
lUYtFwIWqjEJsABJnV4DxNyVO99fIFFIRX6OiTbpAyzfcIaQNEVhoLQOCSLpPQkIwAFxVKvfSWjM
GdrI1H52sxvc+I47HfpY79mDXQkhnDhyR3ARZNnW6oHkA9+ltp1BK3bkKaCF5jnlX7GYnQe/a+f0
DoNUq+/xQfNR4Bnu/xAItZ+0dPPeqlaHbZtcozC70ykg+Ue/RhXaQ/jQZxa8/K01X6qnplbS3ze9
xtGDuC/tBczlYL8UU8wAezvEF/wxYnr9DimWubAae04kqs+BbDC6hk9Bm2VUnAET4Y+4TCOLJcnw
CF/ZmVX71XhuX30vfCl/goFrLiQJivZlGdzO+0xwNPUEHioRo2Lhwi5QN+m1z7ujKeWSHdSU9b+S
gqPnLLw2fJ04J1+GWBEW2bDEEzPsWv5s4sDmiLVV4L0UwM55mbdzqH/KDNDGT6ibhs2Egywt6ZRq
PUzYSc6bsXJjQs0mHHBvTzaCoJ34oMm4mePy/XcVRTHCcGt8W1d/2zhAVQE9O726vkhfsfcyLRgN
gvy4+QfNtQxwVeIh3Tb1TbG1BRDuxk9RmjAl/v4P1rl2HdrjgZ0yroouIgf3KWgvxfbQsIsXnxt3
bKKaIKL+SPi8RaJuoy/lRcIUxTNunqAwJONzjqZJFyalroO9g4Jg0ht2npkM5lr5zJUwZ2jSKHDF
9P0+TXLXe8744Y24qCVujcPSwcT4Q/p9nN8Su7aZy6uh1Plvu8Qz0gPbysonJRUUc/hr8zVw5oIj
0NVd7cwJNYuRCp0bRA4eTvL9BCM+pYSp9cFOvnHuJBqzx25bWD1Q7ZekDs97Ly8uXuiHmk1m8BwQ
qe/OfZVD70w0MmqgvUTcgdGv0wO5LHyBGvYwsYFCK/SfiFV016FRXWyfc5EBsQlWXdKscVhK6gMQ
l5NiOoVuJc0Jx9rwkzN54yIuKU/dYIefWnZ80+cNyHqPypKQEF7ZP1bnNUz96M6NeRLvc95lzc+2
DchOakxawWOCY+Mappl4pcXLl0flle7XQnuGfulzxScrINBuc0LGNm6JPVTHkKTcpr/QL8i5z6Mj
iQplp7Rks6m7MKsfmD3kwxyCFNxOMhb9uPk5X+qIAAzWdV7Cvl+x2sFHPJisO4dtHf2dQ0Jwh8ZV
JK/Xde25iIzK/g5bJG9s4SybDzmGkoesjcHVTtEWIwjxdZzAKjH7Ym5jj6EW11B0XLZNwbeU/c1O
Mi3UUE22/dOUFibkJGoY85pmeyckHl5v3FnTE/+t/abjPL2ALLTtW5iSUwPlT80NP5WmmAxW8Ynu
3tVwQd81I9j9IJ5ZKQjX+ARNHCd8xraJtzUYeWTvEz/gohGpNOEK2IW9YT6Cjv0+YFjsriwYxggb
vhMg+bNgi5ELY0ychs62lHK2Iy5qnKgaaInPPXlYubbhB8upuR97On73KYuq+lr1ifzswCt0J2xt
g3/kxOJOiXkU8invu7BmNkkj2et9VIzaf82rCHikjcmYPNAcH4VHP3WJigwDXi0BVQMYASyu4i4g
W9vjz8mc/hS0W8J4YO3WXIC39VHw3Fvp+y5tsAFIxgPr4gGSsk9AcM/LIenumKzoYrRGxp+sbZha
d3iLK3vzsJpUG7e5G+JHt96koyWd6b/CrztBsAcVE0TEtnzAVje7ptxnYCNAm8SPNm5gwGhltJJ4
ds2JG1HxzcX2FF6FFdl08U21vBX8TCM2b3MnVb7rrO3dO5aQGM0uBCZb+mGqif85YH4ix8hEtxxp
7ou7B/AzZfnNqRNO2FaHqXuY12yiPpqVTXlPwhb/FqfKNLuvYhgJB1E+1tiET6xFGnoir+hFXxFD
dBrtVbCU0WPmBzVITsqmbbZzMbx5ySX22dgcY8v09oAY6HevqxigpbKWb3nnkBHkbWVgI+ibipyc
qmWv3yb1itmem4pICqSFw0BwLgaZ16TSfFVMwWV/1jDz6SYn5bYeTO9pbhvUbJMDhckzVw987Rkz
VeZiqtKV5ayH91HZ+h5dZhxfaDWmQ5Izjj803RZcVtId5giK6cEbG/e/pMxy+4cZkgUvS9vCY5eo
M/EZVk1MQ/SI8/SW9CGZ+cyOXLKSUILLRCR2/PJXBWjCPy4aj0B4SDyRjK8yI8f/YLB/Lr84dNtH
DXeCpa6u1dvkDPrBItRd0GowDBRUO4l7TC9BdpsDmDTP8IJUfknbaYsee0GfHauQfyBUnowINezg
rhXWT/h+OQw/bArVHH6antVyQ2fU5spQHmYN1HziE7uig0hBTSLlIHSzNwxL7LxoqK0hXe7hrKiv
ORBwnSnPyH7W/hjYPbZQ2d/WMCS2HISsLzlwWybNxiX9xGnHHrUqyLbAbCT71wx95kF6oP0z8yX+
QzNOiEiD8HBZUdpckHkk8k7Vgl7NZq+kjnsz/TF0UaazsZnWhfYI5REI2fva2+K/Bv2lynq08mr0
l5+R3lxteVlslY4moThypO5BXBbOMkumWpL81GHAdsQT22UffWX6qJuc1H/dY4iCD4fqsBN6dOdX
gcGyfs4Ai01/yWthhyng23Y/SSVuTSksaLCnLpv5ApO1fMjytrB0Aq2QiklfAK+0tgJ4NwxsSxcb
Tzeka5YOzJ50W1Tp2rls+hqqfBNaFh4D8hbVuf0nUoogSpzhxN08obt8qVGZBTnx4QCyPep/+wXr
H8LsGfdagLbTsMUOalc5iPyQYztveqbNVFxCNr/xKQ0KFZ7H2FnUOVs1sZeFJ/X3FhBMbsJsY1nk
Vv0v0pFsQIBl+X+9ygnrYkc5USfvOX5F/UDAcplx+6yp+4WFd/qW4Vkp9vyguMNrpTiHhDNE+T17
FfvFuMfPWyvSqU3FC32feGVlKbR3mtdFumwOu8LtPlSWs9H3FwGAN6jad6JNk8WblLLKUmxeQPC5
XFSgVkXBWx5MrOMQxfQHDqlSP1WZI5+JVJsB840AuZhBUOzH05KGIWd1ENUf0HaalwmVmokdaMx7
Mk24a5FappNfNdgjKxt5/omoTn0xVZcPb0bQDSZ6Fx7AqtOJHca/8tDCxYNClZk035FYaIAk+xxX
2f0YrPZV8yUlzsYxoE+1QAiC6uKt44Hiba4KTUYj4YL7Yoj3XPWBdt0UdyQaNpDfNauroJdPNJrW
+X3hbmn2EOcWC+secy2fOxjdhZgUmvu5nonAgfmb8Jj7leMzLtJzOe7cIAufhqXCywQkN3+jhAdt
dHJT2GlTh1nunNXQeP5AJsVaT/CRlG6GE5+lOARerJUist8z5APYPbTZxyRPqdjwOYkbdqZx7d01
aiaB6+Gl2idlHzqPW6Y3P/P3SGCKwVYgBwBcmicdITX8j0VU51yEVcI5ilBwku+lYVvwjZaitPsp
OhT/b8oR8Al3PC9NCRK+1E0Sv6BcYWCFB1QHnJvl7A5QtQqb/LfwdQj1IaWfwkvuEUb86ZFMHaoO
Fv8akiYJPHUTeQbHBw8ahQGvrGnztL5jS1y2jzFGhvENVaXvaCxut6EOzOzs3XzNJhYDnWHzekfo
nnkCR7HrPFJX4QxbzN0tfX5JOGzLQaejGJ8nAzDxK5ADFG8+dhfjo3UXTksC7MpZhlfesKIzO9V3
MsMIqXn7PQeUSliGMjxjf1zTxmZ5t3ohpb8bW2kUkxJD/zcnSdPsNSHGzWyNco3LAz5IkN4TBK3m
aw+jDuIuNoRswjjvl/Gyr+dAruiHYy3umYxZpwI2C7vLyoJ5eWXhTj+r8WCL7SeqQsAuw20sJkyQ
chF7wHK4SkQckLvEbDar0/aLQsdT0RS8uiLDuDpA8gjul9nx5S9PtsuPrOzd4sLwl1M9wEUwaG6r
6rr01rewIyhhqNr6RoAJJpwrh3n6r6AJvT5AuEEW8VcEmQrT4mZ723IZw1piM4ZbxIQtIo2vL/Em
zFeD6dTVRBF3ozCoFvNAniXvOEAYUPAQdmDwWDG3W1dgHHUvKaZuUkhFlZwaQrr44iix3oJQvVdG
H5LWHa/mFbUyF3RuGl/0UouPTPtlTd0yjMXv/lpO9zMQKrkJBEH3FUA34u9Hjpv9TiDIlgPzlMmJ
+B0Ai10481wT28//cEiHZbgFJMKRLA1qPGsVX9Ljjt3S03mIDZZ3V/xSp0vYH12n8IuCCptu66Mz
wg1/8L51T/XctsNjHTXcVDzPwfYKOYkEOBXx7CJRnTbGlSiJcEDAZoqxCIaoRpTLmiNSNSpvCqjj
V5VuEduyJkYNznROqW6rKVsHWRRVwf3UbbifhDsqe+UYYekMHMKN3vhxQjNpF03hr6183R28jHXf
cVg1/vEKRLazq8h7WOhFSCUnp+LSAbZYvMGMxf1fdLNYTgkhWRTxsAiGW1QsJJ3HeDIvpNPW4YEU
l/zwBMfUzsdld3OTvCE0pV2ywXoU/g/OQVcyp1DI7DIjEwri9zQiNiyp5tl0z4oQ5tfKSsCDk84K
7CEJEBQfsxH+4yEOWKTtcky/Eagr3zWXsh3zDW1E0+NOSs9+8Y0NslcQtKv5KEYusBeoClidiFnx
cCMiI/qTjjH+eQryliGj8YIWHi3OdmAukCQyDwaArqNnazu3PGN3kNXTRBdn8F3Q6mE46At20MA/
HM16mWVBYr4bm3U4G3s/pHibXQqB60JivxuyUJbXtcctfSpdpphXGU0Yj1K4o+bejgpIoXQgelw9
DMDmtqbClcfU52D4Qm7uRQBes12DvwuLhPQF2c/n1RZUGRCVos3GE5CSsCPgOHZboWmz0JtLFiS9
UsrCALMEFj4/2h/vjUFENUdu2uXou4q/1alYKzQE3n0mfsSLw1HM3mmx9ziaiFsCA5szQgEdsxnO
nSXcx5C5BO0MwKPRDEo8j1kQDeBoIztwzqxpgkPIeCL8PTCNtxtXDkhJyJZ9Rxc7NWtcX0Eekc/h
8MYVt1mdQdmZa5bR3nYvghwyyUCqO6MadOLf8k5hL2Ai7tOHoitDb590Xi9Pwno0ZQLxXvGkVhLp
g8znZk6AAiPQaj7pXubRggsffJeODB6XteQnRlUGkhT8F9F/Zwbm+m0SDeaHCNrYnzfGws/Yd9Mv
vl/Mlhpz/W/p5dOr7hq+ImbY2FIIxZS3TwggnMw4NZ3dAN622Bdm5kqLDQ2zCVz1f3fMDaBTZQKb
UYOxn7+sDPhiCMqDeHNtePFdCr3vD+BHFi4FaLePEn3AweSZFygRAQLX3m+b7pe2Jr+ygUudA3g3
RTOsZ9k081JcDFtDeEDoswtJmwPQNzQ0JVbMjyj4if6RaGWvA9nW5ZYADP6DdZ5MdRZ7BQeeoa1s
8/qRrrCSCrUDJnsE1wli5UvsAsQ44lZr20NSSG5cFQI5FSpVHr5nmG/1Ad8V2b1YWucXf0H9TUaw
CzACc47ha8pMfSPch7EPbyrcC2xQ/AmL3kFxdQP7vZoCfHq4ZaAiA69Vn0JU1idUhUTu30Wlx0eD
wauqrh0tsuAc3Ba+DxFSqjWoPdkuyoCod3aCmYo0hCP+yqWZ0b75n7PzWI5c2bLsrzy744IVtCir
14PQgiIoIpnMCYxMAS0dgAP4+l64b5IXnRFs4zTNMpwQ7nA/Z++1faJQN5CuEQWr/hA4d4kBTmIJ
tJTgLii+6VGHQiD2gP0pA5B403XgeBFKYvv0DuxE+dj6ioJ9UHVNdraVRN64oEkgyHerE5VmBL9O
Yn1cUaNjoXso1Z59k9BL7wa6ov6itCVWQYctlHlSdRruK1UvQ+vB7sCVQIibgCZDhD0Bo+cUlARi
ur+BapFiVGnQ9tjGgBmQjVpy8mUEdATZg4kkG1/pGqQMlyEGausrzipDfxM04AemXutAc2uS+FV6
ysmJ6o+5JvBPgmcnIqvZu0igyZtvO9hPWHjYdVfYpPUnM07YMvt9RfScj1jsPch15cg8wZqPhtl+
sLWeA2JRRei5I6hpVO9ymZsnvkPsIm2kvw6syxKfh8g1q1nw/otwX4eWEhwHTxC/k0gaGTchkiNo
GOjOgiU1fe3bgIdiJSgfUiquY6xzbj8ZfljnseQNdB/McxsppTwnkQddLfaQ/2YkIu6xgU7bEPIt
2FeigGIdJeu0ALAII+l7gnQwW45dYZ5FEHv6q5Njnji6NOeeKBckm9yL+Q67LgzCRWLEmbmvPBVW
gY6ql6cbeMiY/bGQj7GpU+JXRaith6Gve+6+D9EMiAeuGfSSff/SVBP80C9pViFgGoW9NUnIYbeH
xR7HRy+FtaTInPKURTo5iYBdPeQBwrpNJWvANSYJEwYTK/WJ3YBzg1d4E1NWcF8oEpFyAEYBiLJQ
MKqsaCdaO3QUJbLm0KyeMEjxZde5UclTS7zblPLUT+AdWY2/fMwIBLG1bUIkNYS7bVuMSORjDw33
gUBJsUvSv713JrEEqLRLBHa4heyGFYS4yz2hfTgSFboc5BrbZNTeBSDnKk6UcXOQyA84EiSae0pp
RjSANWzjtdKM4M532vBZE45ACGdAq5i8jm1Pv76I3yuzImvX6pXMXWDxqFnCe80rchrMiX3vNqNW
LuqK5sDeF4p3QupB8kzKluZJBqBulm3nKC7RLXw92EH53hZnKs5yInfoniV4y5B75AMCXMf2NPk4
Un6EjdK0sO+dutF6gECmi1x1Z/spMisnqeobD8VZe68PPTcHQkS0dnQUSpuWGq95h5+wUza60KKe
VlbcIUIyYXKTtdXo3zDVSJ86derEy7Lop/kD4IDAYBLEJNpuCvMby2CjWcYDnVvgNLwqlV32bxaZ
IUTqpBH6CS/FF0+sdZcqC/Jy6Xz8J9scYBZ+HJ8kvHgBIkr7Iuqiuu+yDJEKlkRDXVODyAWIo64k
N4+Qix+B2yrtvuhsll08bfRH+sJie10AwIGdVXS8GzFOHBblyMtYchT4DQNfvaOR5xwuEf0ozcqj
OD/uXZr3P+u+RfhbNvTGN30cafbSwN/04gwd1BR491rxwyvjnLIr0bTOi4O3hF/kIVHRg+vnh/AA
YZrus9hUCQFslcLb6INVtai8ItSHSx9PuzgoYVPyWQIA1aAbxfKLSyPzLRPRpiEcwmL0qAYVnHAE
pThJl04rz4MPgg8ZC4q/k5Lgr3jvtcFL3yLy/CjAUrEltdMORVjtM+Tu+iF1lY7uqSBqI7kXpTGZ
0/sQxMWhD5xGT1aovm1KMMZopNsIvDSZpAJjvkAdyItDiZ8eX8LxNjngtQQQkJUy4laSPU4wUkAU
67gTdVyXcI9IIpInCA1INSx1cswNLJByC+kxfYZqhyjEFQqSJnPoTOYyUorwENEI6EkvqiksqGxX
+5uiZXe6LtCG6Y9m0iDrop5JG95kcfqS4WPFAhVbNm1322rTp5wqfPaskFjQf7Oxn74UuEVHXrha
gmogQQO5ZdxW36tc7Q2+mVEdaJSpCDxmMRuhGPzKKtlIwMVDimRsb5dmR5Aoj6auX1p/VG13MaUj
l+rSwUCvLiHAuey267ajpYzyAcItGILg7Ded0CjkGNWYHHgXjPssyGVT32I+5f2yLZYX9jaVdBGl
08oOSMljTwJMPS/Qq64ycKkbFQHkFzR3hDHVQq/2sUmxKcVaGqTGcwLyOf9WeB7BveAy45sitBU6
sBVuI92o7EPr6r2W7UxDEAtA+A/Vo3WQO2OwN8peAXVZxEb2Vplq5Ww4A3vRO6oqitGkwRvlY241
ZnBOWa3ka1o7FEronjc2RNMGWZ51DlPoPhABp82q26qM71ecb39RJfNMwZ6iKal4VCNd0l9tx1EC
uIJArghKwzBHCIxRl1T2U1tjguNL3YFZpp7shQOQb1dviHhwmuxrG0NDOfIW9SJCM1UQybV0U7au
BzrjU/kxsDTCO6rU00iy8QI6AJFGmPJ927cuQJ62reQZqUSqDFgAeH+UJaqUeLLhwHJy211C3WWg
4WEVNtFcY+2yPHXqgNlL4q4UX+g2FMrZyVwne2zBCBjYePQmSGj3oPCgthrAb9GxSvnIpGN80qfW
Nm2PGCROBkW/p8EmIxURnIjKV8ByFP9RIhWJ+qiUmVZbi8LNauV1DGrN1pejPQRYNMjcwRLAhCly
Y0MqmZXXK13obv6gEHZRQCbQyPbCgpMqPpM1BRlPs853KJWuR7wa1bAhMwc9zM2ou/yvwQU5b65S
P7cyVFioontr0eChUKNVGFrxa5ypI6wfDvFPQRxGA3qopnit6GLoxg0RrK52yEqNgKCcd/UmCdHb
LlTOZhq6VQcrKbgUgLYLUXlJteV81xXeOoxGWphLrdIxB6xLAwXdQ1Mj7r+j5N6Qo4RXSXbfwVMa
w/fcJlT1hp3L6P3SXTiwy4ZYhvpYcuxUceCw7h4iXEbgYB22Fbw2+B5vMvSs5Z0gpqXeyMqS9P1E
WT16ZkfytoAw5mDkySETLkE+DliKImTsZ82v6184wEPzodfjEUGnUIf03s9G8uLNwFZibDvkQ+5C
yrlEoo8yu1FyJftBNJNIt+TmqgY+Osshu1ZSqTp1SOyDXV/xFcmXsQ6r9c4SlP8qSslZqJerxrSV
N4KlNaJ0am7hE6HobNaWaB3R07tYhSECI8Z2N0iZnPidRpuV3lInUjHyUSRnR5AFMcnkFLlBgBLT
RVelFn7/k8i8FOd9ypZp1BexQUgKsslOJ9XZDKgcLmky1Wc16iXvYMcngpIVrcm7xK1hrzj4LYw9
BtCBRy6Jg2IjJbz6V5fF/UNi0CZ26Dtrbrumw+t5RFoQyOTf4yOqnW9Y6SpQd76bvhE05Atq2oHi
yaeY98riZVKVQS6avu5saNc8roXXoYi/MZ3Rr+7kQBfvpmszA8YkGHvnZ0Qfzngue/Yp6FJ9GB1e
jBnGW3qKU6FYDCz73qu7wgFl1ivEaHhNCVJNs9RtI7yCmK4+pJxTRyRMT+3FUmdTTl7P1N5JgkRB
FaIT+rNwoHMiOYpD81DK3H33cZnGS61WOzRrQkO8HEeKuVK1xPuajzriKERPvrVwKYHKLWI+8lxV
SzGfgRi5T5gKGkrtfKxL1ZRvJRjgcDUSPQEJpLUT89AhF6soybFW870vEIZim9WfWRWGW8OVsAhj
QLtEHGfwcDD7xO0tDaDsleq0EoB0qDAzAPDMfiEfGI5F5XabiHPPSxtExYmkb2vTsRe41RDu3il2
6n3xLdm/thyWDEIBYClQXEqim54i8ZvL8ga631cDd6foZoF3m2xFimZKoDrsfiFpLEdZN+9OXroT
W9OlssSRp9ww5wh/S+kU/4Q8Vn/T08qwl04UJo+TiuGJ4F79CR1Yj00sCtQDMCc+aMgJOFQVTXCX
5oKsYUMgbec8CfwnkqgWJDkLv/TSMY4QWFL8cHUAi1wM9S9MpP2R7T05L6MgrIHdT97/VLQ2sNdm
RsUTpgSen2eyvr0BOxHCEX6ZOYK/J48zXnsjpLIyqX45ieeEFXAvuexzh8AFfIxhVd+00KrOWQDR
g32NFdw2PkbxXZ+TH7hmk5iQ9tYG8FcVj5Z0l+jyHt80/Ui3sotlpqSWejfWEdiMRY6GZTwPbMz0
aNlVYw0wXICOWlah7f2wSswJq5AV7pimFfXHokZhtkxL0KaZayGpLGyLgyk9Oxm/5r4evgW6ldxk
BkEby9pzynJHBybDRedk4bZypmYnVdHS3nmxKu0NqT2J8xLqbbZDw8nnHeyZ8ysgIo3TaALDfUVX
JuhoR3WjPNm6kuK5DzpzDz4o6CFiWrm6yCm38zWFRedgadN6TIGZLsn99G1hk9Chh9EaUEWGBcx3
i5syUwdjSfUgM1demlvVnq4AlhWcYRSP86ECHYitM9Voi/ruuPIoz6XLLk60WzLr+5UDjZI1z05d
sR/R6X3rIL1YK7LeWWWK2vEFRi0ZPkvsUemqpRNbnB27Q+LUCsb8Dtw8weQlEsc9IY40uxVp9I65
s9PYVdZKIhoa6DEG50lnRJ4I0TgmUG0yrA0chlkgCt/YVq7TZUe2DpqJUklJXY4dzpDwW3+3MUwt
S7/So4fdIPMMxLUqMAoYiinO0kptb+E2tvrDgDj0psSaAlEkMKw3sLEtmJoRHSJ90jR7dVwNPTIm
QkyPHRJUuOqQELCGwuAhOrstqwfLaqhZFXlLu9jT3UNfD4158BMUn2vPMtnUxDoarDUchobOr4Z+
jX5YpZj3SSn1dyHtJr/BfCOic1E1yqumaGVxsK0+u+NMRaMevzB5R7A7TGRcHMoIoSsGEmnqxiAR
mzAC5Yy+pv4+6OzFia5V1OBGr12WvV6p+og9FcpVtD1K9qZWiZewf+U4B/OSbmq1jjIO5Wsas9nZ
1cKKOUg40o3Tl33ASSJkcW5kZDuEO6dgmW2cog+ibcNDkXBqWymNF58RNNRni+PaQeUIJHceAU1Y
jVBC+HASSzV89nJM0t8xfeT9bR7QPKOeayX+qtfHFHlRGOi8M0FTIvsJkZxrN7FnxOW5KbWsv8UJ
W4jnJC4MbMplWLrpgsZuVaBUBK++ZX9O/i1fY8s62o6CJTOgupu/IaFKlGc3MmBjyJJEI2zfuDSX
4AFIJ3S9vGGBhCqeUcXrc9WLwbrH6rhiReb+g8or5E2khlm61sK0UOj/WCrCAaVX/FuyCRRzGyEB
BcMZDTC0yNakapfTwnH206Gzfo2xqXgm7lTTz/YJbGXgYyqmzqWEIsG7w3PqbokBivRXiQNS9Evg
PpFFTi0qjRdVo5C2KjPYxc/KyEHli4ddnWZsIn3nlRtTmVSIiAbZGV4fDGdaX57cCNpoYLQQjutb
DMsxFt2AvfQtBpfc2Y2SLcZSFp3FusuWBOuGUzixvxFmE5vbtvcU94yTG7Xwggq7jMmP9a0XUqI0
InL4HjmrWFKjxMhMjCWwp8BLwkWKJIuwTAdTP9tGTwcJQVL5alD7ILrxqDflax0DRbEjMVSkJ8ex
XX5BFpVjPFClHhCs6QncgddSd6qKw/9Q9Ev2JEV+TkWbtgdWuyx7C/1CMTdxFuu1tUKwE2M/89Wi
vk+x+emn3tGG9rYrwiK7x4XgjHR64oHGIScADy2FWnmHJqXD9DKQ8amv6R6Qd81sD4YNocF6/oxY
UR+AfvKZPuvIZsNhmZkmQffssFKauHaElIyPVW7iFcXEek6xIlk/tSbMndPELRvWw1hym1Y5NG0T
2dGAAnVldWHlrGmDZClat4Bu57oH0TUxU+rqIWT2GpuMZYitIXLzXzahPc1akWHJx1+1nG9972RP
Fj2deJM6btut2ihBqmfbIRVES0KNpQQ4oOvoC6/6Oma2QwXKdAT+qkS2pHFQdAU/jX0lWXnSqf27
KvTMuyrmbLHOKmV4J8XDYAcRtw0OJrvHJL8itTTBNUOHbyFZp5GY6p7+pcZwiik9Yw+Iz4KKPeUm
7FtLlUyL+5L94CSACcWLSsIN1V5aMseSD1FHdV4TPwwpNbkPjLiBCB95otupOm1uaAMBGdlOSTQg
XDt6CNAxC5Yapg+dU7X3bLRZg0elVTKNySAK6oT+GWklFJrphRW70iNxEo4ItUQMJBCQ1k0WefV6
SAnG3UMHZt8dmkL1l7VClWdNzEaFJtKgyXYkcq5CA0m5ngjzbGpIsn92lnS5O3chjDQKNsDuMPZb
aK2IBJuOtwueqeluhOXUZCeXfCIW8Fb1F8enGLOO3VyBY0hzCa1SQ21sKdyKD7Aem6lx4B0rXroo
HbaUsO12XeJMjdejSFVzx7qlopbi6HSvFT645nGI9RHanl9/ccxaDF8qJI8dKe2KHL5HMmaHPxY2
XBruqux3hJiEd5BitPKR8xNgcXeoBmPPJyMwaN+4oElozIqi1RdovCt5h3BTL3a2BTMHVB7pLhtf
euwNqzrTcdjUQoluIwUHxZJee+7tQqUeCpxqJQGTCzfq3PAIZz5G4tC2RYh2wQzegQCYOnBZGR5j
CdHybiSZc7z1ZNvY93ASxxacJkyflaUo9psDrjZYWHXEDkcrqjTZJQMNLLIXRTz9S1TfxcilD0ys
9lvgYfTjbe+Sr2WQuOE9KAAv2ZN/V4+brLKcR3A+sl+TtYQriBVSFueR6igiIrzGCU5zVg+OgHaP
yI2AVR6EFSsvNlS+8ohx2M+PdhbFPXcEtQBK7Kah2uflvg1Fq2rXIz9DxAZAX2XVKgBrzraOOxyi
Eyr9DU+sHs+c4j19RUxFXvISVcMbAiqiLe0i1ADPg9/PTl1bW+VNLG0Z39RuQrziiCGzWHtj3oLR
ZCv7HaIUsvs8a+u30Splt/aJge64sChjoo1Gjjm9G4eN3YSms64HF5pNSrqo8WxYgFN+aKWKEJZ+
aixPI5Elw0rpTKPcVjVVq62b8sVasFa2RK8MhuuuCj2TDlXoLicEvWA12ZDVUT4lg978wv4NJRDr
n33vVyiSUMC1COulDaZ/HyPqkTvFVaJw1VFNbX9kVNdhzYc0wYGWyNrfGtS4tRWqevjs6eB4z0Gr
oN3UQXKkhy5TmnxPz71WV7SQlW6DJou6oGWFRXmTYcrYWSQSumziAcigwMQyJHXasMDAf2olR98K
pNidQc97O7hZ0b5ZWZsiOencb25Jhmmd69XWErly7ozKRbICcv0xjYby3iIPg/kOCW/NlCA4x3OK
nw3xuxMPTUOSl/q+wlbf0R9KagRvgjVwMyI2P1hqVxYn9g/anekrjrk1nITDmgE882dWhx4CvFEc
MGvbwBH1flXTgn1iOdO3Uaho2RqXvr0GmpttYS4MD2WnGtjIclB9hrDfqdZ1T2VIyPsea5b1fWA1
Pnpar+yrxh+/QVuF9lq4TrXE1ER9UhCBuYtruEgbte1Ni6+H6hirMg/FUxH29kEI7NbLpOyQoka0
mR8UQC0GfNPY3qKMita5RtwoKG57Q1gEApvM6w6oWluVI3ppR3eAoNton+umw9tAYOOyVaD6lXHk
70MxDiRpIvpb4KyNvtZxDNpVlgZHZiVC7b0AbI5q3hJGiAaDydOR1Eqjl0prI1+gF4cVqbQhdnTF
1nS5KyqrfvQDg5YCPEMoGVQECP2rcEHd9qRfVOUC+2v7gxQyB6C0gNgPfUEVtwqVBLGy6EjgHo6T
geDQKh/Z3InBwk4E16TdYFcdgI4b2j0Ffu8mTHBAYx4cXx05GGcSXBE6cLw0AUziWTlyj8NoT6pe
jBGPdiLLqsJvqZWuvvZ4OdUdCMVpb0Tdr6HP1hXAAZoEuBEvYiB20HdGeTPkRlwsAdPg24DoSntp
r/YxxRE2i1m6bezMOMEtgWvapdVWk6I+QqQztpiQjHsXNteXpCKqg2iQesOOXzwGaV6LrRt5cC5q
Dm6swq7Z1Ec9QZRLFQWVxcKIXIXWSAESYJV3yUDlIagtfUXSHiStUjNticYZV8OXIIWXXVUyeyoG
od9S16vxiUO0+SLHqiC6rHJpDLqImTX6JHaXFzsXh5a3TokehrUJ6IRA905UbAtzWfLh9j249IQD
8wgRwdAPJv3DXwflGN+2U7WHrwAVpYq7Bl8LpsQDJOB+V5ea/EqbFS7g6KtvEVESe98crB3OpnyP
eSge1k6AM20l01FJ9iab5uybUkFq3Bh5IlFeEhhqLtXSqyG3curjVJB3WrwOYlpnOyTy5DrFbgYW
n6Jiprk2dMu8xn/bRYZC6molC552w6mOHMux30Z10gmk2NHoH3EZjN7Zc4laeq5Yb9kWWIJczSF2
/fQGan1LbgudeKp5ClkxquNaK80to/eYd/PoBI15RF0N47o2rBMarp6NGf9WFl2K0LPSMDSXVUxN
sm1/SI2J6uV1NewMe2or17AhiErF48iJv/dHAqsRPW+7esQ+W5Ko5d8XJTguCDlx8AsSqzjlJhUv
Epqj+tA1/RPomdi8U9MYS0jP+k42gzFGAJ+gFq1ik6SpTQObFyYCFRAJ7U7pxAGhnSbSBQ4JDMdR
mY9MVYNeTgRSlz5vex4U2lB8EDTQgdE2hmeiEQroEQIcblwgv7p/jzJ8VPqVgsSy3Y6GknAyVKzS
y57RfmpRs8qEarliA5iQxFWMewhTZFOcHIFBReZKBUuSpEUoYeus4QzcrCJtVCwTfJgwS7FSOKa3
xQ0Rx2N6JhhZKV8GKTr+qrLRzf5gaYJu6L6uHFo9KxcySP2G5LHDo1eQekxHQQa4yJjk+L+DlUX1
enrlbKehWQXjcVgqnuk9ugRqsC+AHaEMB5tvdvKTBujgQImWJiY5zhCpMzz6lWXo+7/+9d//53+/
9/8T/KTKB4atyP+Vt9kJCW8j/v2X89e/yv/86/7Hv/9SiD1wTNtVdZd///72GHE+/vdf2n8lSdcD
NnH6x8pqnwQliyUlvXpN/PRK40O5zH013V0fyrow1PQn/DYU9v0AIYdw3mp8ltvY0yj/kHRAkfbm
+gCafmEE+58jJJ4JMcQdh0dhaL8kkFNyVNX9MNAnEx5qtKrD54IPCXX582hW/Q25B6Rdpubh+h8w
jfOnmzld+W9XSC3PNRSC64561xtA5gI2awI+WQZP/Oy3vtK/jXprfHC5l0Yz/zlaq1SZUJzafEu6
FLoWzld6PXiU4/pUSc9ZXL+m6df+dE3GP0dJorhoGsNrzkFK6YMgrXHXtd344/qvX3onpif52x2T
smb3xMbgTWX6c5RiD6qX+rrLo/vrA1z687V/DqAibBlNI7feZFcF/uSoaMonp2hM9ZNPQf3nAHU+
UrtF2/OGDL8BxEGVOUwxwYToitcpWIbPPQfN++c4hetTkhob78GPsQTTZGDFRiMV3V2/TxcehDZb
B1qaTWTCWuZb5SPF6UflB5owY42EJF1eH+HCk9Bm0x/5otGFURY90EuL3we6HrcCTNbxc78+m/pA
EDV4QmJ4NDUd4oLPF45y2aiBGv7cALO5bWK/JOYudd+Ssq5vGs42u4qu+Zfrv35hLmvTTfttHlDq
bBOnScVRtoFVLnQnEKtoiDIsXqD2F0Yelh+8R9P78of5rM3mc6UOFmVPVzn5GSx8Pj1QieEz6aRl
LAbQSgipA8o8JaATM+8+GPTSs59Ncw8Chxf7jfPWE1/QP9dsFFD7IYQet9fv34XPmDab5lAqcMLZ
ffLmmSnW5VLeOX4SL/LORZVV2CfYG4/XR7p0/2bzHcBxkeLH8E9VRjkM+Ps6S0lv00dyb4wa2gha
gT6rb0dPig9mzoW5qc6mfhWkHcKMhCEDSz0jUQ5p1w/FidbsR9P/wgNSZ9MfZSZHThnED0Vdl8/w
4cLnkR3cBxdw6ddnU191WylxjgUPZDVjfas6AGrHBrZ/srr+UC5MH3U2+1P8LzH2SRPsT2OtYrfu
OIIIdylK5RYekv7J65itATYcDOZn5L65SY+0IBP2DaRi/4NJcukxT3fvtzXAbF1UkmHfHHVOT83B
LVpyX2ufme9rLdj+67fq0rOYzf/CQXxIe6ZF3quGaOSEHCDyo5Y0x9vrI1x6GLPJjtfXkU5D37cK
ciSrg/0NyB46VJ+CSl7Jh+ujXLqO2YwXEIYx9vjhY+CLYa97dfyORSb64Kt+6VnMZnlh9jbxuo7/
gE7O7JD1aiq6KNoZbupq+9CM8TBdv45phv0/67HjebPJHQT6RATz0weePjFP3mQEPgmVauffSzJ2
6ZJ07+T5+mh/vGuMNpvnoB8ypW/b9EGPCzrhEF75QBoEmuQfPPw/3jgGmE11bBE93LJWHrkS/MeF
h+qurGgKEYv8uUuYzfVE05ze1oP0wfaoLGVmp58Iv/vUh4S/fzbF9dRryQ3RkweM+ZNOBsZ1IB+k
LZgpuvcFWffpc5cxPaHfZrs0KwTFatM+mNqIgzhM8pWjAp68/uuX3qr5LI+JMekDErOnK7CJE1m0
vYY9VLxDesCNNdAdyesPnvmll2o24X1q2iVViPYsO5WcELvnO3VsVHQJH+y9Ll3NbK67Ji63JvWb
hwJt7cLs2am4ARRgAwAxrUWxUWrrkaJD+cEFadM0/9OknE3/yoxgYUVE8ER1ba8HLHGrlh7CDlfl
cvA4Hw/VVGvKhxSEYAO9CHv1B0/u0tjubEGIQC7ZNqgFDAXuadCypa8U8dKErrgiKqRetuZ438PI
XdYZ/6RAUvjcSuTO1gbaAGbmD274YOr2TVKHGspr97lQfRVg64TkHfxmabHZuf6KXrzQ2VJBTVUF
f24CcYoH9Su4ujT3t3TQy+StgnDeHbOxj5AFWoBeF3qm2gLmWQtEbhWEjoo4+pN/x2xBGbCboJ3o
Ba9sNGx7Enrowmu/fKWlfwPGw1QC0mbiAaSFihg+9T54y/64Z3UQfP1zBQB7LTyVEN6HQtbeQY7P
KEhPtotL4O9Ppa9kq+tX+McPMgPNlprK8Ro0q013bmBonEK7rrZIl7MFn8/8Rx+E1fr6OBfWfne2
6Piw9lVqjN1bZSEIylQ0poG0brqcHuX1ES6sNO58pWlizA9BVd4LC9bBqpGu/0JlW3n/3M/P1hm7
jG1SWOPqmOCps5I1nlLcDhkl2DjYXB/iwlLmzlYWCO9qj/vAPxVlSXmUoo0ICA7HhVutlKJdAoA7
dRo6v+vDXXgkznwxQdmv25aOC8EKrehWNRRc7K43WM0L5d7O+OD0Pf3cH9ZLZ7Z0VEGtAoWT2YNt
1Hvytcn07b6zxTi28RQdPa0emtqu62lbc/3CLrzTzmzxiECDZIgVgbpnlqbguER/kAyLIi+VEPp+
kkXOsQ4smQyfvMTZKoFFuO0GTmJnHDwvums4r25pULJqycRgHh1oBj/1loVPLYdg88FVXnjfnemx
/rZJUD2qxriYi4eqhY6zVcsJtIx43fx6/S5eWIKc2coA1dRtNPgoZzHJPoXmLwnr7ne+xd6woQOZ
u/YH7/2lK5mtDfjCInjrUfow2G367INGe8jhPF2/jEs/PlsWoLXRMELhcI+7ABo3/gbd2Yw6YOLV
9QEuTaPZwiCIJAK8rqcPvuKH1hGDdgpOrqbci9mcDhMGu88NNFseEkhACEy4TS2a3wQVWZCqMLrT
+mgpWre/Psif6+SOZ89WBR1ajUYvsTiidcEKinwKVw9S6EiVd4Fg/rD5wSuYqXJNbkC8LZrnpqhv
lS77fv0vuPDA7Nl6oQwkZQAxcL4ZKEMXY5SE29Ihv/L6r194WvZsbRBW7Q7EtWVntIxEPFWjsWpB
d93Sfy7erg9xYcGzZ6uBnVt4noCfniZQCK6+5l2QsUuCz60e1Hs0bNqkv6UAFXy0W7h0y2ZLQRa7
4WDpjv3N9lEZ7W2zUIJVgi5Cfrl+SZfu2jTwb2uNLg3DgmzmnzINVAglyHJ8IKGA7RZRVx8t25fu
22wZaMeCtIIx80+oDAE0RuVpSrBZtILtiLTGX+Rk3uOd+ZGO5s/PXdZsbfA0u8ZRGCTvldaQYGnY
ALUE6EdMKcry+hCXLmq2OgRqGFm9biqnrInQLUlEWyGheqQ2TKp0+9SW6pbckEeEUOEHr/jFKTxb
KOgGJoWp1cOPzK+C+2iwgmWmhsU2UNIcy10Dz9MHOo7Bzt8qMtOXQtAo94X36tAs/2BZvPBOWrN1
xIeIZERxNrypjVWcfYl3DvVGvr1+Wy+8kNZskQgQA8WtnYXvA6j6DQV3WDxJBOwKk8YHF3BpiNlK
gVnBIZNahu9Qc28irfO3jQOzGiFL+cG7cWmE2UKBAloiw+jzkxsV1VZts+GQ9Xi6mgbF6vX7NN2P
P2y+rGno3yYunHUHGG7gnIqOaosPSwg/0sZ3phNyoeQQgcz1p9cha7ZMSCQ2KrLd8B2zb7MmqbG8
i3UsXdev5dIbNVsfpBVxgDBFfTL9BtIZOZ3QyWri7z5ZGLFmy0Fb+aVHdds5CcO+kaN/6+rQtP6+
T7Bz96Dd7v8/pumlpz9bGeBMFinuyPKE0Npcw/fo9rbg6St2nH/wCl+6Y7OFoAVP3cEkggRUpTCK
KIypSJf84df1B3LhCszZFB/CXFGsJBCnRFCIpsbe3eqF9Qz2uftgD3rh9TVn0xzGbxiMRJWe9B69
TtQ6z7Yq3rPQI0xv0IK/T0T9VO65fkEX7pc5m/JOCqOXmPDxrVEAUh1VcgnpGAXALsMP9gaXbtls
yusZJcTGL7P/7A3YuRP9gB6bwILnz13CfMI7BVwZq/CIn1A0yKaGux81qa6v//qlP3+6cb8tJxKA
ZEa2Q3bKAPFFmLFJUYU3QqbYowW9bvjkc5jNdD6FuWMb+XAaHOPFxweAueJzDSfHM2ez3FWJZQhs
MZyqOP7R2nJYIMf4aAmZnuMf1ltzNqndUbGTWhmGkz+k1UF18glJnton5IvF0mg/POJeelPnM1vI
prWINz9hOVRI1+w941cicv2D+tuFnzdmMxutl5Uoskvee7N/Iw2lXpU924brL9E0m/5wj4zZpAbf
EdoRe72TmNh2UGHwU5IFRZypqy5zvlM4h7oP6mgXXlhjNqN9DMUk3ZjNqTVGKAGjjtbG6JMDlkV5
vn45l4aYTemk4V3CrysZIhfjIiEjLYNlprVo3kjFLJ8/N8w0/G9Tz0eFHWQeblwilZGRRbRMFyAX
og31yfz9+hiXHvv077+PUU45R/ipTzqa9RsygsRbU7nyc99vYzarddythIIV7amAGrioXPvUR0zt
63/6hYlnzGY1iJcYckjanXB40VjE3gy3kq9piKlmEeP3+2BpuvS0ZxN8OqSYeuK2p8q3fmJDHhdm
13yluPORpurShcxmdliiTez6IXiHQw57sO4EzhTjEZJ8dCwM54Me5oUnrc8meKbCJgtMtzplIy4Y
LfCAClnfrj+KS789m98m/k8JKITfTqVOdZz2R4I56oMHcGFLoM9mdALpObZaPfs+/eVmZB0wTW2h
Bd78PdDodl+BcxQfvFWXLmU2t32ppZoE7sqWU1QrfTq0+V76+rn7NJvRxG+qhjNSZ600RW5BjllP
Xu19dEK69KdP//7bXCZgU2lrL6tORa3BxhZFPwHkivRToir4hbPZjN0orNvWLb+5rKX/l7Mzaa5T
57rwL6JKCBBielrb2Dm2Y980E8pJbkTfCyF+/bfIO/FVzOErJqmUB3CQtNVsrb2eEHDa6Rnep+Jw
vW3mcfjBGkGNcAZ2RKHkXNXfK9SQwQQYXgHMbo+BPeqanWBq7fchR/1CD903yz2FbHk0RRxoPr+P
NvUPfJr/24JuHLd93Tf0LeF1tBMowjn0Kawir3/hx/2Dyqf/Ph1FOc7IeOJdNEtAeuk8lH0c6g5c
hI0vMAZAzF2QJGB69AYeOyGPJFXO/YSiOe/1+gcsdZExEzoqysBsbbOfqICDyGksi1PHXopRfk5V
PKK0uKkOCUle9NhsnLSMqRFmvFVmpzz7Cb0duKRWCrg1wT3n9e/5uEMCU0SZSS+Noej2LxRYH3eP
pCfc21wUhN5cf/7CtsdUUVYarIrYqn1YCEGUIkX+/Gdni/TWXFfef94ugzDllCx2hr5XbAJbJbhp
fMjPAkCjN7aTERaMeRZOSajFgvI+yh7AzIa7t0a2h20auIFtRAYq2mCqlsr8EZ75/TGCOPQHFhTU
3V/vh4UF9i85ZUJSQftJ/rQ5DncNrJP32bw/SEG8Q4F2G2/b7phiShLDFB9Ff/AS6kgWP1Qw/4R1
eDQk6XHbh9D/ziDwjlEyb+FwCEmYQgkEFnHpoKBT+xABOD65vf6apbgw4ryCgetodXmOMx+b/AeB
/Jc8USDKkm2L7B8NwLuVqugEqBlDklwiYSPwpPQCcphsoouVhlr4AlMjWXTShc8MyR8TUbHbzrXF
P16c+msq8rkhPlir/tJH4ibMdnokp4nyE4B2QDiQ/ybtWHc3sZfPxK5J+tHN5LjKgn1Aan0fYScs
T6B+0S9CwVAHVftuM8BDtLFhFqsSYU/AMU8N/g96VQKQdk+Rn0YuGdUik1/JB9jz5/U5igtQICnV
TrCHk2NePnhwa8YKUme8i8G0pgw+t2412A+FB/znVxdViriWgvUAAFQ7JE6a4AJdIbByUwaf0hsX
BWEZ/PHTqHtCOMAJnU62m/0Lez8Xe58ugDEHkiODiH5YKeqX1oQtCzFJjE2dm/c8gLtNBsZ4bL/M
1LpdVmcv7thVr8BmraxYS6oSUwoKdy74DNqJ9RPmYvaRADV/aMf+M6ww4B6IfMMeatQONqcatkFB
CVvsoFqZdOa566MxMv/93RhXKP5FnQc+sCoz738b7qJqh7t6zsRej9OlNpxH/7tXFDHvM6vw4x+w
Onq2QR7Yg1gZwZwXhoFJDRu9ba8x9n3A1ZduCUvVn74FG+w/oic76UBDZvahEsXavcnS1xiTG4OR
E5iA1Ri2g0z3QVzdg6yKG8dRHOGJsDLzLCzJxJjacvAyVQWj859TEN0EltXseuXAR6j/BFs8nFqC
ckWkttT9xs5FQdiuXSQzLxQRN+OirTq78AZYmqe6KWH8udI5H8903BSMdn0sVNEOKsxg9gGoC/x5
JCFfrvf80sONc92IIurBg6HOj0lXsEWiQ1p88irJf217vDkH1KNb+Cjte9VxrOs7HihqH1Efl245
ljJibuejeBAxcG32CW6gmGqFQPlimmWnDb8eTzcCHMCYXABlMsGhfvimUVfMus/Xn/xhJODJRlzb
oN6lseWVMH2tqq+N5Z/scfgK+ukL2Bcr+b6ldxhB3cieD1bq6lMKy+zSSk8E5v2Bq7/A1vF8/TM+
HD34DCOgUeOhQJGMJ7gUiDMMPZ/62Dtef/SH0YVHG2FMCliLUME0qqBfc9IfUnLnJyvSnqWfbUQu
rXWKIuMYHl6AUjdnViBbb6u1UfNhMgNW4PPZ6t2cDc+qrBh0Ts+o070Rqf8cJcMNbfvPaZ9cHOne
pbU6XG+khS42FZx+IKAQsNFIDqgsu6ZQt2oCHVWhipp6v6+/Y6GxuBHCSNnHLZ6oT1lfJT9Rh99S
UA3restOFK01f9q71gLAE3wb1LyfKnd6g/nKBHYoZFbXf/v8G/9aofFwI4CDFiWMHK5bpz7L7API
MemzTrtvfYa9dYJ7tB2t23zboDJFlzATiqwmiMkp6uEHA2YEAFl3E6gx7en6xyxEhKm2RJlWDAYG
YKIJF/ZdNV9jwgw/Odrws1uZlpb62ojnzCucFPIzyBN70O/IWPPzUKlqYwsZIZ2ITqOqEfgMODNH
Rzol45sDYc0/15tn6bcbQZ2VoDR4hMDsEoIM64FHI7TaIxz3rj9+ofX/ElZOJejWEZqmgPZhD45N
eRYBEqBDtDpal15hrMU6tsYaCD5yAkbnVTvspen6zxsLaBgxFZTMBYexcTpyog2njwxWPWDowPx/
Lcm90AG+EclQbmjHYx3WNAi3VXPXRRmNbuVk+5tKKPAFRjgzPfo4PFAMIAcCfQ3E+y3sAsuVHp5/
5weThamNxIEOdjVywNMb/6XD0n/6X4yhqgkeNinbNuH5xrKs0qoGTVChlzPyhnPaLzANky1bRTSQ
Eb+K8mBsewzSzAKhAabRcMJI5Ljy9KXxacRvx5UCVq/A0/MI1BE7exG4yT+juHMtQ7w0hIwYnhor
LiDfsk9TDerQAC/jY0ud+LgphE0VJDTCwE4i33EisIk7Uw4Jmkt5d8TONF0ZQwsfYOock65AFUkl
yCmhoMK4KS7bvJbCc/f6Fyw93liLYbjotcqzeEgDHfxT4bDZ7OzOCR63Pd6I4MiGdw4u/4OwkzCw
pK4UQNyvP35h/DAjfImVNM2cowldWzF5B4M4WZ5SScl46m3cbWzJKDPC5sZ7t6OAxW6SBZ7yQ0lq
iqyWD4DRvoNc+Nv1Vlr6DCOAZYYaFiBweJhp9hwNsHwGH6o5tS6UUdveYIQx6Ycg0tDawUQcGxVe
CmAu+4TdOgWsrbe9wojlxqIwvfJiHgoi4hs54qrTc2DqPLkFOVx/xcJ8yoxgBiZywmXPjDyy/Zci
re+SrP0xTG44pmtb7YV4MPWICm5teTRmKiyyFMQW5sN7M69HupLdX3q8sSCDVuWDHZpwVIWVoBrm
Hmj3gq2cnRaGkWfEMgXaRYC655yivPpHF/AtoVJ+GksgDa+3/9KvN6JZjSgqK0pXhRGk5OD4QdML
u3hxvP70hd41RYgZXLhG4N6ck3TrO2ZhLm1seE3V/AFOVZsqpBkxtYcEooKmFBwrDvRzOxIV3j/t
0NJPJfJVK4vaUisZ0dw1Ku+DRDonl9SPf5Zj+DWtTNfzie+DHYWpPUx6twJWSA2hTqX8/OdOVcJs
FUyv6Qy8VXKrho4/qHR4aru1jMtSvxiBrXJdV9hi0BOvknqXFJIe3RoFR7D0jM/IF/trlQtLDWeE
N+tHouCP7JxUVv3MgGQ+tH0cbOsVU4UIJCaIT148hiSesva5A5JKwAkvA7Z3JfwWfr6pQkx8F55T
cQZL8UGKCnDzmk17kBTZyiq0EN6m7LDzclQuZmo6d0VVneYMD6dxdarxn+sBuPQCI7xJACsnkBH9
MBsrsBlRYHPr6qo5BBaucra9Yn71u5UU5DKYQfsVeBOxbG5ogCIhOC1icwZR8/U3LPXC/Pd3b5AB
sKBRRhRopBa6FsVVAQlB/GrL39dfsNRKRnhrMsAuGXVvJznz9boIp4XZ5DmM22bNEGjpFcZqDR8z
G37SjYPVOkU1wJAVJ23ZX2KsRsdtH2HENI19BxJZnEwEd6Hlh8ERNmYWWK9sh0S3v5aeX+oMI6Kr
2ofhd4aNjQsTzm9RMTS38Esd3zZ9hCk/1ICtA2aGrm44sCy4Y3jSQADvwN5e89RZ6AhTg1j5yOgU
LffDKGXfYRoHKk6VZbvJ8Tfm20zlIVSODBgzzKbEVU9JgU1BFQ8nP1dP8Hr+cr2dFnrBMeIa/rvA
JaQ5D3kkohswG63Qn7ha2RTMu4sPliRnbrt3AQfOEEzTKFZUwmpgsGoY8sKPgh7KzoHtOgifQEcB
p7ftU4zodhmhbhMXYwg31DGFjWDfDAcP2+ZxZYFdaisjuqMBQHLcAeNqJIH57Z6r3gpTgInXfGyW
RpQR2m42gQwJaM6frX6FtfvBnrzv8CpPt+0wHSOy4WVg+6SYD7wufRN8si/A00Urx7mlX2/EMxBr
OPz7SJdwXdzDqF+DHeqMRwus+G1vMBWH4K3AwdP3yclpLRymgZQ5IHP4ORK4ntw0hEy7QsFgOwmo
lHuS2vteeCAgpUO5qVgag9HYgsOAuNcoPPNDII1AuXeJqOBLOcGLFt6YU+9t/AYjopsJyIKBT3Nm
ElPg/s+tapvjULetiYyQ1o1kSOz5KgQbKvCA2+ibBHCNHu/b9gIjjHHxVSRu0XpnWAKjBKgorar4
GdQQB62VPc8t8cGsZOoO3aGJOXhDmLlz2DnBb/ZeT+yxg6vwzkqDbbFmyg8jB3WxQwuD3R2s6vN9
FyA7FrOoPVxvpYVoo0YoZ6OFZBioYnh8DY813Y0aUBGQQ7yq91Z6YukdRkSjvPUP30uFqLoDAxFA
6kPn6/zGaqATuv4ZC11hKuaqXgNiGMFIXvf2JWnzZxi7A3LqwLW4XRtQC59hquaA0OlnX/Qh7LLM
P4jemjHAKPQbrNV6yYWVwVTLqbqCfBil1aFAVcs3eO/YgE94lhuv9PbS842Yrga4zWOf6ocN4Ece
qLv9mFwmSZq1O8qFhdoUzBEhYVnZ1iSUXd7N/j0ckDwwZuHGLo+pQ/ObmkAXfb3T54TGB/Fnyueq
lFvwUFMkbCAleobB+bCH6sw+kAgSJSFHAIqstNw7dr8xl2wK6apIweFbtzi9ZH33SGTL8Z5m2KNK
qF3T5yz1kbF6S1zr2qlreaGMeb4XlYwArxj8lelkqYPMeLcLv+rTgAH86lavgHB9ZikeLuZzvQ5g
EvH/8AhaChgj7t3aGwEBInjXaLXZKytpwG6izqYAPqPnOrLyTQstZorqEgojLFIPLBRdDQSWKruz
J3x5vD7Klp4+j753e0/IpZTqucVCnbHvlNTsri1ww3j94QtNZKrNgO6MR8UrFioHlZc4a7e7jPbk
NDi4J73+iqXfb8S8Suo6h7s/Cak/3/BKr4DeDgSNtU9Yev78ae/axx0ne6busTDB+WsHEq112zpi
406KzG9993RqTUU82XDSrkqgHp/HxivyT7zvq2blenepB4zNOEBFQCq10jtFIBWGIq2GGxUk9MHL
abYtXUCMiGbIaYJUl7OQWrQBDT4jOjmkNufbsuKmdqyLpdC6yAiwHUN6U4wj0oxuItOHIQaAcuMw
MoJZssrHNJswQFXh9JqBhHDrD3W9Jci8v+wFdWr1Vtx1LOwUVf/SXqEsK4gCsqUH8HgjhoF9dhgQ
u0MI1A7wByAS7qheTSp/OITwdGNDPg1Kq6AWzqmsAHPqfCveQwf7HcSU8XQ9hpfeYMQwB/WDpXXJ
QlfF4I5RyzvD30cenQJFtddf8WEY4yPmV78LtKaEdZlfSDCsJOseuroYIPJKnJXRs/QBRhhLipLB
EpbNYTKCsBINbfeqi1gfFVIGK69Y+gAjkLUnB7ASMi8Ex/xcdTBf8LLW23JaQesYIew2bV/kAH2G
HeuzZgepYSr3aTPkK3nXpR9vLMvYE+US8Dm0fld5d40FtBPM89cqEpeebsQuCUaHl7XrhY1jdSBp
UfcISMsmMwQvMJVjEAXaUT1wL6RI6j1oQNzuuec+bxqWplYsyVvioKweDTNr0ggq6+4HXw1P15++
MCxNlZiYUJJLoYPGoJe62jdEiDDAPfsecPlNEyeax4xdOBUB7smwJa6SXzTrujPYyOmWomI83Iza
NoDfOsnpCSY/9k7ovDpFrUOQIms35VfxCiN0XQoKfAC/kRACk+wVTnMq3U+DhoHV9T74cEeK5xtx
2yUuWMQt7KpgNUeAG4WVaSzzb9rpP8OIzT/g9qdYmUYX4sD05asA+xVDQtyQUs8F7UhN1Ln1kxp1
Dde/ZekFRhgXbTHIqKBTWLgKuywK7qh1B9aCtamUEo1lRHLDXacfo9YNQVrywSn2bY/t8y6dVgJi
4QNMvViGQr08FYQg95kELwzWpb+wiZDByjS6EG+mAZ+NaioPyhISTh2Y8pEonkH5jIDKGVfiYen3
G0txk1kw1ap7O5TANn1F8R8DetNP1opDlh5vxHJT5ihF8ewJO61SNgdRQyx7qOPBK1aCYekFZjyD
ntanRe2FLlQa2ofJJkBOm8SAYIbML323xCcO88D9jjB4EFK7DtbKO/hTD092kFvbpmtTJlaByN32
FCyf5g8TFhoiW58HVAHa2yLsL61Y1DuZbw12CH5Juq+QgN6VzrbjGFrIiF9wo2Iv1rkbAl7k7aLR
yu9tB6iM/8dxcikEzAgW3ANh3sYrAPF8jKYpOhMLV6ylv80YwPvLN6/ilGV1kdGTTixmwW0y1yM9
ZEBxJV9j8KeTjZ1h6sYYUNBu4w1jyHMXbOyCQcm6w2pXBl+vz6dzXP2V4cGXGOEMWgandZwgHxaJ
74lXg5nN1fi9r1vkusss+339NfMx4KPXGGHN9Ugax8UFGXeivVuok9Kp3mfu8PTnoozCWmEqvZUQ
WRgApp6M5XYRZJ7vhh3MqPduhYvEbPCc/ZQT8Xr9exZmEVNLxuLeRamVDSVWP+pTEaOsF5zGlbu4
pd9vrNdwK2GRU1s6FBZqYlFbjcv7VOuDvfHmGN1O/ztRFSOkxHoM3BCyLqC8gzHbM79I96OCbG1b
ExmRLl3hCUv6UygcVT1p7P5+ev02CQI+wAhymOzlOTSaU6hKn99y7sEwY4i+tRxfcv33L/SCqSGj
XCSAhI32SWicCDW8UfZ/tDn5iLPh9VcsjCLT2C5C6bavVDqFTVG5/n3FAaN86uHnuHE7ZmrJyNTX
BWmlfXIxOF3LcU/Q2XUrR/6FqcMzYjrxtE1pDscY7Q4JIDUEOGNdtHsYAbahU0RrJiBLrTR30LtF
tchxndhzYsPJTmNPiQ2B3tuBbv+93glL/Wys2RSges2yAP0csWcyyxwHdP3eWlVeLf1+I5yZVcRk
stHLrmMpOHX66jILNf7Z9vONSG76zg1qcGhOEJB3J0DamtMgpjcIRb2V5NfS7zcCOSnziYFKZ5/Q
w+Cf+pqHQ7PKWVhYGTwjkDUE3e0gVBS6nf1bM/js5NMbXMY+RaJWQC04d6DQru0uF/ralI+BESmJ
G086rO2psQGonuIS2CNfziT4HmyVtSPpQmyYKjIUuRdBUdrzoBLfo6ywTiwHrTMX8Iamq1qyhbb7
S0vmQm8MlXQUVu7wlWQ/RYnbIORbDyxiJxuEwT34AJt0fT4PjGHs9XCkp/nkvNldFV1q1svivndk
Ud5cH8gfNhmebwxknKxTpaOoeMuqIJiJ2OW+nKWKcPW6a1AwvmVax2uM0RwRWHi1Vu9dsjFO9gmq
XHdVL5ozDJhWZvWlDzFGtPBHCAaCsnzz25wdR3c25GEo2k9r+3tWW5tuHXxuJoUE0M8MykrvgguT
INsRoIJ6kEBjb6U/PowVPH8edO+mXT7RWHV+Ur7N82LfR1g7UnaqZWevtNPSC4ytp9R22Vd27l7m
k9jMEIaY3U2Ptl/LlZzfh/GBT5h76N0nxEGgRcu78q2MU/WckuyXAw4c7jAFQ5VWq91j57f6IKpi
XNm6zb/9r30u3jh/67s3FuOsOlJT8YO37LkT5Ld2YMiSZfwhgSEn3BPBZ78eLkutZyxbRTFZekx7
elEc91oqxlEzgxxw79Tj6/U3LH2LEfCtxgUH6AfFjzLwph0p4WQ8Njjolxz2WN2AgeyMq7utDxcZ
NJwR/bgsLxPl+N5dZ4FSACCor6395E7TphIovMCIezUGopWjjH/YQfk8Mp8ffFThrHTG0q83Qp7a
lq0kFOk/QO2yduOUOherFsnKRmvh6WbKyM3LoiWAQ8BTue6GI0qJ4u417aNy2BbqZtJIFDppYl9a
b7iSoyjDR1rc5lh0cUm0sodYGK1mjSGNZIVCG+pfKlR0jweC7nBOrBI4O48Ah4+H60N2qaWMgJd5
MZSxlOMFfIayuAPqqLUR7daUbbnD8VEJ89/4ZqOj/XGQ+sJ69QnYbzgy+q06Xf/1S400f9W7yaMb
BzLQvqD/W5oKOdwkqISCz7W9ngteeocR1B3K23Fdrd0LTHLEocqjbw2xv3iRSldm9aUuMAIZldqw
omszcmFFLtsbON1UBU78MbRz21rJCOTMFpYF8pJ7yRTAKahWVbsGR+b9BCuDlWFkLyzhvhHPCbG9
2uUDhmtZ+OLSjfmo/pG+V6rHkTsjWAm6jQc443Ydrx+KoizKL6qOmQdiOSrXi73uuO1/DTq7GH4Q
+JuM5WEAeSX5UnA6TWRn807TcqVFFprcrF9MRmbh0fNCSsD/rSiYfkPSusfr7b30dGMfgGxj00UD
Kd5sV97/cWOGG2m/8acbe4ACu9ccpl/6QqgNA6Ri6JJ96RGUL2778caEQJKBemNmuxcJEijYOlAd
wNdxSyrc52aeydJdX0GrVLzFSVLsaw3lI67Ue7JxpJtJJlVYDlydAnIRSNXQewgOaH6C2+nspFtb
nVxLiX9YjoTvMOaEBEqetBsLegdnb1DbSPeAie8+i6EQAIE8rEbv3scf1muRFiYhM/vEp8BBzb9W
l6gdwFHzyRngeOvWxhXhylS6NGiNSaJSHPrsmqiL66DqmU2efRj5mu320s83Zoe55JK7qsHOW1Vw
9ce9qWN3cteVnapgUlg19ZpyZn7iB9tJMwdVpgRzi9b6ZzbyDIAU20lknOyKJErTIIxZkGTPygFo
sT60VhbIi66qsXORtW+Y/VhFWA/VIZAUVPupnbroRcYdGYIHH6I3PaIAzE3qc5Bw334aUsdyP7dY
g+gFDO6oCXbJVGsO4TNOsxdtOc1kHWSGM4Ha1V5c5nonM57+KEvLexN9O15Qok2TUxWjyXcT3EeS
Z3+I/OL7yMQoUUQ1Od007koZVMHZcwbtfx5wH9w91FPpkHTvBbiXebJ4X9ifkihpcriXRLT5jTOc
TN+4Q4vyCAmR1/1STQJ7PWalUxJ8E5419nzO3pSucw6ywmXBLcmchvYrx4iF+DDTdBXqaqZaxNNP
lOxl+9gPXgownlBPb599cGt2dpn+EkC/7FiP2tzrE9fC0cXM3HUxZ8zh3gQTKUrc24zytr11IcH7
3oz95EE97LMqaI+c2aSEnRWDf9z1Ny+EjpnWUxCmCNYIdpfocnpQanBuqfLWtH4LsWOWh8KkLlak
wHdVucdviyGePrl954C3YAFLcv0LFpgokEL8dyOl60771EvoHUmTmz+10n9YLNHw5DLvtgO9CPUD
N5kzvGpm72dmZC7iNXUpbiUXotaYT6sZ9gBunPU9IROP7mINi7sXf4xiKz9y11Leuek66AjgL8Sa
MOK5cHe5l5U82Q1jpB+9snHb+wDaGra3hqjD9S3DLHBgoui7vRqdQrzSzp/0nWhxG/jIZAkLpIIE
+OxXlRaJTs+6rVh2qPqOT6+JLtLxXPSAIwPxnYzZz0CMtLxr465UqD1QsFzZRaB0WicicX8vdki+
YLhFCtXse9gt4XdMY+kp55hmYih+E0DI0mTm0o7BDbxUgvIpysAwfVY9KmMeMjbgGNG0o9I/Mhvr
4aeph8HhK89kO31t4DKoH3je1eW/HZSlcIEUPVeet4NGoQSrOY3r0rrollPrc0w9CF2chgkQqPo0
c54qeDS7+7bs6edisGalhO4zsWekoPZLrMYk+Se2ss6+D1QeB6+1slowO0mLWv9Itkl09pieWrmz
GZLKtwz/Nmfw6B12qIHD48eyBeoI6lYLIJ0AW552X8pcpp98aHpmbWdjAe/U2dat6Cyd/ctqOtU7
VkWdvNC2Dpx7+JAM/ETzymnOZeJ64n6APyNY7plDXfsGapjA2uFLvO4HfFrdOtuNSA91xwFzG79N
G9DrHsTgD+V9iaq7Yscc1Udn2VVZ9Xuq/YEnRzdVQ3vObVgMtmUQZPcSCItqJzrsuMm+9zsKZzuX
FWX0o2w08Z5IryZ4qkZ5kvKTgwpUf9cXqKDpjnU0utW0wy3KkL34LmqDnjzYeQgOC5hUD49D7PnI
k+H+gKMd2ZRE5c9mKHAqiSrfTXZ+D7XevxrYI/GkvNRz7rQI0h8YRxIMHSl8YFSihE39CaNzcLpv
kJ6U7pc0LlDrnNjCV3sddT0Qu3UVoB4ZAA7qAjIW2NHBAVYhPyCjHWXHQSaUnLkCAuE2IXDvQwYi
gBcq8hJ9ez8B22nbuzzPYei0L+3Yau5aTaPLKMtu2EexGJq7lLXWeIqkXUX7lmT6s+PpgX91QG3r
D2wU3DrFAKawGyQ1EXMwapqqL8KHRe2hxJWMOEAk1dFj6fS9c6O6Mu9OzKnaqtpVOC0cRQf13Qn6
L8H2GfPr9FZBC8Dvgt7pp0OXBqUM6wSG6WdW1S49erbmTZi3Sf3CRADMWmmL7GeHxVo9IXEYo3J+
Ys08oPpBsrtRZL6883kBjNAOt8AYwpJOcBD3i5rVDxXcOgU8IfyGxsmB4o6qgUIA6qs9Rl1NnyPt
VOoJnmAOCTAJBBJ5iiSKO7mPY5e88rZDjdwOQMohGoH8GgILTVLT6GSXFnvLo2HIH3yPRvVr5tVe
cEgbGchPVZH3+WeLuljRCxcXP5e8Hir6Cfv6KfjckLFMzyl8CtvvXaVr+GoNOi7U7xxlCvFLUSk9
3cFH1fZ2ic9z7+w1QlhHgQamhziPnfScV1qwAzThFawuHdfzjggpltyRKG0s+Gg7gp8F3Eqjm8wu
WXnrTSCz71F0bre/g6zurTswGH2AkOrE8uNdm9cqvpsi4C8fpe+m/U1ZpWWdnJALjttvzOoA2Lb4
gJqTvKX8Ncqd4etUtH6U7FQlu+gw6FJ2B9sm8fgVT5MSU2qfIMF3grUrTmGHIJrytRTs0lJM/7uO
KT8aHSri9lJMCvalYHhmFYCa8dqt/NLzjV1ywzyrLHpivWRSt31YoOSW7enY+NG2zJV5uYOah7RT
I7cvXsc0DDeLMqV3Fhxng5XD6Z+6kA92yOaNDogfuY+dRBESYAQhOcasLRLxJSEYNUF138n4Btxe
mFCkmdxVyv+VOPImBpDU8vi27Jl51+OiTr3BQj9eXBsJCWRxrJ1OwSvq5bgxqWJe9DSSJp3F4uki
ExG8Yl7n+QGrz2o960K+wzWOyVj0g7yV6XBhIxKjkCh3hw43u4eCyOZ2zIbP1zdmCxtpd94Uvktw
EfiNpK5IipDbeb9zg/GV59Vj08W/5v0YEKfIcMpP5Vyjcf2FC7tN19gIVkIGLEVmczao50fmY86A
8l0f02IVfbfUdMZmL6FTScc0GS7TBISHX3iHpM/lKXXkISDWWrZ/IRdvcoyKxgZcNK7GF7eE1d9O
RjkDg4vws8pa8SRy/9cIQvX1RluYFUyskcuLeIybTF74gCIQtmOeS+fg5cRZQ20vDQTjBF3gKxxH
teSOkOQiwD7mFaQo2WxqHld3pIwQPCCJtKuc0YWBYJoMVP0UDJ0kw6Vpo/SIqjkXrF7YVqTjGpZz
wW+amy4D4DAWUd37ecgKmDPJFFaGWjR3YGc1JxF799STs0ACBWB5zB9zbGD31/troTFN84HMKSyd
B2z4hO1bUJwcC73Fd5EFPfpNV1Uurjpx2J9whhRucDtGFCKK2rVam6/8gIUBYzoTKGgerSiDYSYl
cEs9R46O4lsn9vO165XFtjUmDtRTJWXmj/ad2wE/kKhP0ueP0qZ7xb37P+e5uRZxtIu9P9tfbmtX
Y/JA1nCYrIqgZAmDFHwhiCFh9Lj/Y3fCCu/FnfhDGuB1Acz6rr9yIcxNalJSB6ns9dySvo0z3GDj
TFxgRfF2LPXs7041JROOhACfb+w6Y4dRiciyG8FtXJVkJNmLmPTVwS4TeLJf/6KlsWFsMRIoSXNk
KOSLRBbZ2iFTBYVhbVNr4/ONmSSjlUBuWk8IbPzmqOX2ASe4NenRQmiZPgYNc90+i5i+wKw69vmu
ociu3wzSZ0G8AzHQHW+B/E5RXU+Uar2vSVnnQ7JLJbxktu0uTKMDnuYa8HJ/uKAwlhw1Sj4PHK5j
UEDR6nC9jxYmR9PuQBEHtAE+KeSZ8zbHcTyFEzeSB97UDr/8wI/q39dftDC8qbHNKLhtu9Iu5CVC
jdIrsfr8nheotu/jsdojR5GHtj8MK3vPpZcZcwadhmEUhV2EskZVv5zUpwTbvqaBylHp8nGo3JUX
LTWfMU+IJndKUmNt4WkNy38W7CPVV9ATsW5lDCzNf6YPQpY5vg2UL7lz55OyQH23xlzHGLkgv3Aj
hvimUW1ymLLgwY7KlezzQuiavghuhPKxVozNJYJAA2LdycqcfaynYFp5wUKO03RGAKoDsmxuZ+Ef
NiBxcSJFD2mcp3DPhAuzmN3XTrVmWrX0OcZMUdTTQGAokYS4LWNin1VZMh68ofW/XR/cCxtB0yBB
NXOZd5P0F3CLJpzRAxn5gMxQ6SGxoCiF2/ep5JMoV28p51/+wdnHtEsAI94akrLMwqpvh5socf+V
gf8IIOg5m8oUpflgHGB72MISanxtxzUnuYWGNC0UGLHqOPAlbm9cMdFkx4B/9qrD1OLg/O/1tlx6
hTlRwHCaE1eir6BvPAs/zk5jSqLztqcbM4MLahjyAyUGdg7WvRiQifIExHLbnj5/07tDTlIjw92M
gl0U0fFLhrLDb36M4862pzv/fTqwKVAd9AOezhuyI47fHqe4bVduOpba3dgOiLLAEBYiD4ugZv6O
WhatQySwiNjY9MZ2QMluqt12SkM4K+JoAT4rBm7moVr7evMszMV/JtB3jZ+RzM+Y3Q0XqTmHDTGc
ZUONyDxakMmy0/WXLKwsphuChHl7ko9u/JphN5o1bkhs7AJnElOOGRn25Wv73oXuMGFDkncWMKMD
JsiIWGHmOfWD0vmaD+vSZ8x/f9dWpBKUBfUUvxaMPwqUSzS15+9IIC5xVn7rq1Xl6EKnmCQelUUe
a4MAF4SFlR6ph9LbaoRpTBlss0j3OTFCmsm2sdPGGy+0q+8T1vzo8vIRQ4FtC2rTJCGBAbIDTO5w
cVFw2OwI6lnErUOR8D5uGFNeYGZgml5EbaE7dc6aOY9llf/MJu/q/zj7siU5ca7bJyICBAhxSw41
2mmXh2r7hrDdNohJCBAgnv5fuM+JKMul5Atu2tF1gVLD3pK21uD5YMvWhxhOEdfbeXUu0I4xUDqt
fdVWNM0S12nIQ1CE5BQv/nQXEzwpXG/j1WWLNta/v1hYuFzn2O4acgY56i71aXqXTyHZODTYPm4k
QAC80vU11n9wNWFvarjAAgxRsfzd9d/+6okfv93MgNWiUhIOGB9J23sFIYmTC6hPUjew4MXD1hGP
lwAnx+OD426WqV49OqBRIytScBB6PqbkXEsIAzCoaPIQfofT0tw0Hpi617tmm3rjAATybxGpMSBn
KJ/o5jhEy08VLLBziEgb7YmTMDbrLHAz69xpmTW0hb3+k4hKfefl4bB1JbdMvllj0ePSz3iB0g8i
A1oA5NzaK08Oh4TJnu0Vv9/IiTxd6TJVoB9UqFAfUYxP8sDqqPhxfQ5sHTAONiDzYYcdG/9Bwy73
oEVIILjYiPfXv25ZR6aII97Jwkbkwn8Avjk7A/1Y4c0KhRE8mXjHKPN+XW/GspB8I75ht6wq1wMl
PptheS6y5gcKavLou6iqXW/BNkxGkGdSlQSyOv5DqtR3PIjp0+g2/Xnfx40QV009yS53vIc6rZe3
U8DLXxVKZnf7vm7EssZxv4FUIH76Kt8NZeoj/MayfdnbN0IYgIyAAQvqP4gifVNTQPElleRQ+NLf
OAFa5vavikcXC68G6f28tpCtv7wdw68zw/P5rvEx6xlQhXSCiHDkbzn6j7oGmU7iVW7fwjFLGWU2
L/D2K5BJ4aVxIByPPn62qQtpWZZm/UIGMSuhrEMe4GbSnUoe8X88sslWsH3d2JoJMCoz92ZyVmWM
ih+J6sg9OLKctyT8LHsbMeI2w5asWNXGWPjj29r3n3WjM1wTofM/dG+CAZWYuurDxEu3nhJsq8mI
41qC+AvuRYxLPSUFcBP+eCcW0FuTsYi2eIi2Rsx4Ljid1jfFDKrmsArmwxTd8toTuNyj9H591dra
MKPa9f3Y7xi9kXhTOgiGJQWIFOSB1ov29SZePY6HUG3789SklqDRc+2RMwVJLOCeD8ImxcYmVn1F
D0+XtyMwc1vsXEtrf1UrSINXFnD7zxRfB17nGQAyPJ2WwRPU1ZeDn7JdNdQwNqsUrKIL6pUqBsM8
DB/cGGgS2WN9A1r4VMI6QQ1D/50qp4GCa7BxSLRshGaJQsZD63VVE4PerChs7wdRHtN00Wco0cr0
jCr3LpFv9G79BS/OuoWkWmFNwHyrIP6SZB5gCAltFvk4L5n4fH1p2LpjZIYVBjPWADid5djM3yJs
A29bFvndw4QHTv5mCupw4wRhyUGm4CMVHePz7LvnIsjZY9al42MQOf9c74bt40Y2kLyD0v0MIi9A
pPE9EcI5pMCSb2wsthVtpIFSMQCyXawzzvGCckhJxd8xIFxQJSG5+1S7EnY7yiHxFlDSkhM8IycQ
WFaKSWJW1CS+aIi84zXKGR4iX4tP+wbMSAmwk+m6Igc1GVf/coCdjO99mIc4Go67vm8WMmC3NopR
yPiBhXn7mfVR8Qu2O/7N9a9bxsesXpC5JDpF3gScEA5jN5lT/6DRADxBN+udHVjXwovoUzUDHo5F
uGm6gCxMfdAeBtw+NjKyZb2adYtUOGPpqmU5yzZSb0b4BcBC3E93xppZs1ATpIA86MOfEcquexRc
E+d5wZNjv3GWs/3+9e8vRkcQCqBNxdhD2pfOMy1XV+eOVWojyf7OcX/Vn+HTbcQzZXEbArm5AtKV
dyHp8J1lcPpIo+ArXA+nY8rIBz0MH1DRP0W1uAEQ6yZmXpxUS6YTZxnPeV49rf9eX3C2/hoZQEfU
nTMUtHiylrYSkObEqne98+RqikDCpmVUFXZ+uGDVVULyvE/AatriJVsOZ64R6yweQXzlJHqgQVOf
KchfKzwO3IK6SOpwOKlBPI7LR0j8bcmCvb6r/OUfHKSwqAY0lZz7PCi+0SD/N2U4/U20mh8dQLU2
8vLrEK2QmdKQNI2nHHbI7IHi2Jkq3h8BXnYTGXZvwBHwExoHX3UVfqQxQFOUj8XNCAkA0NQegVXe
wtPbOmtkiprJvIdIq3+G/JZ6kAVHKNeL+LHMsj1Bbb/Y5cqM3q4/4EXQ9a3bw4tQLjea+M8qHMUB
Nl1beKbXVzgzJSQhiwAf8yqFL+Dvo3sKUf2jU27a7L2esZnpPgxJx7EvWo0AgvRlf8OX5osswWEH
mezr9RC1TYORMiTY8B4vVg4Lyzp4HbEvesQxoIiB9snlrhdZzIGRCBxs+9CMXjoOFxGXJwGEssu5
+eEzXx739cPY+ynA0AHU+9GPgJXiWHf+CCRy+mYKxxQo23JjuGwTYiaFqA2atluHS+kSZeCA386d
+1hEwKFc74hlRZkqAnXrdjHt1ilf8zdPUZvHLWNLQ8f29fXl90UwiHiB8Ika1ukeUsAJfcAzVqeM
fb/diGnCZrDGAczgCee0flPOkHUmq2nTvs8bkazaaAZwCoJ6uCLP8hZn7RQ+ZuPGSdsSCaZSAKl6
iKiPbXCGpHCYoFZ3IyMxQfa3eQeVpNP1Lqwj8fcOzUxlSamb1G2qOjivytq67nmSQWULOL73ZeV8
AbZ/ox1bZ4ywFj7w99GwttP2b2Q5ngI6fZKzfDNAmGDndBhBTatcuNk0BWcC5N4plWCUdYPz+fpA
2TpgxLPq3cxrKx38dpue8ubHehMeG/hy7/PkDpkpLFnXbNR8WDBGoIekEGE+oO7/CEZHe5jL/vv1
flgCzpQKoIUkCsiW4IzVlR17Bn0G6BFuDJLt40Y0ry6vS1Gr4Jx1Q3sSMfuX9ZuvkbaPG8Fc+50D
8kEXnPmSy4Tn9Zdib22FmRbEEx1q5ThOcJbwmOrS4QBvtHfQ4fkox+77Xp/d8C95gGkBbLVmWEYK
chlJVulvLUgR+wLAFJcMGFIp5F2wgOAmkbgqePJGbJv7Fo4RwcSFCG0XukCnpivpKFhQFgqbnZna
1JQMQCIsxVI6KDVxfF0RlJhQJN8CRVjSnCkqqXIg/HlPEb3h9B5u0Dpxa5gQw8CUgIsfDZv7mWU/
NnUBwP1wUiWRtJWgbhK4jnsAAwRS81rtqpEwk8uf0dhR0P6FtV5cfSwFNMKdSoz7JtlUk1RwDagm
YBpxXYYWcxrArsoHRv32+hKyDI4pJYlnuSwF4wi5xwGXX4NuDYsVeuqGLYi1rYE1eb84TUylhAX9
uPhn2bQeVlL4VS+1eATpz7m53gXLQjIZ/XpSPucN9RFi7N2E9A8bUPi7zt9KSMQCx7qhEmTJdSax
n8Jza1xAnzvj6e9zr3GYqzpIhF3vg+3jRiSLItRilgRZemXEKFy4ceRCSr3+ddscEGMOQjqEfYhd
uE/ruscWVjAYD5ZLpe+60cmH0/VmbJ0w9mOIGAeB2wfwTmzD6SCLaDgsefzv9Y/b+mCcqqkDCtcc
zMGZ5Tp+JA5f3k8SMLm52Klmz0ziPi9l77VqhsYNaHUHHcOfrHfZHt2JkJl89DKfqwKFKTgEhyAZ
KFkrkM+aH9cHxzLyJvG8Dv0cRmer/TBYtJA5gRUj9Ge+7fu4EcHwpNK870eMPBXQfMj8ZA52ysAz
k1pOoYoQqxn5R8cTOZUKIo7a4d3GirSkhr845bTqJQbDP5e9kx2V1tkdVCayowv2w3vYLXwfx000
k20OjBCmXRmoEXY15xQ6gm9dtvRPspVbTguW5W+6D8eVbMtwdWhuwHNdqaq4mBGcpqcw94775tkI
Xxcv4NUAoZFzPeCFkY54Wupc5h/2fd2IXz42nazm3j//ppGVENo6uI2zgZKxjL1JKOzdABpYoAev
JZbpw5RnTTL0OG/t+ukmV1DTzm9SUoRnuM56iTcNJMkhs7bxdcvMmjTBrHAA8ZlgvZxGqH1kmdD3
UAT61gbFsqHjZRsdI4BJkQLfsKTIa6P4wmDWdQj7zQKrJcRMbBp4SXTy4Ax/LgV94l71lOawEHfp
u2woPsat2Khb20Zp7duLYwSP4h6UdCwfBfI1bt4APbKm/lFUm/pRtlEy4rcvXNLgqOWfs8n91i9w
SIsA2t2YZNvHjR04U6t2g4AXjuDTPxNfKDj4mwdc28eNwM3iIM/SmQKVNIDLmpXNDybrLVSPbeCN
uGVQWfC7RhNs6rgEuBRy7LLHu68z7UPMhszEn7lzP3cZLLBBkgCM78BcmJs3o/65K3pN+BnM6aCB
0TZVlvT+DOCcAIsUuW3LsHMNoleqNSb4TEHYuGqqcX1QHD+Qpn1M2/IpRRWlYVvZ7XVpFAyQEcCu
UO5SD+OSJ9MsSPYxc3hEfyg1lu2vIEv94hCFafFDg9S0vNONn48z1C0qFhWXUnhQHjwMsSy1PMDn
U8dqg0JjWXYmcM2NIJ7eOx16PoBmV4fQdPOnnQLSzMSrZREcbiAS452l270pq8k/ziicn/etCSPW
eeQWLo0BhgNq6iOe/6tT7uN2u+/jRqynZHZpoAmkl3GbIh5UrCK1qI3LjiUcTY/hjkNEuw5wjATU
Gxp6E9xIwXIMk9LNl+O+329EfEAZLpxx551ZsHzzszA8UIh470uEJlRNgCMk4GOM1/EGDywUKhdQ
M4G90K6fbuLUYHWVTyoUUHAuxhyurWV38vKKb6yatWT2SqibODWQFjkmEsLsKtZn2BJG43tVdG8i
PBcNfRLFMDi73g3LJJuQNbz6TSMc4v8TohZwtjlOPtQtOgma2vUWLLFL1pZfbKfrtb8VEs7hJMNZ
T0+gJRZLtfV6aPv6+vcXX+/9Rnrpiq+ZFBCPXtwd57hKT/t+uhG7NZwPidvUWEG9eJf5o3sqnJRv
AEEt2dykz6lhLpwwhYV3VkKbV8vyqYcZbOL38ZuqdcnGQrKNj7Fhp7Ry8M4l0QqhwaegoPyBdfM+
gAgzMWlaeePYCwyQCyG58+/hb+vh+67RNyFo9YBLwlxhgKbc6w9uJ4LTovcxNkJmws4yiN8UfT94
UJmVjyVV/cGrNz2dLaNu4sv6OXf0WCM5uBEQ0GyS7dslglT99YGxnINNTJlYvAAGVHN8JrBZLgN6
R6FNrgn5CU7cU6WjfUvHMwK3xlGshaYVlg5oGlCmrg7tPGwRsSyr3wSSZXAkIHk8xqiEe5eVrApV
0reQQ7rdprLYJsGIXsiDzWUDya0zWaYFZ/hhgItzFbfT0/VpsHXB2HwprzNImGHzFT2OeHU1viXR
crNWlKtqn/ctlqkRv6UHyXsn1dgIHLd/28Naa2Vm4IliY5It+d8kxHE/GsC+X8OAgQUtcfuE7BP5
OacQM7s+TJYWTBAZp1kG8ooPew6n6QDtRNnXA2B/1jsxAyaOTMCoBnWuBg0EKkyymD4KbzwTjpog
87d8py2L6S+b4LZbhfFQNXXjGEL0I/9XRhCJvz5Elt3eBJJN1cpnHXAMCprw3g3z22zGjUcIwKGU
eBiK8Guj843asm06jKiGNO+gJLiVZ0hqtR44S0SWPuxkQ8KbM56nWrlRCrA1tI7ki52ZsFoQx0UO
LGf9iYeQKIvBeGi4s7WB2qbEjG/VQsY0wryXLY//YaHIn0Eu2qoC2L5uRDcZqyIeCb6uZy6SMm4h
qbCJTLCNjRnV5dRMmdMCFZwBl8hRsD3WXlgdqngnj4KZeDGl8sVN6xKBHQfTgTnQvCBAbhyvr9jX
RyeKV5Tai8lN6wFEwXFCzEHo8Z2Aet19qPBuev3rr2fWyESE1S4kP9O+RZXBDR8YLreMj+/X1/a9
YQCRij87wLrFQQ8y1BpQ7Ydt5+SeexjxVZBf3Bii3yn67zN8ZCK9eL5MvZry8EwIhGhi54taojNt
Adxb01PsHYowfCqW4H7IAYJoy2ajYdvcGBGe6sEpW4GUPmk4kpIWqM685f9enxrbx9e/v5x4GThO
VYfYj9abOJ+a8AgEb7trr4hMD5lRESD+l7U8wyiev0ZWOw9jI4vEWY/G13vweuxFJviLx23vhQoU
oKpwP/ZxVyRp29x1pNn3ihqZDjJTAZVAmPvAETavamh9VBATJVW98Yr6+uEvio0rs+jxkg1sWXCe
PHXINMTk+nGlaJB3jotb1fa2aplpE/mVzv0ieCNbiEWU7q2bg80azXCD3TULpnsMIEbQw3EkgqNc
ZH8jHJJ/dPuO8scKGtTLxlzb+mBEuWJzXNN0gbU8POYeNY27JWncOtuCyNq+vyawF9EgcjYKvEIi
DS66OWkcaUq+iVqwfdyIYwG+N3wpcf4mncIbIYneTcsm68aSYk3klwYtMCV51d6owH9OxTJcJGq7
x26okxwWHDtn2dii4evrQz+SA8Ie50+K45GcALjjhG52ur6MbGNk7NI9VVHTpT1eyvvwZ9+M/5B+
3CquvTpE0Awwfrzr8CDLFBkunLfOuYzTz+mMsuAElFbSbEsHvJqP0IzRBb6McoRgubpwAtCxXvrv
BLKx7/Ak7D9dHyRbC8ZpYxUihqx2UDwEHZ/C+0JX2fdQzP7ypV0cv9ioZ9hEiMwTh/D11I6kg17E
+qZNcpkmPVwYgeR1PoOAlyc1JILeTCT6t8niN3GxC9MW/XUWkXkB+be+5Q9yghVmwlUI6fkIWspb
GmWvHs/RwPr3F1HOUogVuyrNPtWBSE+lA1tjiENN4fJLeuSnnHLEDISJrk/WqysajRkpK0XBfYjK
svlYhsEDw1ydohiFp+sff30l/HUkUQD98UJP0PHM2s895LQT4hZP/wNnwPbr14ZfDJUAQyD36iD7
pFQt73/X0rmDJ5x9P39t9cXXVZe1sdfL8dLHEMyRKc5quhqKG4g7hzuH3wj6ACpT8MQLl0+9iqAg
wDM3fKvHmX263gPb+BjBTkdQp5tmHi5MsPbZzfDYkkArXW09odm+b4Q67ruFysYx+8TB0njQXKRA
9LJ44+zxekb86+wRgJ47NlWhYA4ke/KZzNPcPHqEpc9kgkk5TlRqE81oacs8fmSx7v3C18snBo3F
IykKkRAP5SeYnLDj4G8CliwjZh5ElDNEmPRggmCS+0uUYNP4MIjYuMhY4o0ZwQzmWVjTmk2XWeTz
rQMISMLBdnqG7kq0LyZMD7spR46YAVH6JOmioS0bkAdsUx88vdOHLzKR6H0V525Fw/kjUxNcmsqS
ePq2Dtroy4AjBNkoar7+8hhF5okkg5S527dKf9KBD/01BQ8YfaJzr9Kk1ASXwRoa5OVN68x8vgm6
enHvxVyV2TFwWjHdwnkACvZhmtH8tCtWmZEKmBfkHpT01QW6R9mBV9BSd2DcuDFvlk3FNLRL4xw6
dtCE/0h8Ic8sC+/LVR9jSpdfU5tSWDN8zCXYT9f7YluIRl7ow4h7Te2gL3qJbuXghjNEggf2qZ0V
PCOuN2LrknE1SdU8+qGPLnGJWmJZte84f/9bNKovgXHQJdQW4Nu56woRYav8czdIu7YBUNLtLqkz
NyeucbosldPf+dPmE6glCZnGd6gQCAqP7eyhjMLpVHr5V7dDCy5865Oi3feIhZ4YaYL6jgLeEIrK
pA7dpO8h9t+um9v1abFkOBPc3pdqgfh9Pt8jaYcHUZTVuxA15Q2SjW2I1hX3Yk/WUSNHyXB87VFy
uukdHoP6iEqQgFLF+zzdB0DHEK29e9kO2CLOVIvxUo6ArQq5+jD7mzNg64UR6y5U+aDn4zr3UNvJ
fjs9MwloSKYdkfwPeuOWCDFx7hKVfMHkON9PYPYkULo4QzLkliGZHtakDe+i7065Baa0xLyJeqdQ
88jjUGO37vEIBYUy9xTgySJxWmCCri+tdYH+VeLCpBgRD2kQgsp+ri5TXERHN0j/jUVUnfBq5+Ml
vyyT2OVbp3DLFJnId60HPYCphwUQ8Knzknryqjwh9Rh08OuA+V7bgMlf+vTd9b5ZwsYEw2ulHCog
FniBI7B/o1pVPQ88mm72fd0IeQ4s3gjLeAi0roqtfYEnYNEuv65/3DZU699fxEq/dB6s4VKoHMZ4
ckGxNkzkiHyyHvYjOMNtbJCWBWai4dMFZa5Fdx7sJ0bnTtb0yAR0niYPklL7OmIEfeYxh1Q69WCd
sKRHXbpAoa43SdbM4UM8yy2Fctvhw7S40xJmVtHQ6Hs4jH/lGKyDhmUbFNY+crhEpJ17I92B3K6w
vUPpBOA/OwmsMrdQ87a1Rv6cMFk2VQngmwvh4+qpFlyeuwxIoeuDuO6HrwQpNff+xe0KFI7gBiXF
DQXf/zhF4gYAxyjRcVYnk5d+gWToeftGbikFgFf/Z390JFM0yTCcmXeTxfEbGngXPvR3ZRw+0h4S
y2z0HwBifg+/lC10q2XVm5h6BTvlsYWHxL0uwJisRyi2wubPeRiiWsERh9ONQodl2Zvweh1NgYbw
g3tRIorAhJrAV8dYwsj5eH3CbB0xckNJZ+BcBRpICd4m0N5yKCEucY6gpLak9ZbOmSV5m0ZuLMaW
k2XL/09BA30seRB8dKsVjwrRJ2f2t2CFlvVtQu9LPKQRv1Pu5beoF6U6f2p7HHWuj9dvuMkrK9zE
3k8ZG1o/7aKP8MDyFnFUQzm2xwLeBglgwo38KhX291sl2kz8o7ohkE9p6E4axk0aUnXVne8OMWUn
+Lf6zgcWzW7wllFN6inJxlK5v0Zc4kDYawpGu+6AR7psJEmXc5G7MK3xa7ILzoRDjnEOgWO3W+Wt
m95rJfQPDi+/MpmWsdhghliWrqleqbM5BPq16C7E5+3T1Lbv6hAC2mWuq40SgWWmTalK7pcB9ksO
70tnnL/LPHaAYK9R8Lg+1bYOGIklXeBsJiq/vWhWZg9uh5s6ly1/jBbYw19vwtKD0JgC2ClB/5JK
90KXZsb7OKzROBTop2YjHdu+b+R6Fypr89y05FK3YQdwH/B32ceKCZFtyLpYxig08r0CKLfwoGZ1
IYDIZ6vr8VSM7+cBj8zXR8jWgDEJWUvdxS+69B7WCu4ZXm/kUFOVJREbdj2sIA6Mux0qDQzFane5
gD0AU0Q2OV+akOXZRsawzIFJs5AxYHzKa8LLlOYzTI1c9subZrIRA5YN16RZsAImDISW4aUvw4fV
iQQ7ug+5GTi2wY3OSXC195FUBgXq3a4ZMdWBIQE4/2djXIdwSiCL+qDcKH8XOx3dWFSvi/lgRtbF
8OJMmTJHQtQCTicCJ+P6hhZkqVALhzvYkZE0L9+6bcHvW5jl6cPkLg27LeAl57yFCxH9GgxAO3wU
jq7Lf2Q6SfW5b+Jm+odD8Vm+8cEb93dWOv4SF17SEWrMQfoWcqN58bx0moJaIRz4A/5oFzKwXW/V
EYxc/xwQOkVLF5BW/ncMkADq9CwKbv+HTGSJM5NOwOaRt50g8uK2+lOK2uS55Nq/aeHr8HHXujEZ
BZyNrUOgbHChKdYNbLzfl9ydTjDk3VJlsPXBuIqUZAh8VFbFBcVicqoHLMgAF+1DkW3CIS3HJZMc
IJauBgU38i7ZGLcHAV2d+5rTMAk8+gGaEOWn62NlyRkmS8BlaQbfjt67pCm4fUzN2Baqkg8bU2Hr
hbntoOoMKzJNLkHUMQC+C30IMuWeI9a4xwaK6xupwnLq843th4+eQ6Pex5XKX0qYxeLDCg92sLqq
l2/j0Oq7YdzMhLbZN7YiGYw1+FoxZr9ZqjvXU/4dZ9gpxnQf2gJhaGxGsD5xVZlW3WWCdaMPU0on
wktB1Pcb024p2ZgsAjBE005XFbmUDSg9damiL7BE/QqaMz3HUnyei4ne584+3FYUmbwCnWahzz2N
E86i+SMdFO4yEV5XnnetYpNYUGvgLiKdthdB+QXX3jqZ8eJ8/duWJWxyCXgJ1JYecdPLyqo8u6UL
0Sw2Bk+4WDMIvJWbZQHLsjIpBdNcxFnTZ95FsrESkFwnVXTqQVhhyZwqeM/u68+aCV5seUHsVNjH
ObloF8DSFWQto66/6Qc3OIfjEm4AJS2JxTTvCaDkMMN9zruItFa/pmwGyWpxubtxGrENlhHwfTii
iOnH7kUXuMIoAGK+DRHmvS1pv3GtsOQU06gnUJErpha5i4U43XQoL/I1INYbcbT+X7vKI1yfE1tv
jHBPo6lzBlgqYu3iVg/yoXsMMTHLsqmhbZkOk3YQBMCMu3jkusDV6InlKr34Gv+5/vNtH1+zzMsl
VdeFmuuBXDLud7AOyOvs3yKWeb0xPLbvrzP08vueF1Wyw2QDlz6+d+eYQMUJJ+jrv94y+CbxIACx
t2+c2r9AB8y7SUeP+58LUsTR0Wl9Pt5cb8XWh7X1F32ARjPROozje567xfey6jScm5nsNl74LYvV
ZB6404D1k4e4f4GZdCc9T9QQ2s8iaC4tBTn6uHDcFqPTd+d93TE29rpplo7itAP7r8b9JwVngB5C
tyBbND3bcBnxTeMyqKVPcC7JB4gBTN1cnHNRBlu4HktWNxkIRE61W5HW/+8ZAX7kHxmbp0/rDWaB
PfvG86+tFSOuBeTfYE+e+xfYYAJDUHbNTO7TsPB+xpkmt2FZVNPHXRNiEhImzQRZgqF4zpoUUH4H
wrxpBLHO61+3xIjJRiCOniIuBLI5D/pvvUPqn7oK1CmvwBC83oRlBZtchACa70Wc9s1Fwnu7fagH
4atTCl3h9CeHk2cDc0+e++QIBCc0J47XG7UsM5OjwPxxKUQMsk4pWnGuW1L0Segw9uv6523DZgQ9
tLamTE6F/1/Ns2S4To0Zv4XL+ZZEu60D699fpJW0GbQoM48/pyyP4ImGF3H/oPLCkRu519YFI9DV
2AAUz0bsggNvk6mEcBIZnDYZpCw29nJLlJhYwampYB5eedj98EwxTTFs3YW+C6L0S+sBnnB9KmwD
ZRzae/jq5SNcWi4ML4gwK/QdHw95otHd8XoDtvVrxDpRJGrmEjPx+0QyFb3/uB6pgxqPrV6Ix6ph
2nR5fH1SqElUEIIOlePC/9Ml/0906nd9Gx4uu96/qQkOrHsvl40iGC2/G3+XXrQ3kXOL1zBYD6Ub
WeX1OaEmKrDOy6XISwdrK1L6Ls3pkiaVyOIt6Ibt++uCexEcMgUzWpThchFxHr/lWqgPg6RsY8Jt
XzeCWzgeSztVFs86TuFgxeEYeq5k6qU7v7+2+/LXC+hET+6M3ESKRn1SEL8HqKWiQ7ZLdg3urUZs
E7ASRYSTw3OGgtI9lIGbFqdaV/y4HhGvxzU1OQmqiaoIdMjl4vszPS1y/ja5IDwEuDXfhDDb3rmK
zMgu8HrUdRUIl7XUFFqWdOzezE4PuNX1ftgm2ojsvvGK2nPa4RnBBj1nSrr3MArYB/gBIfHPaeZe
t6DOHPbPfV3PnwNIE9yRWYSHamg3TiGWbGGCAbkEhTnAsfPCdZsmqofI25LJmyiiW4bKthbWnPhi
qYJWFmRESXYv2r49Sdl8IXXenXy2tVJtDRiRDJIiY2WUds9p5XjHVJBDNhfN+hi2a3ugJhxwyrs0
ZaxVzyhfV/wg+BirBA5l8bvra8jWASOYteJRMfpu96yIR25RNHhkjageQWz5eb2B1ys61MT1TayQ
Exl7NIBi0V0gSJi/ncYqzD8SGDTIYx1qN/oEaVSnuck7d6uQ9DofLKJ/If5yZ4TniF9+I8HSDNDu
AvzvInNejv2NG+M+KGE3PzkpwF9dQaE/NESeCr6xoJ6gWBn1rssewjryB7WRDmwjbaQDMMNm1yk8
9QzeNZ0SwdvqSY9++rVd5D5XXdRI/lzvkLmthnKCMmLZLRKe2JwW6tAQz/t2fTItGccEAU5z1Uk4
po3PwSL6d1TgIQQW9lL3G8WZ188q1EQAgsXv5Z10+VdFIG5zL6pRt/Q+dLKwh7w/qXvy6KUhCfQ5
LWrutcd93TLShBrzgQQ8UM99x8DEdsH3P2U+HbZw4papNzGBlDb40TBAuJSo+oKN2p+d1P2FxZmd
93VgbfhFnuOeU6OwFchvWa2qp6Fzmk8pdp99K9cEA4LDx/BiPw/PNGCcnbUXpeWJNo77uYV1wN31
Ltim3tjzA6WHUXVp/SxXfOmIiuNZ5YCxouh/Fh3MsLhQW+4Orx4AwogZochl0Xf9mIVnhasiHlgf
lS8ewenLy30Su+AZ/TkhDvRk5gpbwjlMw/Ew+diVg4qL0/WxejUMw7+wuNQRC0AdM4R8ACxINAXq
r+Lhz+sff3Ui8HGjaMabrgeXtgLRG4qQP0Al8w7MQ1mR4oX4QshUv+nIJj301d0BjRmRl2Z+S+CR
Dt70Up5TNn74zf9mgGoqj77rQxiPd9UuKBEaMzZrwFl14XOwkOuhpad6Xr3n5/htBQvCPYsYLRhx
SBd3yOtwam9Y2PwoVXmCSOUdK6sfq+mKz7eYIbb5X//+Itx7j9E+BuXq3Afg7a7WhrXXZRt9sH3c
CES2ND5KpBDuDGDRcZvVE/kRVdn8+frqsn2d/PnTSe60uCGuXPwJcn9TgNfiWgdb9Azb143ApllA
hB/m8MIM9XzKQG04FGr5sO+nGzGdZaErgxiCebKgP6cQCSrGtnRz/ePrCvkLVBXizvPnuIgRoG5/
BtPbdcrwVlRAqPK8nJ7ifC42mrBkPRNiK/Kyo9UAOfReSRI/uCt8lCa9bOHIlsycegE/tF4YbJVi
bV0yYps2gHLTGjobYACLGxc8V7xPQQK/BZJrY2eyzDc1InqCbPPYNyUUwIOFP7LKid8PAHXuiwQT
cdtyQYY2VygvDO6YaA6TgHRkW5QU2/CsfXoRxDTzBph5QtCmHhZ6j6ECutHzg3MBLZXjvkVlhDKQ
mcFcu5CzgXDw6r/pA6w3N9mpCqYtaQpbL4x4jpailJVm3nmM9ftS8AtF5Vj4wZfrPbBNsBHQGVeO
nIJVm6LqFxw46+xSCZwP9n3diOigGTK3XT2/BN6gDimTU6LYTvfTyETIihA2Ik6KXboU/QhlgjoD
1GMToG8ZGRMXK73Vx1EUULHJ6yFRCxZnS7CGro+MZVpN3elAqMrpewiZAV7uQBe0GY8B3nKObbkp
vmtrwojdkrPc4TkMr7A4v/bAuB1ROFwSx4+3pJVtQ7S2/CLCaui+KphrtzeiaIukFNCHxn1uCzRn
+/1rqy++LtIlkvUENTa6QPIlyPsvgF4XySq7c30O1jz5ypZgQiNlF4aqC6FlKbsWFjFz6OuEQL2o
SaIgqH8yStn9QpfseL05W3+MSKZlBBKuhwWVyiEEyBq6frwHqQTPjlvcKFsTRjRDQ5RQwtCjNkj7
R5yffgZzVp7LdWVd74Rtyo2ILocyBAYJB4BSI+bqEpyFcNa7oJjhXzjJkjaazz1UfqTGjpb5Uwi9
FH6JV9GRXb/fhEoCsTfPwYjjUS2X7C6joCXAwWRLntByAjChkmpOB5JSnLZ5npUnuKWJz0CSyiTP
B++mnVx92tcLI7Tb1Xilx4HiXE1h/H+cXcmSpbiy/CLMxCRge8acs+aT1RtZdWeXEEKIWcDXP6fu
XeRVJodnLCutDB0NEQpFeLifmsh8d1UUbPz4fLje2J2qKatqd+YSyrq/dVr0+yFd1f1bOD/v8IxQ
EByyEivk+ehCRR9lvw9Fse0ys+HmfEChXaWgccJG5HuvI2bfg6jo+pov2JYNNud9HUKZbP7lE4Sl
vCibpWmNf+twgMyuD7G0OJb5qmCMnFbg2WFEBg4zMNcfa1mXK/u64O4Cy3TJmEZkzPDuNG5yM3ON
iwbVyLpuH2SEvOo0xq+bpmFDSWXrt3JUWXnmGSBUh4oiHflY6mJyNg5gvaAD46myjnAzVHnug/id
i2NJQOi47edbYbVHoJrk1rE+B5X+x4SZPPl0tclsYYvfEVIPtTvhOQDOeumb/az79IfnaNsvtyxX
tJJHvOzg3FT3d+MiTz704aaqVxjZgFHT1lC7KQ1EDvIs30PU/Gc+iLVwaOFs+lYgbQooZYgQblmy
4B7RkNwpMIv96edC4HI/iLWSyNL625cwH8ehdvAooJXjnhsv628i6v/atv6W/erSHUYfTOZn07rk
aCB3dOMYp1+BpS39dMt+ZaJY3nYSoXo5BKjmQEiycKpN6MAwsoGhrOpzBzoo7LcIzVMwqX+aqvgE
ee8fNSs+bVoeGwtqqqYNg6Zlv2khXk3ZvrQdquPbvm0ZraTaj70s/e+90mmCLNqQipVC2sLS21BQ
GscCDYwOOYECL90FCWgTkBj6cv2nLwQNNvwTep5jwBz8dOrEnzwNNnWj45tc12bXIm16fZCF28ub
Z/bmUveoTiflDeW5Yujyo17Jj7w2cl9X1ZpI6NIiWTbMasZzD/KgZyDDIrYjfoQnR1RX/sYpWKYb
sFRTl+jkN4iXRkCqYLrQwESOK+Zr/WoLbshGfqophL5zX5dIpvC/mpDeAg7xTHX2xYj+NAzkfH0z
llbKsmRQlQ0UB1afOwewozg3n72y38YTH9mAT1C+FG6kEnKKw7LfGW/8ZVyoumz65TbNtMnRK1hn
6LclSXjUZZwd/KFcC1AWzqhNM62isPDroMbHae7/bGg9dDsd1r7zXIgwLFfMbSEjbqM+hQgSkF60
5bkpzIm45iAIORs/fECD/Gno+qcB1HTbVsu6j4O89lMvdP67z9BPQsUozbmzgtVZOEY29FMbrvEO
aBPw/GTFDj0WICebwpVYdGkzLGumrM2DPp6rFFCZehCtvg8KAMWrflsvTRj9aV5/45I4SXRdlLAC
E4H+CjAjvpubax5zUtHP1zdgwZ5tsGcAtvsAhaLyrPom3iMMLQ4cqPSfnQvuliBmepflBdsmVx3Z
5NMU9DclT+fXq4/RFIWEVd3xlc1e2A8b5knoUPtj7sa/KwEmOpBGiOPoQ0G8d7ban431lMiPN6RW
5Rmd7ObEezROd7NSdRis9jYvzcK6pk1qcjWYDBbRhj19lA33HYhVQ+rjoRybTqy4qeTjzI6N7uRc
ybSbquLMRvADpHPNWfdlcwI4ovkCuRlQm1f9XdeF2VHlvFqJEpYmN//9zYGuwkn/p/RCS8CFWJ/q
G+6BQSIbUd27fqAXTJ7Mf38zBPcTcBMjA3YeQ4egA2nwz6mRp+sfX/r9lslXuDSkTHl5FkB471mS
6C9FBBmzSaR6xassGOQ7xGeYRWjnZHhbgRpcm+4FUYI5zLcr+Jbrgzuz+16fzNJKWbE4C432pxhR
1Vjy5uBR9B3pyRMrqPuFS8Qmh2Sd6lTY1AXYINzfaAT91eTyW+dWtzUN7tPUfa6nftOuvIN8Mh7n
ASGwSjQoeCcxMHLXy6H66myl+H0P+mwHnUR9W5yNqsL0gJK03x6nNvLWykgfn6x3eE/S1/8Ncbnr
52cQhHond+ifeg6pv+vb/fHBojY7dRygn82vNDnxwHyOfX5RtfxCGT3F0IPuoaC9bRjLxJtpgvHR
RJ8l+HvuuAnuGooWaFMiVZOCguGU+oBTXB9radEsW6fQLZz0CCfGo+BeebQ7gu/hR1TCYK4P8LGJ
vEOBMigUD6XXE6TL3LPHnH98AgrNbd/2/tdRIc9UyFSb4txVmj/zvAm+lymkbDZ+3rJuzdI+7sIS
KjwMzuofwXU+PfCmzaPz9d+/tPhWiB6PNW/KHhtdOXiH0TQG+VtUH1LkGFem8PGz7x38EwgAnhcR
QukZxkBFDmZ+cg7c/J8CbvH6JJaGsPJk1OlCM0D4BA49/+Ixcla6O+o8+DIfpG1DWBd6kPSxnKaI
nLQGj1nTynzHcGZfJj6yQ1KRfMXhLpxVmxdS1FNQBRUuPp7w8MbRqtg7zip99MJu2yBQ6rcTxBdQ
cgDftTzwHvd1Fw7DTQrijJXX69IE5r+/ubkr5reJBiTgPKIowDw0XmY6X4OnLf1+6+YGOTFU+oQq
zrIp9d8jFOFPXWzY2ddcHrZttGXQUCEVrsfC4hwAestAsxND3abug7s02JajoDZqjNYlFGeQPDiL
dhx3Ywt5Yt6z6cVvm/Tb9Vks7YJl1ngnpX7hYQZg1OEnoiv2DBXRbRkQaqM3tZto5vUC0a3SPxkH
0L3WzoqhLfxyGzWmQCgKijiOb1NUHjIfje6lrteWfunrthnXrGsTFD3PKuwacztCz7nYSxVxcti0
8DY0jPR6aHuovf+mbjnoXVVUCPazAUp217+/cP/bwLAgdBHsDZCwUV50BJwx/0+Oi8w5LhoxupPV
tOKKFryqjdYcxwY8hAp5ril9yEV2iH0Qnfoj+asQ0eX6bJa2w7Znx+sLkgKwLUGqess9Dt47p6J6
jexjaQqWMVdlQ5usjyC04EEVBuuV/dBp88Nrxj1xyBoq9+MgmdqMjRLwcCEg1X2Oy1QeTJPmyIk7
9yrK673Hu/HQyegTpfz1+qItTcqybd6JKTSOo84heAD2Q8n2MoVGNdI5gCHiuJ03DWMDySSArYDn
EnU2Aduz1HwFQc49VBnOExcrbdULM7GBZJ3sqoG7Bejtxng4m24AE2xIDnmN1oQK3WzHbTOxjL6B
X23AzY47tQMajkd4LnvVI56wz85qzn9pKvPf31x7o0maEeSN5BTE/C/09e6plEDUgLczauS36/NY
sBYbRjYi3UL0ADZAPfILawBJcNt8rTt16ePz399MoIkyiEh4DQKcZGr2Iyf6UIrVfMjS1y1DV9Hk
1THIss466F/iAUmdItmoCYj2pP/96cr1wlZ1yKdSjxIQPiCVowVf8yELHtfmYdTcS6fJn9P9ofk8
1ro/zO/5+SmfNMw9rINxF4Ibm31x6qchBfGKd5q4d9Gt87Maeo6G1HaNY2lhE2wcWVBWHdircX48
1v4N8kOot2fummbLwq+3YWQMUMBYg+kXuf6yP3htU7yALVWcErY1NraxZOg4jQYnh4r1KFPFkNJ0
Mrqr6i6LT5sMzKZWlOC8iaBViZeo8oHEIWPEg11NSLqt+EhtQkXCIgcZTR81C7wWT3QA3EQDzQ8p
QvYjzNcIXZa2wjJlqoc4yMoEwBbe/dtUUACKm/5z2Plsf32dlgawrHkuEkoatpgGn3WkSfMoEegc
cncjpo+GlknrwOuk5C0Iy2qIkhAS5D9jlPx3IuSBXAmllszBelsXTsC4UXhqDXzwwts6mUpQQyWZ
2QYwoqF1UdOoBUEBmuMBcxkFNCnAJjdEVK5swsLPt7n2IN1KeOyCChSv9kEcFPTQIZKEd+n1PV76
vPWmdoqUmrhFG9Vu5MHFBWp27znumsLC0tetK1nXyeg3tUtSiCKrepfSWp/AQWmO2368fRs3Wevx
Zl55N6srRDCqv5l6tRpRLNwJNqteUJTC9/rJOUFt/WwQwMy6cCPJTgMkUcONUq7UBpEZ07tF7QKr
0IHcaxcY3u+nWXV42yJZVuzIoaOuH+VnYCgPBQNNnT+tVAiWttcy304rn7g1Po3LYOfJ4jyspomX
Pm1ZLRjJmCpi3JK8dT/RsfL2UZNsfPzb0LF4zCMW5YBJNp0+19K7GXpFdsxRhzBbhXAseE8bNhaA
eF+aIJxOFEIvO1PDZCkHPtZv0rWYZWkIy3hjsGYQ3zTTKY366tukmPnOk/RH1BfOtsNj12QJquPg
HZhmlEhNs19zFlpFQ37ZdDRtgkNCwbBklCInkbd/NwMIJv6ILW77uOUcwgBwa6lQMZlST4J7Hint
qCJrQdb8lfdga2rTGnaDhxQVYugTh1DrfkZ3QTxA7HSWPkcQkLw+haVBZuN4E6wHPlxnGyBYF81c
gUVSdY4X6XwFDN429Aa1sWqxC+HfkWMTSKXyXSNZuo8KvU1ukdqEhrHQVeh7ATLbTgOU+ASe+742
n6+vz4KT8C0nwSTnThojbc7F6AB4Agq7YlwF7C993brXO8iPh1UGDl2vTj5JUFjuQgNmtk0/3can
IbNc5a0WAJ6XQh6E0M059VdlhxYOjg1NG0E2FPI88k/B5NyDRfyucqFP6PXfN19aNlUhpwHACOAj
PWks0U72KLGBHbs6X1+eBc9mI9QkzYqaTKh/GQEezCou4j10175EKGJsi6tsmJo3qoIOHYM+eBx+
0SnAAX2F9Mr1n79wdGx4WhwH6LIxc5qgS15HHxJrrtzGExJSm5GQlrKDRgjxgPkEGqCpQSFdClDR
b/vp1p2u/GzIUjHjreZe4dkxM0evKTksrYtlsNIPSA4GPIjWT271VaBP9Jn26ZpPXvq6ZbAE0K08
FND71CjQ3o0VCv4DYBMrtf6FI2kD0YyAinMhQ/+kHTQGja12z60LaeApp2tl+IUJ2HC0kYBKm0LO
4jQW5qvOgYRB4LZJ0ySkNhyNhTofgho+wTiu/+wPctz74TZGAXx99kRvrqpG1DFiJ2C1My8f9lPU
ncC4FR42nUl33pI3H0d033g6Q2NlJQN5V9HGBRkHIVW04gs+3NqI2sI/DUviJJZJdEd8ZHYrgxcc
WhYg18tWmTE/3FoMYZ18jw6KxRHTzwIJ1/DYpEhS35WgFfBW5rA0gHX446RrIUVP1IU0SXM3CpY/
te4qPduHF0pE7Szx6MTl0NJUXGKVxv6N9KSQT7gB4vCRCke+Dl5L19IzC7thp4u1yPDmzUV7YQNa
c+nMXc9JM+yQnEtWHi5LQ1jv0k67bVVOXXP5Ax+OobV5RpEl3Q8daLyvn9kP345YMcsgYpAHO46c
iXJaMalHD1k+8U1GaBg6kbpUzY+urmQK7sxQ9qALuz7owiGwU8dx36dTRrm6ZDRjt3npu0e0f/y4
/vGlMzAP+sYKG9DO6JHm6tLwyb+tSPfVzKwbYuqmfZTCJ24bxnqvihBeRKGT5MJbbxqAux5g50EQ
37RZ8TMc003wNmyQddFBGJanhHv6gib9FvJ3Hb8Na6DVUzT43lyfytIxs4y+avLWzX23+A+XZQcp
y50eUKUKc+Cktw1hmT10PNxBtKK4SPAF0fmVxr/HPkvErglSCMxfH2Vh6+2UsnFkQaXb1Zc/zFsC
ED0pHXFbcTQ/JwLNgNeHWVgvO7kMgp64lawtLoFA3rQhYEHpegRPyboazYKF2MnloBrB/ylZdRm9
cPzJkUN9hP9aY7FcmoBl9KQf0doZFgVcF9gqggJpd43q0CnktbPNz7/LLXst1CIbWV7QNaBzSFaM
gMUjrtpGWEtttR5aAoUJKlx9GQdDH4hmyQ2lasWFLK2PZdtQSU9K5XtY/QYiXs5MCT55kHHxm9WE
5tIQllkztCwxRGRgWKshcwkHZU6yluQwaAAyrx/TpTNkmbUYxiIcurq8BE7sfZZBMt3rQHpb+qKi
d+lkFpZKtFNTXAgg192pYk54pkbVw3HTr7cTyqhLULcAddLFc8CNT5Xv/l3LjQz2IHj630sCFQPh
tW6gL4bmbrFjLeSfdm1Sy01cTBG1e5JljstaJWN2UQxslaMD/H6XVNGNZ6rHKTEbSSttzZYYiGuT
gPT2OQBHBXgH60OylcOV2nnlLm00ysWTvICBtrkxaVuTHbQwwFp5fYsX3LWdUAapEIXHltUznkD3
xsnaXRObX3WmPw0A9q4MshDg2N3JHg1MohutLjLN2I2aeTDRhlIemQRJFnSKv9Q5auPbJmQZtSxC
MUTxkF3wfhz3DU9eSZeOd1krnv8wf10fZcF1vFPHAswJne1tBWrd2BxGx2n9G2DRelDrQChhjURk
aRTrxqZkyFrQUOMAh3MTRwX8q8YVvisplOSuT2TBQdmp5xjEPdwNwOgKRq6ZkwPIQigkgAh3rSFh
aQDbyoFgywd3qqD2CZFXosKHul/NzCyc3ndZYeVPrlRUXkbg2YDoacJHMSs7Co5iLTizw6/XV+nD
rgp0xc7jv4lnK9eZnN7z6FclhjrfK6Ch98oJ9YE7CArKiGX7LvObmzmnm9b02/VRF8zGThyDnH0Y
ZULw9BgLcRJgDb43LYTS/rxzxtIZP4Nec61av7RP89/fTBEga5CJDUL96qY+uiG9Ko+D1vnKVJa+
bt3mKtOVHjTJLlDFCMK9aEpIvjKPxJu6YLFDltnHIy+UjKv8MvqoPD9z5hB2m/SBv6aRurQZ1k1O
QtdxGVXqEuMGnNFpz/CP8tR5gh2jIXnN89UX9NJiWWaPFt4pyQIOXnvHH/6CfmGzDxKylXPRzieD
LB8nufPqO8b0D5GhQu+BV+AEyqhN7FYReFf+9yyJoYsKl6XNHWvKe8MBeQpBtrjtMrGzyVAGLpqM
ee4FAlHTTvKsTh6ImIGITXic4iK5y7yebSL2w1Qsyx8nU/WOTHPEEKnpdxXrgxc1dPH9EDrpv9ft
fGG/7fwyhEo42lYzcdF44IcHMM+PGfoZm2FLAx3mMI/71rQrrSJwnvawjUIhFdw/NVlV3UTjtp4H
jGCZN27aAROQ9R133PwnTXWACn4r1TbuVs8ybhATg9hWanPpJCDG40i/aQK2t27IahDxgGWm17Ld
krvFVCw758CRDz3r1UXkbJp+kQ50G7dx3ITi65ChzeLvbXtu2Tj16zweXVrdgcvmWbggTcsqZOev
f3whbrDzz8rzkZjsR3KpKgjUxFV6zmX+pRZIwVwfYOHE2tnnZnLMYEzEL2SMiwnKpgGoNu8JcYTZ
lg+xU9Cxq7yOs6S/ABEf/fRa1R/GqqJ3KL+vlS+WVskybSBMI4Zn5vQVmiWPXQBk2lCgx6XI4Eu2
LdM88lvDK/yh5lAdm99nXXYTYGPUIeay+3n9+wt3kl1yhyRbk4ucy186Sl5TEz7EHqBdynVfXa//
6rqtWDlQS/tt2bdORz5GdSsvQVp2zRetpAf6/yzv1O/rM1naC8vCO9LFyeQ101fjmM/ggc73gOGb
U4sk1ZYulIjaDdHMAxco1H7TSwNS6buqC2kPVrso2lS9xvctg2YiB+c0G/pLlYkcU/DlD2iLb720
7SZo001jGup2/Koq+lcFREG6S5B9OSek61cy3QubbDdBV+lIRlRrxq88nqS3D4gY3TtfuT1dseml
AeZj/MYcqm4Ah0WCAYTOmx3rACgGtpLurx+hpa9b5sz80nHboh0uzNdptSd1lNQ7PPc3sQBBCd0y
ZoBjB66GAP2V+Yg3QMOAuj+naR9tpAq3O5xJ5ZAsodP4lUJN9UlNPHhFnKP+vb48CxZGLBMegzzS
gESPX70Jj5fYGdqDQg/6zvdWu+iXdsAyYk1G7ZV1yi/ac8psX9GyO3lDu9WdEutqRiKE1G1luiem
4KeV04jDRPga083SAlkGbMzkEmgHdE9Nyh5pHnVHUUUnxJrjygH9+BEJ3bP/Pf4qwsuqAwT0SVQS
3CeOF98Wid9UuzIe1FEn3eew6caTlslz2zIuVoadz/87+BGoQq1gXHVjoTOHuxdqIIXhlaAsrHRZ
3+sk+xbm6Km+fr4+3vzQFrYBNNTNYBcICeaiYqPRxYGzNdKVeOnj3QntLmdmiooJcCO+8Mrvzpqj
1Vn0zX7ucd72++eB3zgnxgpWIoFK8ayYI5q47KPodoqBCjhtG2BeuDcDVFyHJO4ddpFRSYPHDhKt
/FdSgW5txb0uLZFt4cZLB+7jfAE1mAGji0DpT9zUt6vJtaUhLAvv6p44UJYdL7yi0PEzflc7R0LA
Zqx2dcVXlT2Wzqxl6Sr3A7coo+kCwozqXKXlT4GO8E8Q0Pju5EgjXd+Rj8OnMLEsvhvyzB0Dk76A
IgFdtZwKd887p/0Z1E1wrEhb3UoEJdsMxBa9iWN0TaK4w3A/tfIvEeZ9uut7OZ2vT2bB/mzFm27K
jJOnAa6/snXj/Qgxx/aQFVO8UmtY2PrYurxZUTpOWpXpi4r9C4quSOEmuvqatSpcscClEebD8MZA
3LFAw0gbdk8Tq6vwEJQdZX8b1jjJnuCRX79uW6h5+DfDAJrjBspV/IWQkgJZBEKU7GduyjDdZuix
ZeiebgcggPr0xYvAv8HdjBzcbk18ZsEybM2bqo6KDFcqv6Ap5WdVgqa0mAUgkjxAWxlyg9vWyLJz
MdWtyOva+dHMmPmjRgW330cuZIYP1weYL58PLiW74TkgcCBgQ2Ffg8b9LRykJZASfJhL99CwuhkB
9j25Qb1ydJdMw7LzMQN7oCKZf4kdoJM7Hvw7ONvYVqLQ7nyWLvCSqVv4F96702tM/OZOOmwN4LLw
0+3eZ8JQiqxc3T4pFcXfoV3W+vsiY+UaJmBhH2yRDF2B55BomX7Tjg52UoR3yql3fEBmqMOL5lg4
6U2f92sY8QUTt3uhqcvDBGV779I0YBbHlphjAKzyLitX8TpLK2aZd5OXnqx1m34TJZV3CpjH23pc
7ZBYmsA86hvnIZXmeQ/FwxfwSugbj3X0zgclALJ1Yi0tsWDhkXWNcxlGBfi4nR886+sH7TNzYIkZ
bsYatAZRvInUF+fWMnHZOV1e8Ta4CMcL1S4GrPuF6ZYWoEkP45frZr5ww9pQNiYUJBSnFGgmNLUd
CUW/Vmi88DS1/f1Q8bPbs7XoemnZLCOXXTCY3mBnaAWv62Z9thfUj89OKLL9/4NdaeEE2PC2oIHc
V860eKk8oNTHkXXHiSKjkCTB6/VFWxphttU3Z6yCTWriJd2TbvAIiJ3IPPcDFC6mIJ8+bRvCusyV
Jk4N+efw4mWoAJ9NOk7dHuQlQ7nP8mlNon5hS2xc25jXDLAsN32p0S5w9HEaDuPcDdV14z5CxWYl
8llar/nvb9YLcDmoUqWNePF1LY7QX4vvHRN+wVtuDS38J4nzwXVFLbP38qSswgGMFk3Tv3geEugl
N49xgkoQJCOyXdU54W3B3d8gD1ePbbMN+x+F1HIGMdhqQ5LL/okZHxRYDJrvURKv8Tks+Mp3uLas
njhxePZSGQB40jztD1nWrnGC/AH0frRqdhTfUSMSQ4q7PwqGJprIMail/3Oqif8MCVxxF/TZBNoc
8Obcsg4tDTGrml8kBTU9D3OIyTZZ/s019FszFUCYJ9zZhssJ7c5qk7huN6UuvXh4WJQ73BIgXm7x
plnz4gtLa8PgRNtCrWSM2yfqQ2GdJ77b79wIcnC76xa89H3LSagw5bpPavGiMFC0ayZ/2lVRWZmV
CHAhMLDBbzSHNG2KlsYLz9HWwn1IddG67g9oRfH2VZG+dm7U7vFESleseGlCsxN5Y8Wu4K0f91n2
UqosRPnL7wp5ihW0qldmtHAX2Wg4SWI8X3mA9MssD8XC7ivPiuaT7PrPBdq6DxP60leGWprL/Pc3
cyFRlachJFRfSI4zH/EUUokCeNg1f7T0fcsrdEgLmniInB8xuuuDIOyfJocln7edLCswaBrItiei
7J4CgP/PfdS9/FmebR+3XEKQZc3I48G7oID7rPBSPReN3laVCu3uaplr46gRNkF6R9yrOPrUldpZ
qQsurLmNhZNc6UHBCV+aufOWm7p+yAaerXx94Q6zsXAC6ViKHsHwkQ95oX/zJJSxCzoJ4crxNMga
odM2x2GD4tpYClUmzP9FoEB+E6YpIr7Gqctt0sShjYZjcEy1bnLvIkk4/FVls0uF0I9a+/0LQcU7
QBzIvVKd4L0FzR0ibhQ3rX+k7jS1t60TyeyQghV72LhYliGL2GNIMxbOd1VSbzySvBymm8QrpXe4
bg9LkYUNjeuyJvQmOoyPDXXbf4TRla92TTp6I1LnU6L7fSUSePW4BbUjAo0yThLnIJFDzCDxUYCQ
esVnLZ1Ay+xZMlY6ML0L+sgizw4g+unuhrwNzT5h1NtCIBWFNmyuQ9t9K7CmUAJ26Y4Lk7pHgxLm
rlVBmO7KkTRrtFhL9mq9BxqiBpqMiXsRiQqihyBD7eM4Dv20llf/cMHQxmQ54SrIA8ihBN5/ut8C
Z2wPnY+CCngM1kSNPpwDhrD2pClbiA4R3L8EyEzQCWRz2Q9NoME2Ut13RdHY8BGbFBNg9MkvJaPs
GFYofFw/20u/3tqBrpZBVdP517dAfUqGeu7UOT+uf3xh9e16aOAPQQrmM//kjWMBIaOBfJ9S4+xA
K5SvRCQfBgwIEa0Qy6NT3TgUWis8A8k4nfIvDJKbAqR/tC3uwRS9cuF+6NEwzjz+m2hh4pICuCgg
nph6X6YBjyRdPbKUIGpcq10urZYVXFGoQlJZB/4p7sRNBQrDsisOk7NGa7L0+fnvb2YQZKlXOHOb
KdRMkgehcnEC47v+FppVStiFw2QXRysFFMuUQMMQOEXv82jY+DtEh8lKbn5pqy1bFlNJ0hImfgKT
+aNo4pPm5UGo7Ms41Tu/C1aGWZqEZc/ojAG9ne+g17pDv432AN6cptXc1NLXrdgqLvyi6BoaoE88
dX5xL6n5rg/AZXDd4pY+b5kzmPOKIUrw41VCv8XgtzumDEjR6x//2Abe1UYnSUZQrbvBKXKn56CT
3ypW3MVleGtCf5PHeFcHhfLcpH0FDiReBkF9lD5Ku3cBLtDoUGdKlltwJuG7OqgJ0YrGuik4Qfb7
FRgBtSsQpG9bJcuMY1K7IU8hRDQfU0Jm5dMelPv0kz+tMSN/bMphYpmyBmhIm9rzINHLsyfPF+6P
Kq69Yyb7fFOLGJZoPmFv3IVXGSisK1ibjMxnWfzTgF9rnkUqtm6CZc+BoNUUI9o4xbmawP07JF/T
nG3D+mAClh0LtGMmJUvhjLLqwRTRazgVG0+pZcRQ/qhZ5sGVepH+qSNYWSyA6UrQ33q4foiWdtiy
46DKgBbjuG7YWD7Q2j0bGdw3fbxiyR+7idAuc05T5fQ6DIJTnSYGIibgwmB9kq1EqR876tCucvK+
aJQRHjZWpOcuLR+8EWkjlRQPs5fu23oNjLPgkOxyZ4cnu4lGmDF3ne+s0PSXisAwBzkueqx53W5y
qqFN7twxL+pa5vsnEaKqWqavTraN8SS0mZ2ZD4ledADiUiZQoAXIONtFrlhjOV/aCMuG0S8upBkg
5V0l4mcyyGczfZNJ/NixrJtlLVbexUvbYBkyHYgrBoh+nWSuzkMe/etDnqhl6Wur1rjxlmZiGTOn
CKi9eSaIhx78BCKlXoo6HqjCFT1kG2Ok0K54qjw2fR/x8GRqmu6rahgPcU45NOj9dONhsix7SAdX
C9oH0EAdpyPr+KuK5FpVe8Ft2HVOj4E9vcjq4CSK6Ema+BUg9VOSNN+ue6UFt2EXOg3pW7AFwG2A
SnOu0YIB+/9RpF3YY7vMScLU9SYnxx7n5Gcomvm00gI1YFrp5wSkNNcnsbRG1v1cIihKogTeKUvz
rwx6ujuNECZOyWXb9y2jUybtXAjV+XhRoXyqmY7PrV8/5lG+1pW8tA2WvXmDKeI4gtMgBZorxhaN
sCXZJlL6ruTYicydWQPpiXTjd8FTtXPr4N/rS7P0w617c5IFN8Qtw5Mfkr8hBvyviRp35dJZ2lbL
rrhE6SrDnYawfTzHvb54Vc53YaHXyuILXs6uKcoZ1dEEMNy46n4BXwM9dVR88u6pTzfBn8PQZsqo
PAgbNRp65AGilwMLwm+5i5vz+uIv/f7Z7N4EdB3k67WftsGpJd1DRcbT5DIBHHp2Wu/rXDBhu5jI
nBY3i67DEy2h4heoUxyXcu951W3iRJ+ArHy5PpeFg2TzYhhP1D300bDZo4wOcdW3hzkHfv3jrv+n
NfFdUSwMbbr2CunXIGzYTNLpeNE/QCJRCUlsE5sToKb5J0qU8yUmKqr3DDmGcUf1OEU707bDX25H
yPc2qjz8O6aQcPL8oQeUNIYs8gkI+qIFwWuuTgHSuQdWKufUBHGq9iYsu9+kSFCDCiIn+DEi6f4A
1pq+2JkUnABAPtK7CrX4zxLSUclRu3jGV5I2N0Hu+gfZe/hIBLbmFz8vw0809smudoZEgum16x50
IgmqokLfzOSptx7Nguosk9B8r5PSe4qroHwtMGPkLSnoT3fQkcn8z9wD+cQJAS/zD0HI++qfJik6
/m/sFaBX4UrwEQSXANMfGtlGDTgeHFkeOe27cw058S+TX5TflAe5S7ByQNK3KIb7TsTu31QWLRqE
cnnio1T+rmqLDAiyDBVENAA07R6ivy1qfmUJkg1TjkEK3QsXfP9eBI4mUo7gJwvSNnvp8g5FIk8l
py4wMt7THJLpAMlMEygz3MThuxidZgc50P4Jgr98OlZ13oL+VnnB9BzXAdbXGYfR7GUoh28ocLX/
pBIY0J0sma4g8ZCJ/Yh+o+BHMLmgemTK0F/oYJvuqRN47K+xGGv56KVBfo+0E7iAuMHS7oHa8O9I
4vp3gqTeQYVu8ELc0atOZSqab6OfmP6QFwBx3Slk+W+FX4N9PJH8HvjsoDvQVqCVrWENNBW4alJ5
5CANzL/g/zFnRw1V7J6GTXbjZP1Y7wiYv38AzwsawREITIEk0vB/nF1Zb6S6uv1FSMY2xrxCjZk7
naSTvKBOutvMkzFgfv1dnPvSh9OVkkpb2tqKtKkq429e31olj1wH3AYvHWsVDUHa3uNcBVTmWl6W
NgzGIEX0U137PS7QnAt1LWegTFyfP3OnoV44ulNzW1sj96mrfRUCNIfhqG694Bu2RVHykLzHW6q4
4lmUx25sH1Nbj4/W4IvZ1k/nA8UxtreyRsMmolOaVBvaGVOGEETWdIv1BfWrxnLiMfdpfI9ZLEBl
RYd/oiYdIHVvOMGiK3VmFuJU243OakM3pJ9691gNmg7bfObZp4PpiAqpbvAloXPh/iQ85s8KptmF
3HjsqhBBNh0mSSn5nmvG2Nbg8oktGWjOj3LuU7bFgHm8T0VhwR3KZPEDCgd+dgiM5a9t500H7XXq
F3QMRfNI0WN5BHP/qENdFIZ81i139EZMeoZW4OxAB08y/GcLxeNINm13o13crnLmzm3iu/Vvq2vz
DgxlcZMlndyP2DVTYaco29MeBxR2WV9/Q6aSeNcB+vFTODd9ddWzkv+SLaKc7bi8tpWEKFnV1HGk
2h5koVlXPCg1iI8+F6m6ctPB3RtgjM1mbPuCRUM9opMV2wKZdD5PdgYVSyD/OHNbmA0fwdLzrSAd
3g7D/3RdpyO9gzMAGzjgFEcyyerIZ0wC0dhlm1gmSbwfYyQ5tFsUUVJ3KL+XevSwXp/HTcgT04ur
BnMm9yHt+i6fQ9XADaQb0JR16V3DQYhxrdra/Ckz6uACsQnyXiV03cEg0qvh3s17m0ISMbfz0VCo
8e0ESBy6vbIlaCLiFtixVPQ4LVZnAQjec4nMd87S/rFtibBR6lX9i/J6/zHOZP4MLSC/+mhkjrsP
/mIl91BIbw9TPUvAjxLrtnME0vDslo1A/CY0syoNDfW9OLK2SH9riH9+UOjOPZjWCR5KGPajTDyc
Yu4s12/MhvwPUEf1gYB4TO1iFRf4mrhLT8JS98Nom+0nuMlD3Pr1BhSmTL0gLrNsv+i6epvSp058
G8OvPc1suTNN3FUsTEabzccO1NHTnmfdwtudkyrZaJAgtZuk67K2jNCnrF4cU5Hpd56OgG7Ysfd2
tAqsv1eDHO6k8sYnNLFbEcap7u9ZApBUlI5FNoTSk5Xd1ASXY9mhDqKS5vS7QCwawrSnmPdUTAc3
AWQAjmKu+3dD0nKHFlENHg1PaRrGIy9+VJC4aLZjg9XGCK1Ix3lOg0ybe9a7lQxr9LUJyAUwlIWO
Wx9shA768TZWIAQAPbx8tqDAecMmhN77qS8iLnxAKHkzFQ8jwOu3XHD96HgDVCZyyI885YqzPdAr
7ZvIOvENoWvcUOs6fQjEzPQUT5mXhsIvybDJHcb4YeL1nN+NCmJKwC6YjMxPFPqaooUzWtCaHDDg
6pMLB9HTtxMVESliD1/ESnaP1ppThpTVziMF8IIcNTBffQ6W4aotdnKcnGZXNwyRsNaDm9wK1Y5h
WRBKtiZzsEI/pv5wm7sMrUw6TLU+NAHgiTu04LHuBiRNZQ486Gz6hhzTVWFRgsjyaOTQ+I+N32BX
N1dgpiUxaGpDmngtrAakI88Vb+kdiPWLhyyY+bPBJrezrdLEnT4smmLXYzfaIsKKVWPGMCFtX74p
3B73uXUlvhWEKcRv9O27304MyyZcyF+SLkxEDLSUW6QuJQ8VqqNrCC52eGV0SDacOsMdFoytH4Iu
oHTvdNu4wTWvjUdD6uey38RqcB5tZrz2usuteNeek75CNsZ428bM5hfGftVrkGRtEGqQzwFrhjYL
puguxpjYe3LewBoHc8RKptddy6bDlxd0qG968JT9alRpaeSRJssjpFIziWICd1gIr7yva6fNI2ge
0iyEP+jhgxHW3AjnPsZRS2P2OM4TgpHAIreHJFuLn3aozXdf485hIQNE9eMIzICD2HYca65/ehAd
6qMxhpxwFpekjxoIMW9EU5pgk/iB2DVBW5AwY6C6QlUw1jdQPkL0DIIEoVoFhB37lJffudtV4ANP
jXDUBr0Gh4aqVOI3huXekkLG+raEDN6jtbz+g2XObM8AZ5t2op+Evp4B/9vbFIEoHJnSKpz9BZcl
eyreSQLU/zUfCry30UgL7n07xT4EnmghiAAzk98mIE0miGDhZFKcOlxIXt3CJUldhFCeJWTjpE7Q
ZmFQwJHfavAh9xvmY/QNTFSST3dDIFSx7fEVZ6x0VUJ+L9y0vRqnbvgGtYuZbGYM9vQe6of6JZ8H
3oTY+EYAnlJit7k3uHkUBNg5qwco9bqVE797+VzezTwtbsBOmkZjKaDZkBGH21CxTKeRwAqLc7DS
yjoEvWufYYvcdZMox6nmYaEnRjeVrOJi29GgpcfK5/I49ZN984vG/qi9zBUblZl2oxAcOegsMtVh
tyqp2h1ODmo/QR1M1wIe0okw4UcK3mIAcU+TFH4yR8aZb00BsCIfFIhFdDJdU8PsWxxUxa8GyjEP
Wo/VVdFAiG2CnOdVW2dNEsGJZreyK4qHwBnBbhGQuWWbAZnnwxhjASRkhYYDH7zRTlHFbP2uUhEk
EXiVkPkMZkqSqKIMTpN0HIfhF1lThmnrqDedkdrZE8gq8FCWg3ruEzd5BD1g/s2HtzVRy2b00Alq
mDmKG66wk+3KbDt6ommwECnjn1DzNm8iboufktTNXRsbhFDVEjgWXYAaf9dbWvxAMj7/bIE39aPU
dZAoGgTyK8j0AYicApo6o65YLpJ0uhIUO1OZY8Xfa5NvNE/ShwzKowNUrTRCQe0Osoo4W6Y4KWof
7wCwEpZuLVDALKyQZL63UyZ+8qobn70YFB1560w/KfeCX2UqxU6wOt21MkFunMz182isCB3f9uE0
yuAtTfz8G4plFWUmGJ+0gq4MrolUUY/tFBJxZ8ZZ42lI0G3Qw0LycnpJi1Ld19UwfaCgYQb1WY6S
ouTY/VKYwf+kg5hAlcaQAUcx1oWR1fyHD8WgrYMfk9HsM9H4qnXT22OWjwSJaANhk9gOw5Xy6nEn
BO9/yKn2XkyDMjDXo3PNUbsd3DYr76Snsu8KnNF206GAjdC8AAEjBe2iEVBisdWgjqAzluCS7r1b
PwVxMsC/03ClyxqiCzUE1tIOGDnCwZGVTtVMw6RR6rpjYzxtJpe5Lwn6l4Cp5ONtAoB3GnUMc5Ya
U9OnZnaHo6RweMtUeyNkj/9dMxJkIbqS9M5CwdCGsmrFAzclvMxImnkfj5SOW1NpfSeh+pTt0AAE
oIIEfhMZFnTf8taH0XsN+DEB5MOhA4hPDnnVTi9xmYljG3RAYzeKP85OMNy2eV/ftLRur5C15FE6
FPO3TmZ9aKY2f3c7Eu9jQ3HasY8OQhrzetOayvwgS24Uu6iqFAb1j7yp8k9h+zKIkh4atx6Woa9A
ZVNddaS2Pyje6e3YAo8L7EF8bwTPtr2GG0JrKNuopqo2Ew4hJKkybxRZ0xSmptETYl08F1tObPEG
ilqabboJLmOT6SSNakAsr1q/qm7RMcZ1M5YETlhW8A+1h6I2h5rLSxB7SwOZFTi/KV8cNNPGRfe9
NLsyz8TeJSNgoVVTwRxTQUIX+f6DamMZYpKE5gkh8miZKlIQaIB8Qgm046KYYksNZRUdi4Pt6fDa
+q35BQ0fjRRclfE2b3DHuEXY2UjiN7cx5tkPrRTvtFYG84UiVgdT1yXK6Mln97DOLAgpRc1Sgsf0
mxJ9cYOIzG6E9YZjD/P5PnAF97wQnLJN2nig8OYB1qdAY+B4DEB+P4GW5x7lEnFCK8G7RcIiISl7
yhPrtAeSZECBVW4rqveeo+20V46jcwiqNyMWOFH+otoQfc+njZwUec0xpDjqeGHTgcZM9kGJrhDS
5sF97N2YTCFEMG4s6QKNDmWLm4o8a2I7M4LX9juBMqODYrlFLOR12Y9liFYGh4uYYzDETGwq/pjR
zfWmJTXqu6UYykJqoK954F0s9RUkGGFsAekmvskSyEWh1S3xotpKKH4V1y5qFShkuvHvGHss3t74
ZSIi2Qm/O7C5yuqNUxtWXalcxQeIryDmJiAB3CmoOi7ZpIdcW2swnn3PkYmiLC0qlaffsRmfpEMI
2AR0CHUF7tdtyl2A5dBK6OrQJuAxfvEcuABI3SM2ohwF3qj2YxxTbJNMPJS0R+oF12u8Kw7XpeGi
mTducs+h33id++InmxyUzRAn1ci5aI266HpOK0c9ILsIfIEA6tbP2HhUSZiLyddXVFDfPeoaal2h
zCtTbypLR+dW6LxDv6rExd93FIv8BywX9/4Vx16afC4CDRSUSRQFKzjEqEMiCoR2FU84gXhCRryL
cSuKEM57xNm5JUrP2PdHf2ubIAf9aRrXzW0gu/GRYOlXgxhTNXS/OLr2oJN+dHbSsbnajDYHV8HM
kPaDVEfUWzGnusCzWJHuOXKWDhgRCTheFeB6h6xKikfbI8V5owXkPB/Kzqt+0iCDOdTI25MoTUyW
7ErR+wRpBtznXclLEBdP4LrAvKMX9BbAvmL4AXMqk22picgOsDOkwVZXQH2lgRjyfTXW4gFcnuAC
RrbRv8RgoEbGQsql3kjrKt46os8npKfN2FcVMs9GTXFosXpz4Jhd6k1Z5sP47uKtDBGF0s4nlnRK
9ydL2MiveckSiDrEjGIS7RznASXeUY8ckBjboUKFfGlCjgK1Lg3RtnaQ9PdyX1MQ4SHPnMgvU/Z+
vVWlhNuIBy2KKGMU6WnfoQsALfJeVlCZhSpbNAbdjORoIPoOsOPmhfca/Sm5bOMCrT3WjzYl8ikO
GhmlKLD3JE7JAaSs4phnI7SZSqPQKYpj0Q3bYgBFvBtjCXabTZX6pZ3Wg8xGOk0yuGrnAaKLFbTx
UGXAAmXuoSAdjM0jPZDgxgsaWN5yb5Jj3IPsHLaY9wAnzvCGCI4zmg40bvsngFvnXyOh6sXnY7+B
UoW5YQTc6L1M3W8ZGdvmylSTvjPK9+5iAcx5ZEG8qzYEQMS9j6yUAdzusYhXiG3xBKcTxrnX51Hh
A1qfZGppDUhRdtm1Qepd7KULXohQT+gbok4pb/Mgn4LQzI1Jt9pDUqrhtdNdibHoA2pd725omTwq
v/6E20A14EoHRNLYae4iqB26qMaEE2864os4xLABvyw2sHzKJ7DnkQwtBreVWzKR6Z0MXvYzntBP
hQSguJlJbZJd5gMor2cPlWRZtOLGUFJ/JljquHGnypkPDL3qT9lIlE5QUbkpisHuAu6n7q4zvIAV
UI+DjdZBMXvNrUn2qaEqEm7G0HuEHrcM6vmB1wkaUDGIvEDiWMjulZQ9drILbCWEIkUbPOnRtETH
1PeeuYZntXIgQAPQ4ap2lmURSVpz3Vs0AMAKN0A3eclAIK2jdxO6GgcE8eaub7PAC9XQO9c6AXUV
xLgK1GgK/uCpavCOA3Q3t/BGw7cYrlzskx5saWWhzHKSCMpO40MNqx/qSEt0n8JxBovi3pZJ8IvG
c/AggaV95CNHSSvQfey6MnuNZ+G+m6ZCgY92PupkxD97hX4F8DXKguU9bL0WNTk0mMadO2j/TQUg
4I95jzwB9chLI6q5Qq4QY/6ERGO8h42re6dumqcUQmz3I5/iBMJfTI0frlIBjRiylec+8PQt5X78
QwJxEImxIDEST4IBQsxjKGD2wxyxkhZziB0A/xFUW6yOTM/gfg1zeMixKhZOgBB88z2bV5AKLL0G
sUwtLCI9FlWRxmP1ddsKbFKEbeAC1+sWGX2H9lbyw0i/UxAMwxQ8nDSqNp6Pyd736rLcVLMBve9A
0fre5jYjZThgitqg66W9YTehixmVBpw0m1kWY731APO2NyXYv5yow2yg2xBwvxQ7DFGm74LkfneU
oFfOn3LYtnNsIZaAXtlIgpcRBGvlSwq+3/wNW8fOLnebDo2zAlRlulDiwQEsaQNEMur+ntn+PlUQ
tHA6r15eU55/TinHVTXAgic2LepNEqCG0CYFEaCZQcqaeq58pv0oxsigHYYmswmYQP3eJN/gK+t+
O0+zIdu4p7U9xMjnZoTxboC/ZTMq6XzbUOt7T552FdgHVJyaY9WnbbV0p6cYTmPgz32Vd3bn5Bat
how2+K4Y8KATU7k+fHsVcHavXDRsdAz5NNP6stx2UsEm6h7/UiSo1LbsUH/Dkpb2kViY0tXczdkf
Xcyuiho5ohJGY87VP6XpsZIVKHNtWda+adog2JaNRb3sNZn5YSZPo+LpzS+Q40yfaQw1AT2jiTtB
xmCLhJ3k+AUOieoZjaTJhcChY2VA7hNQSbAbtCXTu7amixdywGekKgQsF8Sn+7wu9UNnR9xE3xXv
sXQR6zNslP1KAJDd1eht3o7ZklIwXj47Gnln2A5g5sO9HaNYTomDpJXaP1WBfkOEXivGMYg89Tsc
PvKa1jPFk4OFIL1BteU81l2F3l03asyavLo1NxrK9SBSMAadljoGS06bOyh16rwmj0ZlzWM1Vtkr
4x29o00qVFRox/2ewHk0T8k8Vn3YI3EzhyTr/bde9QQdffQWMr21BbPfIM6yLChLjxyNV7svIG92
3zH8mx9HE+htCcKQfNMj+WCHqkTTMWnBk4w2YbUQ6kw9I/0xIIVOvU07gyKNmaWMo23elCj46NAi
j2YSJ4QKcEOLPkVi73Z+d80VNfvWsRhFYGUWlRRomLPxYMHu/BuC4Ag1pmpAUKMcPl87QefzDTpT
jg07D/wCkCXP/kD2Wb2AgGBA5ZrrDBBHJF9vHUFQjRJO2xvlo4o92KTMDiWPQZk/xd4RgyFeHSGj
UN6bbGDlLnG6NNs6fiWHPQYiqI6acpnPfT1rPTXIXf7+11BazxnIGz2AJUq/xnwNnLP9nJ7bwJJ4
yD+muGKFkyCBJshANN8Vs21DSObtcrTwUO/sSo/5YZ4NOwdo+st+yQqhBCHhwZYZgxrAiMoUsyg2
2rfC+CjGv/6AU/P7FXiCV04FWb7W2+ne/YM6eDM6+pUbeTg/vj/1NlYYChQAQJHmAdvpeHpGXttE
Q39WOewENmC9bNmBNUtlk/Z2gBC9lybf0RnYntJALNcX9ufop5e9ibXqgE6qApu/ibcr63STx/qH
3/MzqzEnQCbrhUtLTJtizZvvyhjYj3IJMYglWMZNAAQ5g9M49RkrfFLpiaJoBoBkMCozWzEi6qcz
WAWCBY120VXylo/+y+pqAy2JuiRsZyf4kDIo3xZkL2aQ164x37/+jBN3yVv+/tdn2FTFWd/AstPZ
x+orQQkgSnJGgfzUw1eWPXgeBZc7usio7/qoDrrqCjo85yzt1NNXplwSzNVdd/J24C07gC2wjqYK
Df+vz+XU612ZMQ5Zo3fExC5GJyKsA2zCaKd/bWIxn4Fjnvr6KysmEA/zdc/FzgZBEebjkEesyp6/
/vonvNB6wxJNj24iEl+/pi6KUI4kGyDPwPKw6ZOLNDE8VEf/fXd0k0ssWGJ8mer4ZxujL+0V5DL9
VMhGrh7uZJVoAACAqph9NsPydicwGX19PCfe7nqxsjRtyYnAxtOyf5HHWbVBz2QIPW7O0c2fegEr
27WB9qmqu///+hKebUGGp6a+aZL6nOzQqV+x3Ky/bHfUJW9siTiQl8tSVYAzsiC3jJwCbe6vD+rU
z1hZsHYb38uc2lvmnw+DnTZdl//iQKsiZTq3fn8i4vCVHcfad8EjOrBdrItHWtEIXLIvMXZXhvmp
gSc/47BP2Nt6XzLnUmYppPB2MR+c314eVJ+0UsXh64M69S5W1qyTIQH6ZTmowGJaVd0sS2eVNzx8
/fgTX34tLUCR5neWtAj5QYFeFEFIRhvz47KHr+w4ZhZVeAlrSD1ot+To7W/cJehf9vS1IZfKFCLD
04mevqkGOwx+BwaWrx9+4tjXYgJp0CdQydVs1wKfEqJX0Ect8JhTe1ZB7sTtZMsn/21kYNUgqrDe
rhPj9czQ5kEcJkEQ+VhFKpwLwcJsZctMgIZRJg4WF0sAiDCGACecr889/dQxrcw47RoPqEob/MeZ
LoDz0nd/9PXF75j+9yGlhT+gFTPLHarBV6yRFBhC+Oc0W0/4oLXcrEU7MVHQLAKOuryxaXsjlkyo
QWFfkm+XXaOV9aalCqwElHKHHmmxARB2DPOYBRFGMudwyScseK0UwAdifLR1oQOZY0YDZgUdJmdZ
2U4c0VokAJ3pDBqWGWBVTKKnTLDMlhzqtHo4D7c9UaWtpQIwAMV8EErvWJpWzkMsmxviVA8J47+a
oNoQlaEjF0dfv45TZ7X8zL9sDp4NbVbdIcIoN00OGDDp3Szyp8uevrJo1dvKZYUvUXjYBYxYxNsK
fcjdZU9fGXLWZ47b8gnf3YW+07ZpA3/rJ+T966ef8EZrcQCqAZowlcRaR1nKnZ+a72wyz03Htmie
vRfMPxNv/kPl/Y+i/H9kAmid5J23cPwNDrpyud2PfblrWvf3/39YczOycSPn7J7BEOfy7evfd+rN
r9LuMmvRLyw8iTCqgyszYCbs2vwcq+upp6/NXMTNPGYJFt0DjHExFvI3jTLneBhPPH2tFAASriF2
NCw8Jf0HuNfjjSsvXQtYqwTEWeY1CTitdlk75KErTRFJjz+qhDFEvPGyy7tWCvCqRtQz7/0dy6tn
0cINAnd0kTyS5621akEx0o+B42HrgPQe5kOoF4bxwg29tVatmPts7rUSOyhWPaVYnIzmEUCai27l
WhugHj103GPDd5hI8TAFqP5y373mvsgwNipnsP9iDgtoedqV+76tUoAM6JWPudmZROlEhFjTX6Ad
7gPwHnPA79mPdsmql15CR8YNdDd/XHZMK+MlGJHGgSkBBAJAbIuEctyz/OwvOGVeK+PNWDm0vJ01
zqnqHyY2Tze0q7NLeE1BdxT8d8iJ+1YCz2fw9NZlP6jtuuvBAS7gopNZ018QSyZQjNV4ujR1f8Ro
Lt0YLyYvXz/+RFRYs15w0BXPGCejqTkHqgwniGlZr/Wiqq0/Aq7H0KXNudL5xGsgywX7KzaPmHQC
QcfxWaqgbFMpGWxR2z59/UtOXNO1MEAB/WGo9MV4ulvI3z5gaNGUMyCaxbtw2JkgeiKVWfNf9ETN
cyCc5UOGPN9SUM9gWhnfAdwGuTOvryOKxj8v8suC2louAJiXusDnNUidAKMCe9kMxJQuznEDnnoj
q+R7ahnNIdbQAjWpfMwznF53QMhPSfP89Us59QEru5ZD64tcCpxXT1EbYsoJVHw1n2kS/pu2Caa3
MuxYWRSg3fLOU89sMS2KylHutMuv/aR8CJBpDvZWNuIaq0kX9d74Wj6AuiqoLAFOFOCAeo/JCXZC
mGe3X5/Xv+8XX6sExEOHgktWeLqiAJW5zgcMZuNMzbWbQFrPKLoH2Ob16w/798vha62A1K8H34Fc
1C9SmimE5gLWyDFgv8hx8bVUAG+xQFAMQ/erCgYZDW79gV1Wtrnsq68ScaCLklJDaO6XHsZXLoGn
ywJgjb5++PKQ/01g+ZoYA60xYF2Z63ymfVbvM1M6176fx4ekocG5JHmxsH99xqqsLjrbOi2RCjsl
o/vH8VsvBAPzrvWW9kzdjSHN0JC2vN+CjD0KEvYjmJsJ3ri+iASHr8kzhiwPRosFkT9LeImAnwPW
JMvPsXL9O6zwYGX39YRlBOLR9BMLlZsCHRVchTuMbJ4WfojzP+LUx6zsPzdjEDDgs/6YVB+tY76T
RQjSmsPihWcHPMdf34gTlrJm0zCIWZgJdfZjIlZhih8g9+nEZXu7aCb+d1wsaj6nts/5p57jnSv4
Fp0ErCjkyb3wgvrCn7Ac4V/Bt4GoUArqFe+jIIChj131CbKFc0pnJ9yWXEX2OjGzDgx1PmyD/Nwz
buQM5WPg1UmI8TXAXckQac4vmynzNaeGmlooCpeKfMY5thOc8ecisH3hOS1X4K9zqsuqEDnWfD5F
P96NzaSjHhjci6oBvpYNIJJLmnq1/SSsIRuxfGsx592FT198zV9fPQVltUODgX0mSYke4IKzBrfF
GY91ygRWFg25A2sHi68+o4PsbwDTDwIQvlU6vYixicuVLRshHJ9WM/mEIB87AjULsjrA+i+LRmve
DLBaMeUFTvlHJkGDBA3IP9+9MJCuWTPKLJiU5R35xEJ3/7MQbgPxFyHPyC6eaKjwNW3GNCR8npI4
/xPI/pbT4BZ8R8PmP0hEbKyl4dDEt97U3ZoWGoxT4r23w0UKFJikrQxbQAyEgD9ZfCidYnciA3Ij
NdiGv8itrpfweQdYtBoG/uHUGY9IWw0Rlt/OJIcnLqy/MmQAvGdp64Z/YHo/gOBtcrBqk56pA049
fBW+KXgCW9PV6o/NgfENSwumVVaAw/2yg1lZch8QMNrPXfDbwSpKOEyeC7R9+nnZw1eWzBIRVFjY
Ex8JFoHDGExjUdlO5wSMl6r3H4mNvzLjOZshIYgtsQ+N6UpYSf+3cCcstrDyjRoAkeZOHKHoCcD8
ONHLjHtN3NHUoHIYBJ0+G+7lQIaquT12HSrYrw/sRHQTy9//8quNP7KaE0f8XnqKaVpFLQgoq3G8
zYTZFn1zBWj7GS97IqERqyjdysZ4mR77T4iBvHdYNiyqfksa/higIWzb4UyZcSLDXbN4+B1T8ziW
/WcACrWrDssWezUL4HScASiOr0/t1Gcsf//r1ByPoCHljxO6OVXYmWUT8p3ay4LFWglAmCRVjWmm
rQvKCYX99PoyZAJ2KFZfW/ijZ8HztnXze7fb9dnL18fxT4/he+sxLHKBAji8wnmhfQUcS+yAtDFr
m5jsvn7+P48bz19dUqWaNBkrnoOCggBHTQGY6Tvf2UJ79lwv89RHrC4nFwRVSyrlkxSuvCUMyzL3
Q4ypAtaxrbmoS4Qfsgo5hRnQzAS2+BVdU72jUE/dOiwJztzKU69hdSsBdyfQR+xy6IaUAF5n/gxY
l98G5wjZTj1/+ftft56mwBlDXxN8xy6X47UYCuz+q9FgR+rr93zqA1b3U9KagviC1VfcHdlNWvP6
0W3OTmP/6epw+KvAAx6VRuhUgjKfV/XOA4PZzsdUeRsPtN5gJW66yUG4HAIW/vvrn3PqTq2Ckcq8
IBfDFD8Tg72Ua9OUWOm3zCXeN8emoC+67GNWUamOizROmK6hiOjX74Rzeav6kt0o5cY/L/qI9ZQ2
m63Cy5iyV4CZm6fa+MVeKQK2lazLzqQ0iwn8T2wF/dfKxmXrCIzR0uIVS1LpDvsNbYi9uXbTDu6P
IkGUveyXrOwcYJEUO8lt8QqqkxbMeCUWUWXxZmb30k9Y2fiYg0GgbJvsteixyR7P+SOjUmDucm5Q
e+JarbXcJfdkr/whe3VTyc0VJsDIcoRD6ngrnHSezjjdUy9kZe05AJyF24v6CrLG47VqymkrjJXX
MYTtsIBRXQJKxXtf2Txo6BuN7fHslRJSHUvwWmyHuRsOyu3PiTac+iUrw3cy6+bcdfJX6TEH1B55
HGVAzqFjy/4EXXeO6fzUe1mZO6WzPyXDXLwCUEUHuF+4x6ghWNxuSOE8fn1/T7hIujL2dm5TMmFr
Dj5+cI5WmO+ayuSSvpnvrUe1lNMki53Ov1G26XrscYABI/2uHWxsnHNWJ77/emBbDgykkU6PGBXo
noVF33lNOMyezs94wxNefj2rhWBSDEkjEDNwhuaMkQ9YTb+uR+A+iviNl04dovuZnPEmp37NytZz
DtHbqdHlHbYfsD+olbpnLT8n53niQq2Ht1PvuHzEKvVrMBf9IS1MekON+0O6zcfXl+nUB6xMHJt0
8+gMU/nqkuRHU84O9ieRVtVkpGfmh//M+XGjVtZNB5kVccXLVwh97zvsjoey6Y8ZeRohmNAll4El
8TkrE8eadBU0VV2+QsNiAu/DsraUF0NUTJb+qBUZQWCQXNSLwoetDF0SV9VFUZavXTGg/GaZ6/xO
cywFX/ZWViausZ3F0LgvX7kzPpc5WJknkj92AeS0v/6AEy9lPdQl1rCl48t+yg5lLFTNb7qU1FHh
tjoK1BOIkfgZY/z3EMuH+vB/p4ytD6Jpw3n80rJJhQRtBbALFCWzu7FWARaKif/5f5ydS3OcOrS2
/9ChCgQIMaW7bbftdmwnaXcyoXaSvblK4g7i138vOYPjKFbzFRMP2lUSuixdltZ63gZBHCryoXRT
RHD+IEeyytaOYAYD1Z+AleX3Ip6T/kkR1h/GbnA/OQAAfL3ekQb70R99JfiIHMAifpk9uDICZEBF
Fu4RUY+ldWWFMVWx/P7uzN3GblMGTdw/UQACd8q3P9mAst0BoboWK2rqIm0R4HOLtF2ai4uEpOWL
dPwHJJMm5+s9ZCpcs3+vDK2utJLiiSg7cSgSZkbHbQC5o0hl3VaFZvpBltupSBm/9JB0/TfNOb2H
gHO74qD8fcT94FyqK8Ijom8G5qK2/yEQQAMbgTTIU47w7AcPXMQm5skLwAeyhWgqqCaSRAAk9vSA
xFWwa3potTYpCJR1PAbHWqZ1MT5Cjcrz/+Nh40GErHTGJn3LCHH9l7qyafYSWA0wiyCPjZ+QnCpU
1CVWnvi3Aw535XyLeTzbIA8A0lYU+3KYx7rekViAkQUUuusQ8Qq/Cp/SnwkFFjPdb+tlbVHiqrWm
MQ35BQ8GSBuirTrw3n29XvjHB7S/3p0za/DpkIIAJ8EZ3ZG8dUAUwDkhKitQVKoWtLuVyfKxOf39
Bl1yvwMHrjgrl37BYSQAOQh5dAnYjNeb8vHa+te7s2JWSmTelt8SUL52yMi2bkDrAEegUnMIFBFt
f1ayT1Ye7E0dt/z+bnXwQJtIKuTTn+vB/1fBOx4PZQtyEIjNVmeD53O9UR9bsfeXYoPfBgK4o+LM
EegAQh4ARlPlJitLnKn05fd3jbDnwA/bnpdnAFCcqAjl9N2Cnu7X699uGhBtBbJL26VQiUR+poCX
nNvtjzgLnR+tEN5hsdg96HTk5/W6TC3RliI6EGV14cwvyTT2AbStBq4+06xV27xUfz09E6w0Yey4
+dljM41sFwdZBIhwCEKtTimThWiGnuWdk+WugMbOomEItsQTdBDE3gpWD82GGvQHZ69kBJHANr/4
gepvgtwHMgQoK+A9EXi6aSD0V+c+6II5HLLwcWHYAGiRHEBQXRP2NMwotvz+br7ijduBoyWpzkRV
MSBh/qtNLD4BsQFH7UxztZv7ERns25qimXhdABkMTLJ9or4d26+kqxJ1YBYUMA7XKzCsIfqDs+JV
uVBIq3NmOZ+gBQvoJ7CacSTq8aUc/I1Cd56uWQ9EHCghoIk+yrSdn8cWUN0osONh5aZhmlWanQMz
RrqCFPJMcKM/QAHhsbCRwAYU9pZnMYD4dON2JAKySFOcE0T4M4AKF3xpXsdrPjbD4qGrN5C6mWME
QBbnui+yZ4WI72CXNy3IhtfH2dRBmmHHgweytheKM+3sErGWS+BKi0tLiSXxeg2GFvz1Dl2lqdPZ
afg4thDHtMVofXPF4K7sdabStatEmxQWiBLLCSRYgDJB18V4G/GnccUOTOVrZi1lZvtD3ORnYFZw
fawnp29AFdiW9Rv89dwclKSVs+Xwi6vqnyBbLezBcuWUarBh/bEZD8vKAmFDnkH6ru8S3zqCQioP
EK97omzt4dYwgfRHZ+ZZxejbXJzrkfHPfToXL94S8Ap4069tE0izYW+gCm+DicA7D/BAXl5WT8NY
1LfXS//YM+TpcvSsr+CZdUrvlPlpZgHU3oHahN9AuolVkVrtjeMUTXGgPqiz34jbFfawu161aXw0
jwFwcwxsq0leEg6Hc0eQcZZOw76j2bCz2KoosGmENBOnbdvwYc69k43E7G82XqNZPVe/mnHVz2Iw
Ev01OqYyRES1nZ49eFfCXdG30/QIOEq8ljBqqkCz8p6HYJn7g3dmOEJ5h6IA/mYnWbP2xGToIv0R
WiU0JQzssEtm4T4NNLUCclQAQbZgvzYNtv4AnRWJhSCAOj23BaSZ6wEPWMQH9jqo5bPw8uLmejWm
nlpa+O4Y0kKltrelm54T2or72vXt+xD6Cytruamfllrfla7ADLUE0v1PXgnKIkNGyg2zQ1VGQN2s
nJYN5yj9Nbp1Zj+T4BNcRj+dPtULJdMeq/oOhDf5HfziL34D9YTrnWWwfV2GnpGiViwfwkfC5MNy
KKwr+dAjTnUHmWUgpxBeGTiF3Dg0mrmP+QQpUulk5xraf+oOehfV+E8exmGxEiLwYSBKgMfpP0eH
JMLn4Kc75yIEBix7kYEParMY7kC5/QZidSTwQwCI2cqUNsw1nX7ieUXXdH7inTnr8rvfx0NWzGth
NYbVUUeeqDkveBDa8iKDykHGvuf964z1fBs6jDwSr1/ZJA1TWsef0DoGj9qOxaXF2/B0qKAifbA4
YLpxLVixstKbKlna+M5uWov0mFa5fwbolrc7L22dBQsK4YmDW1oe3zggmvEXQRCDMOH4Z+xlQIGW
lXObz6sR6AbL1OknYFFzdJaCJMc4iHsongzPtK7OI14LvkH+pD05oFSuWKZp8LU9P6GBW8f5kN7b
GR0PDHIuJ6hhzM9kivPvANWwr9dXANMUJn8OTNIrYBt5K894cBTskADp2YKi3sXJ/noFBpv0NaNP
IKzipn24ULaCG28ABo0j45iK5iRzccsIlhkfP+TVJqnXAFGef7aodoZatP7snpGbCLe6x+DsfpkR
s9Jtm2Q6LQWKEkU2kd4/MzXZF2yT0FoIAXIgK0NvsBUdlJIUbPLgBPXPgMZykD1nBX6i6oAKOuRq
VGqbSerIFMJLF3k0eXWOgYPbKQdKZmzwXt0evK7rQ2+Ywzo3BQLaissC9qI8Re+pKPDMNQTT59jm
OfgszFmZYqZ6NKuXbgilwqas/jdGoqfyW9GDhikQo46Q+rW8LFMtiwW9W8JYCRghKZkPbyxwhDzH
AjPmQY48BCRi5hDOvd5pBnvRZelR5DiLkjhniAh8lzTDISM8FbAOjnhTabsPXVK+loFc2TJNk02z
f+qUc1oh5eDSxZO/ywHGjtoi+IVQvv+ut2fpnr8fCjwdpCJBTEXkbOucW9KHj5D+45+hcwGw7/Xi
Td+vWTvv2yYHz6y6tFmanEjmTUdRNRyKP+7a87+hCj2MDyIXcSMR9HtWwFt/R8gkveVWCfbeJIA/
v94Mw+TSQ/myEAJ3Kp3EJUGU7luY294XCWw1sKzF+MPFErpy2TPMrt/aaO8mMaSJnMRqevssneR7
ZiOO1WoihQXtJmvSX8sxiQl26mIEtFxvmGH49dC+OnMDD7Rq+J+g5gtYRl46/N7K4bNYWWRMFWjG
PwayBd8XuiMUXhD1IKGJku/qzOfF27YWLBW/6zJEDilgGUp6pgq8mzixfOSHgce4rXT3z9K5E8qm
BSL0vvWx5WZTrW7KDEFe10s3TSvNum0OeZ7E5tXlt+pTxmz+qSSAGdg5FDzEJF6uV/M7nuADI9eh
K1S4NMDzdXUB4RQg0vF5nPhxLKYYSqvy2a5BAiwLew+E/G2NYBAWpt+DHP+9Xr2pldoaoFw/6ccZ
NyYkTqubDFrW1K+Hezg2biCdt+1BGDkXf47UODR4pU2r7B74zW9x3x6TGAZ6vQWGSaxH+fksmDOZ
seqSu95/Q4+8C4usPiyYCl+Os+8msAfMvsoFk+c+WeTeGFcwPgCjvV/bPn4ZlnfltwN3Z+Y3/nmU
RXjDZkvdbsyzCTw9qk8FJCihilaevdSOP2UNVCgmRr9s+/Klx959OYfYEZVItb78jowJCaTpXI+t
xQUb9g09hI/OAQAswMRf6s7FbmGlUP2K03EATJ6s5viZTE9Hr3A8RXjgDBfnEUJE1D/QCk8hj+Pw
G95f+rSaI4QCQFMQbGneQMET/DqgohEr1+aPSdMK+3Uo09T6PCoIBOyvd6zhpkS0Qz9erRG2aFXi
wlyQkW5pLfwG/NEKxN+pJ+Gj1dfM2tsUp7TrFRoiajw9ADCZk5gj4VRe2hTyuXYa0DeLBnEZBbGn
Di7rL7+dKLXX5becCvoYd62/Yr2GgdbjA9N4ZAjjSKtL0CbzbakC70YUcWTjZft665b5+MHyqkcH
1qU/ORMn8sJSaKEt8QxfbEgTrIXrmb5fWyD82W8E3HPi0ni0epKDKL/JOPlUN2F+c70BhhVah7kQ
4XfKd3t+psFADsQpX6EDBvmoDivoVORrl2Zm6CftLMBTxXCaTesLnaEjIAtwDokDGPAC1e0zrz+0
PN6lYljxnBhmuQ568cDWCZOprc4wv2BPS4RyQS+J7Wyojd/NVXgHtm97uN6DpimgnRPAGOutBdl+
7mvA0wm8ED/nxMGD27bitYNCSsdeIgIcMrN+4O4pBF5OHoPw6vXSTRNMWw6gXYNzDoQmL/Hodu5O
pXZIX2aEt9hwBgzOmh2a+kg7B8RwjnqgXZFzPw7ZHso/2eNQU7rSCEPpenig55OiLGQvzgDjQKEE
TQEjAKnofFOUsafHBBaIhE9KxMhfIH/1q3ZkjsjD4vX6ABjsT4/3I1NTE5DhnXOPa/69clnbv2L2
pu597DmsPc9ZGq6Yuqmblk94t6d6Zdb6QErY5z4opgd7eZ3cVfGAjMltTdFs3M4nv0yhy3H2Guo/
xF1fwBwyd6i+TSWJ25dJIlpqpa6P20J0DyyyqqR0uwnhsxnwH4vkdV996wvId6+1xlSDtvRWsYKa
2ziUl9QlCP1DSpUYIQmXrmX9mcrXRoPGCCpoh6S8VCKF5l8bCyhqtI47lCsX149NG5e4P4c7tiCh
3mYZv4Dn5HxGqL/6qrgdHrkS1YphfDx5ie52beOgwRM6KS/IFgIMEQrD/JVVZf81zSrP2vseYV+u
zy1TY7RFlvLKJoFwkpNKFZSOkC1m348A/+aA5JYQT7pey8e7FPHJn13GE3gooQ7GLzjok8hK5COk
T0SEANw3GtY/PCc/OM628Ayiu19pyewKUjb8EsPluoPywnDvlqs3L9P00lbcokkrCNgE/omKDDKJ
LdyVkOBr99c7ylC67mi1EW4TZJabnDKI/ezbAdGItYOYweulG4ZBd7Myf2BIE/eTE1SpfrEJOBzq
05u+BY7Uq4aXIR6/BjGoPNdrM0xi3dvaArzSjT4SrGKvh3ZDhzATBEHyT2FZA+c9ZdaKPZr6TDP4
vqzonCPZ+3/rsVUAFsvqNmKwD08zdkWsxqn7vLgoMT65LKA4KTQdNCXa6u16N5k+f/n93e5h41U1
BcwxRzRLAH27gBTn3FuNQjV9v2bftROHiPSZ88vveJCygI6SkEiq4tz9d9v3a7addwySBwDwXxyk
8j3lLe2mO2iocHq4Xr6pBdpJCuzG2e96mZ7y3APtHLETNH8Zugo6xaJv52DFoWMaBs2uW1dOXQFH
84VBuxRUR3jAospp3TU5BEP5f7lURTIk8J6Ki+eN6QsKhtIusIbq5/VeMhW/mPy7WSQdHoelK+Mj
8fDmkA2tOOQBxCi3la7t2YXgBUewdn7hKbPoPg8dhz0nAkETN9crMKwVus80zlQysYwWl9/I2dLu
yI1D+PwkyvEFJ5Fym63prGq7bkaks8HWRu57X3kFxc9/K+XExWVbMzRbhiKWn9aiyC60g+M0w6Ta
T7hbIgarHI8FGINrqCZTf+lmbVc4dkBI8RJPNaTkoKYMXAOElebSKXdEcO/r9QaZppVm3KrsZyVU
Hh/bamC3STHH/wSxSFdsztQKzbQ9q3TdyXMz+FCd//hgQXpU1t5rjs1o5+DEtnZJNrVCs+3GE6OL
sHVMX6gVQ8fXh6jVTRhD535lq/v4jYHojlLcY2TOcZe5OPNQjjuczftnUY31pxz5nt+roCVvgSMA
QwoUnrZtLDHbzF73okJpnpeQUkgvcirdb61lQyqwSYr9ptHXkdaUE5pKUWDzIFP5iHT12IloJ/nK
zmFY2ckyLd6tWVU8ljnGorz4YpJPrSr4PUkDBHnh7rSycJmqWH5/V0Xb0wry5nN4/B2hzYX/PZuQ
6uH7a5GuhilMNIt3hmxQpIuzS1CrC2HQqIUumPM2KCs7gmW5LXsKOUB/toNy6Ay7g5VebDUiba5i
twMAWysHKFMnaUYuy6qbISCVXyRS1iHpFlQQT6Sv07AKZzbVoBm6nfjJSP0hhTfPKw8UutxQW6TF
fvagdHZ9rpoGQrNxNraJ4/ZtBm9ofIJoMPtqNwn0qxwG+Honmk0Q64Dons8ESiJKtU0Itd/4V1ul
iPGf0jX/uWGh0r2eXsLtzJrj9FIjhuSlnUbq7Dscl7MVczCVr+3jCcCnQLT4WKe8NNzL3mlAZoyL
8PP1MTAVrxl0j7Q4H2OdXmg1dZ/KtGCXEa6DtfSgjxFh6HvNmjlOOP2kmuGERJrssXezXwnUhyHP
K3Y2BQZxXGTLbCnKR8i/5cjAHPdVm/7a1ril0e+WEkdArLADf/fihwl9ju1K8l0NTZMf24rXLByS
vzzuEoHFsOiq8BYqlU33WCGzYNw49pqVUxtM56zE2EOmdLpLwkbWEKlzlFrZA5c59LfHnui50CpR
PcrH2YpD+PKrwH3jEUICr1RBJH7EQ8XXMNz2/EZ+v4i8G4qep17uzikwDlKEArl0LBkPYS/XxsLw
tEJ0xyenbmxVHfwVpJfnCg8DU0ohJ1n4+yBDuMjyqAtPzKOjMh5tnmG6O9R1kTVf1j72ktwvj1BJ
qL40A4QjVwbIsELqHlEe+tCn8yfsIVAcv1dpA/VvCkkkycR4YyOab6Uew2Kv50L3MhxdDxmtF5LX
wFYtVyjK5k8hVE/W4sUMc02nYE8DEmitYUQVavQiKfhDCklJGpHOwipAnXYXwEG60WOp47DdGNJv
IEClFzxEePymtKQzHVnD/TVPicEvo/OvSToj9FFOzaOcofKeDKWKZBAg+/pzAmBZ5OVZ/wB+tbey
VZp6T1sJMjamUOrFVtlZk7WzeHeyW7c6scardpKI51xwteLINC3ZetL03FlFWCMC6hL0cowgq/tP
GPYvKeFffBmTiFZIImktEWGJecbL9/1YWdvWa52anQivK1jiphdSee2TTAcoUDu+6leK/7gTHZ2Q
7SnXrr0SDfM6bEHYtDkEs4GPsqb5HzyxQ2/Zifl+y97g6LzsViSNj0QYfsln+TiVkIOEj2JtNiz7
19/rNmTY/9zX1AyHBALi+YXW8lvbQs+nEniluv7lH89sR8dj13z2pQXSHCJf41MMul8moawgB/ch
nOVDkNDHEmIa1+syzDVHT07ORIioGE8Alqvo0RvGKVqoOD1fVDo6zDEaOLs5SD85PRIxcqb+cYJN
nOnA0WHaNvcSyCGp8lKQEJrWIMwgDTQvIIl8vW0fXzCdUDsdQMRuKvMqhneqdv5bgtgQ6k+49+8o
+ksfID++ltDp7TdmYjs6NztAnE/QWu7/1geyJdsjs7VZmRSG7dXRudkEXshc8b4EGKt5FNhMbQEV
DK+w/6ssvMAinP1T5SFAr2LyvnEB+L3eiR9vgE6oXRH6bG7tISHsGFc49YATfeNBRmxPLKxMHSKD
Vw5aH+9/jp7V3Pqt4FOWN08MHoznFoKA5FOeAbETWbTxrLvrjTGYrZ7YHFcp4Oa1DE8jh3UtgZPC
RZbr9cINPaUnNtcihha0Jdkxg5w929NxSO4Sj7WHbMBpjnT2GiHe1IrlA96d5OJWNJzUWXyqe2ad
kJw/vuZhtklBN4CY0J+lcyvwhrQTC54nsV4bxGZPN53rr+rPmkZ6adW7r0cgpmOP2cSOY51+h2hi
vocuCtnhBL922zTVoNl9PIOJEAxlfLJjlQ+7Omc45UC6d3hGVtG2TDuk0vzZDBo61BXEAgmPQFVy
VwaUn+rlzLPRILTbv6yKqh9IzY5SJm+ZjSD4Nhy+wnDW8vBNvaQZtlf0Tl+qODgWcTPsFna0J4Lw
7v/jYm4wCD2hOYF6rgvPbnAqugDrx0S/qKlOjsyPv+VS/bPJ6nTAtgyEiNMaWU4um/IIL0xJ1I+I
1Aupe3DC1fXJYHM6aFspn7G5dfonrrofPGbiNti8cugobTutQCrz/eBoD9Crz7hTvs3hWH+uOR9E
NKuiXlujTLuInupsx1mSVxPe4S1LvTRF3b608Rh/Kip7Rk44sm4KvC1/bgaVn2Je/Mpos+LlN3Wg
ZvYe4Mj9JKvhSbZx+GJ3eHmJAqtS1f76PDCVrxk9XGVTa5OGniCcPUUc8HlcbFJ+s610zdrlzLJ2
HuL2By4zCFGxSVd+y8pV2W/Tx2vGzhF20yYIrHyCEkMbQSMa5xKKRJttH69Zet+69WiXdHhqHfCB
ENqT55EfBsPKyBoO9XpSM2sVn2eaQBKhZ+EOR7lmJ/tF2Trzj7gnIW9r89Ku87YzN/WUGET7RET+
i6kiQT4C2NSzFGu0S8NQ/JXhHNI+HlwIPMAletcWiLgHjsRayXIwrIh6bnOCOwkX2WSf1IzIM5ul
zg4kKgWGbt8+rfvXTW3Qt/A0Rh4KmZsnUofxGxFTmu0DZwrXskMMW4eO2B5pCzJW7zmnuGbtDxss
oIj0SNgZ0mIt68x0L9HTmynUfYtBJs6pZXY2DJ+KUrnxg5NV2LciB3ga1v3WGyB3o4c1GRrGGYSw
EbZuWwPL7r2waEsaWSGYpSuDZ2q1tgbE88Q6SzXOiTD2zNpS7Pq0CT9Dwbdd2ctM46YtA9JRTU79
0jnZwun20OCWz6mP6MRNy4Ce9VwmoH8Ap1ZcshG54skYxzuaibX7ieHb9RznfhpZIwFsWoRRrIeS
jHLnB7jab/p2PcLOKyY1Jk1WXDyrrQ4tq92jtdy6t5Wu3ebrxpbWwvH5MRV82kFVOriDTIq38u2m
PddfVoN3J14HLvg4HjiC6+AUtYn/igSL8Ox3lIGi4QVgAoQnjuTNG1v51f08Tj+2NUtbBlqq4ozT
DBNWNNZrUdjuJzU6b9cLN1iDHm0nK0AvC4U1JsuRjlYU09ckDuaHnhbDSr+ZatB29NGzYf8Tpcee
Dp/tECCTrOIAK2VkbR0zOAj0CLvSQ1JumYfWPylC7W7yQTxkk/PQFJCgcLCl7eBU/GUF5YNtVxuH
RLNw4vnw7AcVASK/UewQ+5ImDyngRWsRM4YdRs9qzoAaDp2G2Kffp/pspF+8dm4uxE1+zYMav24a
fD3ibsRTFd4PcizOZaU+J308frHxhtVFDbiMctsNSA+8I9TCoRtEpFOciSIiyxUoK1z7WMbO8Hy9
HYZFS4+2k61ow4S59mlhxfYDXBrlVCWHbYVrZm83UG3uS+jysJYippaF8AZFAbHCFWeGYfbqUXZD
Ng5x4o7FJWkYiSYX5LE+z37Fsv2h0sSNEsvi0Wz7DxbN+cYxWTry3VJWh1bR+Rmml1xSGX6PidcA
Bei4rXO7rds0s5exLxLl9CC2eV76WlNincAZXAs6MSwqnraJ0xJ0CbePuxPWKe9XxvzwuU5pGuwg
bFl+2dYCzchplwaN6NCCOhB91NP2JKlcI2Sapqx2mOejmmSP8MdTFnLynbZjMDwIxaRa6X7DAqKH
3GUBmChW6tIjCbI6UiG8o7ZVWw8inPtby1n1lhnaoWcyy7YvBe0qG88oQ/ko21a+BKxv1x67TMVr
WzrjHq/c0YagEHQTdyRByK7ooNi2aYT1yDs7KcXghwKlQ5z7pGrXOsEt73/eVvoyd//PyK6XYZjn
7tIv/1fG/4Ck6btBkNEjrvteBH5/eehjJ9mVI15fr1dhOte4mqUCoJSrKZ4yyJIjm3dKZTRaRfWF
LD4qUUO0wbXCBuq0cB0OMcDIboo/1+s2zVLNjNnQ5zN3Lf/IO/ctGaevvx2JuEr9N/lgxl6vxDSH
NDtOIKbbB0FKj62XJN+pmuXPMCXp67bSNUOuBVhw6TyT/13n8IyHVCqcOlYGx7A56MF1SPwqrX5U
3pFN9FhY83+2w3/abLRv6lzed0w+5k5X37n4z6bm/BVUV4UOHo9t/xjTXN7hdZk8IZaFr6TQGaaz
HlTHJsntfLazH+CmIbJfyBhkiFy4xZd54Kuh/oYB12PrsplkyK5Isx80o+1XPESRnyXiEFf2a1Mb
/jTr/4njQLkZkvOOksXjHh5FO4JgDt2Fbbwtcs/RA+sgPlohX9fxjzjPiHsQybsO+0/g7H3B1tw9
JrPXw+rqxKngZV16yYYTwyFERYsc2ZIeoQTkaXtMrrHooK8Sjo/FUJ6vTzBT92kmn/Q4xsgxoUda
Vud24elSh5+bYRWxYKpAM3e7ZZNTThTjE2PtIlSAeAMAjWtvxP85evIxYnxkOdpt+gPemfwHgsIB
hKv8gK9oABkaoEfZkdgbEC44+7gwgcC5NMCuc7HL23QtgtpgIH+F2pW1pL1w0UW8ncKI8kJ00TQg
U+X6GC+78wfP6rr6SAdQPONOX/ygLSH23vIm8HMHkoQXK0zbWzaB3LWzpPp6vTpThy27y7tNsmDF
Ap0i8glnkT6yi/HFdu3y4CxZN9tqWGp+V4PqchrGxSyfPGSW1+M470I+qSh3Vg+0piFZfn9XA9Qo
7LSG3tPFJnDuwgeWHDsoge23fb+2xYduLgsH/sPLEC/vvSnIsSCz0Bc8P/K361WYGqDZNUcazDjH
SfGDEz997arqJwQb/G0+Lz2+jtl5SSSwMk82qfJIMhxfQZfcJDUeOL9XyHd9T3zERADFkl6KRtp3
AY5ANRalEmIgm7pGj6hjgU3AqckRAUzBpWV9BixHzmP5er34ZZp/YG166JzsyGD3cHO/STF9tQtc
4hddKstCoHRlteRwvRbD+OoRdFZGciVdyt4C5WWPRdlZEPhIwxUTNpWumbAqhT0PQxi+JQRJAtZY
kOeR8DWBAFPpmvkyCsihXXrh2xLKqOCV3VE69DfXO2Yp5KPuXyp9N3tY4YblJJP4DWy9boc3/eey
8RELFXTTynJqGmDNerNa2cQbhuAtK4IvY+bO8Alg8nscNUwipStXxg97yfd0OigpXcdJGHQxGz8e
EcbTgeJD/RUb+LANKFzbldVIwn4Y1HSw6J0aD9OQRU0DsuLP64Ng+nbtFN7zrJmIA2Ren1THaa5+
JHWwglT/ffT9a4B9T3eJc+aoIfPs6QAX7yNibaNu3x6avdrJKN2zfXV4ovt0/+WnFzm7cT/up0Oy
a6IxOsuVE6eh73SveaMgmkHgMDgU8gGntqgPzin9kvVrKUIfzmA0ULtkNymbSRij8xopP5W9uLds
heemdGVnMH3+8vs7A0EqdT3kczMhSllkURmnR+goPwlX7GfB+5X5ZZgAemJ62nKIVtsYpMkWZZRL
UkXNNv0kdJBm4vVUhxmjMwY2caIu6G4oGVeMztT3mm1bFlyXFE/q0NCt+j34VeWLHHu8htHOXYlD
NfW/tjOnTVx0aYeuyf2fIn2S1ckPq8gTK7PT1POaZYdhkQRZ1cI8JsXxEjL9S1SyxvoydY9m16Lv
2cIxglbvRCNwwiMXdfh1eNi0bOgOcIJQhp4mKN6qv8jhzSNfr5f7MabJh9jon3Pey3s7UwFMajyL
L/bBeSAQOXrz+I7sy5PYJT+u12Poe93xbQ1Cea0PBeYgr3ZDL27CYa1rDD2v0zyHppB0FmjBxL9i
84xS+aNh522fvdT5bkXwJK2ywB+mg1fVw3+s7Tyx83Mx1iuLgenbNXt1e1LY0yinwxz3EQ//84sC
HKw1yp6p0zWT9X2KvD0fk0YEx6SXUWGvHOQ+fizHrNEstWl4N1cMJedQg//hn56nXXf7ubiR+z5Y
6RrTx2vW2tq5UwYTukawPEpCSP6GG23V02x1TlRt90rAmKabejxmYwXU5Bq0yvDduj+bQhwpRJAY
Cs9vlPWdbjw46P7rZvRZnCRYvVI8FqvXcC1E9WP3iu/p6M02HsIKSmfTwQ26Xdbz18KZvgytf2SE
/HSK/mbu3c9OO+9aa01n0LDQ6+5s4blJZudoi5e/DU69S4pDnkFtbi01yDQGmtnOtCvcZCyx2qSH
jj80+YpXcDlnfHDA0p3cckB0Idg7UNZV2b/ITn8dlTiUlnryivjYM7LibDZ9vma3qqK+700YEdI9
ZtN9mW3bX3VFbRXWUsL7Mx1sLziQKtghKL2JQCH4zDLgfTYtmTpyExD4So1NtTChw6+JVSPDHhk5
K4uCcbJqpiuQxauEh4WHtnHUxdUNAEiRg3dH16uOlsfuu6A8NFOApL+1TCnDoOuebcsVGSUDGhQk
5Z5TJ+L5TZayKKafxjWuhWEf0J3ZzpBW3TDBIKYRT8JOe/QRq5FkfOVmYJhQujc7hARtzkdrPCgF
TTUpHybbXTlUmb5cOzPXo3Jrv8SXs+7RG19oc6zilc3XsEroiE3atE5ctijazchh7prd4De7Liv2
KRErVZg6Zvn93f6eDoCwVw6mExPYe/9b1fw2latZsC2QxD6M2ASSoLip3fhzUBYrHW4qWtt6J9aM
ju9icQjKeDdZw84d1x7bTUVrW67yRsr6ANOkKr87zevkryybpnI1o00EyATdMv1svz7U/rS3CrKy
IBiK1l3QPQc4jMcYQKfPbsMBCpvOWjaPYfrpvufJUy0UFNDR4LXfeBUcDe0/np3uVLvJWet7uve5
9jKQXsMcNbj/Vv73ogSEYosfEkUvjXo3sZshF46sly634l3b1vspWeNTmQ5/eoK3GIGZQeYtXBi9
2iM1cHbETSXoTvhYV06lVd63rNrP9cMYbgq2RnOW4X/XnClxGEco5HTwrTKyXDcaurUAJtMM0kwV
8oyTHBhMtS2PWfPSBIdN+6AucT16c9qzGeWGlhsFRR0l/Pu2kjUzLaXfTzMQvoeqvSsh57Tx2KF7
l/25CvhQ4osL+UT6fUZXbguGHta9ygXcjQzXqPFQ23fZgMl+c70fTHdX3Z88Yn6RPEHB6p4/9bfZ
6V/nxd/dW8/AYK6cZgyLgO5MJj2zZ1Cecd6Yvk+iORRuHSHpdwr8FbeKqXM0Q3XztCKeC1ey45JI
qHAXpGu5/r9Ryx8cV/UE7DJM4rackd4IZdtbuUv3+Y08pTdJFH9Rnx7dW3e3S6PPeJOPvNeH5O36
qJgatPz+zlT9ph+CIECPle0xGB8ntm1F09Ov+4nwOiywovk1OWIpuI/ZxiXA1rbUxZVcdl48QvIn
2E8g0wV07XZlmj//j7MraY4UZ6K/iAiQQIgrtdjltrvde9sXou2eYRGbACHg13+P+S4ejVVEUMc6
SCiVmZJyec+w1Q6m2qNlEkw5sn/gVfizLpKTm08Hki9bDtlyBTN7qNGUHvgKCGwnYAwdJE8fohZt
Ee1WUPf9DaVmD7XuRFYzgWMVSMmgeHZ7cdJps5Xws41uxJ8YoBQ7SiGgJvqYOuis2FXUFFCzY7rS
wP/UZMGmRnXMw1sgIG/4hPcfBNRsl1ZLDm5CgACcpqG76xfUhXjl9wkvQUTpXoNFbnXk/XNY/9d+
qdkqHZUtFWUJ2bDP7Vncpc/hxzG+cb7Tu+Zc3PEvzYfb4Nseq6Vma/QoQtp2NaaS1anNP5Et9/a+
blKzJbrOopo7XYrwYkXjIkgOSC4OLtk4AWyjG4abo+SsAHwAwmfBl1y8yvwLaIqvC8Q2tGG4Cyoa
XK/E0CP6xqT87dPsoPKd321ciJ0atFl1BF/m+PVp1N1NMasDz/Y996jZ2zx4VFSyw7nYKv4xpNWJ
jlvt+xZzNRuaK11NbZHA15CpihtU+nUF3TCrfy7W76i72c8cFFMeoIZYn7pf+pA8i9vh1jmEp+iw
fHys7qv74PA5vPypXq5v8D9PhPemM07eaSRF7a6vHfdB/5U8Eh2zRxfAJOc61i9/Jx/rh/bBuRQP
4TH5vQVS8v5xQM1eZ5U6FS7l8KURfAegB9woLoP2ExvXR4Cqpo034uo831vauntvzuAWqHkDUKf1
qeTfU3lfccBIyc+J9z3XN4HciuLZ/BM3rs5O1LhhP1N9SnN9CILloqLkhiwq5kodI04+tTB4GY2f
aTbd1zz5QBJ+WOrmUNfkxMTyaZqd0/XdtAnW8ARo8UZreoJPIep7kR777DF1H2W+Uehk03rDGSRT
VeBqIPWpcqtTxPQZT+WNrbJ9uOEKhqLMlUo1Lgh5GR2lQ49A8fys27sJoHgbj2SLLzP7olUfDk6X
wLmnDrtnGVh8mqT64BbprnglNVuig7QLAZ0JX8nBMeDcBOmueCXKh/+txkGPahSngrWM2ZHkt036
u+AntcUvbJOKYf8U7UQNKwd9SvzkkHbtJ92Q81SXGxd7iw2ajc9N3vQ8kesBssJkIntxH8xAN+k/
ODPYszYuxZariMnxPC6k8pZilXwxPJJ2+LZI/6Zr6IOqUBMrt4jsbKIyDL0t+xw9RJgmmz9U4X2+
nPNiw7RsQxuGK+a0V5MAK3jHgzKukAA7hyBTjzkT5fm6b7BYb2hYLy6BszsC1/ekp2f0MUzT8fq4
tk83TLct6pL2691m8r/M0Q8tH9C2sGtos8WZlv5Q1utR2Pf3DkUH0mO5LzKEOqh/G5Vqgl6gMH86
zdMxcu77fdl18Gr9e9x8KvLSX6VMqB+z5DVku6KH1OxhLnkDWr4FAwc5QPW7AU+QnbcZtu7sm3Oy
SrJajyj5PIGKp6Sf3HJXvJ3+p185bQtvDnBLatPq7HHvbgF+w3XNsFi82aYML5v4qE1FkIZ8LpYL
mrsc/hTq757aigJb1NqsrhqacCodjctDDYpfP18+9k3ytxLTzu00rNEPktUasQCCfuCMJQfdbbUE
22RjGGQlRFLVZYuHGVAfEwdd4oMkAGJRH3Uhj7PPttJQlkPbLLQClGVR1ZHARAU55+V8w9h3L18A
dbBxF7a4LLOQqvHDVOQMismy/kcGSrx6+nZdfyy7a5ZQJWjLCIGWj3hTE/4ZAId8cHN0TUzAZvl+
fQabcIxzlY2On6D1RyNlw1wwNpfq1llEd2RAIzhlU8X2uXWzkIrMRV9LgYuzRw6RuIvU6fr3Ww5u
s4ZKe0ud+QKbS6qbEkGaPAXWlb5piIzplD6OxcYDxKKtgXGoDqIFhlIGOYVoYgeX50MatgegsD02
mbjNq3FjGpsqGQesjyb8TgJM7URl9NznQwXYfL4LqjYA9OW/HWgjCRDIQAd/GkH6BeiAeFg2/JxN
Tw1bRpfXlIYTG08tjWnhHaPxqQNm2/UttsjErKZqgV+dkAmf3WQTQBxFjGDOvpGN0xWdCVoTf/Vu
9Yde3XbTxhX+3faqgJr1U01F2rFs83XcPi6X+wyhuAJAJErJY0m+lt7nctqCA7QYsFlQ5XUD1TzB
GoJQH5DxAnnYtyj44G+V3/yTKHrneWo2Epdo2o6yYRX/j5f+wB+/zI834cO9e5zjr85lsxLBokL+
uvtvTvfJr92JYodPYX9H+h+aZDGrf+3bZ8N42xLAmDTH2MK9pNNdtvVyt2mmYa3eBHxZMB8jG9W9
Rm4Rj12yU+cNU416tnZoVnjDAnQZZ3w8BM0+T2zWU1EEcP//0fP8aakvy1Y9qGUDzVKqGYAMuRvC
NpP5c9gMgE+8hD3fJw+zngqtJYUTgbkCKfpsfGzq+SsdNi85ti9fff4b1Qsnje54uLBT1T4K51Zk
X8r6yy7NM2unoBAulRJDt/59E3xJtroDLJpnsm44BU/qZOEINvf5sVZg4iy32lYszsssm+qUQmdm
+08ovlDnwXP8w+QxEFkFOqnPZYrOK4oE8qNoBT3WaOy8XBeVbRcMI/UKJxB+gi1OaPW1AX3PkYXM
P5LJ37jLWo5ws6DKmUo+8azBBH0H+sCmf0ryQB2B277cDXPSH9NKBhuLse2PYb8JF5XLgNJ2SvjH
fvjEs42D1jaucdC6vaQVUXhqAsHsxinaG1ruDHOblVOC9k7n4C1x8vy/WXialYwBJ3p9by2fbVZM
KYQacUuGupZ+/becpulP5XrLy/XBLYpjZqyDyBOdbtD9wYMPvH8O5me+ReVm+W4zZ92UfeRW0kMa
fLitnC/u/GffJxsep63EUHVokD2p4jKovwpEzcfP14e2fbJxoecow01YiddssZwb55xskUG8O27o
mWlXpjtCSVLLh6ojYHzMh7ZsTrwFYs0eF48JDJNRZcLQwOFGPyupgmPQDN6LrOS8Fcy3fb9hOWMb
AfK7bKOfTRqUt1HvD686c7YOv3edZuiaaddqHKqZ9mDxzOt2PPrp9FnTB4FuYa7098Yp3GOmugdn
yW6v7/K7Oo/5jJurglqGaZWHv/ye93dNjzo7DpTIH10Ubb1qbVMYOjqHweBmbhP+Aj+sf9suUXn2
EOA9iBbtNtdX8X5NCJZhKCvrsyLTAy/viGTHXAV/8aJ9VPyRAEVaj/q7WwQXQKnhwOe3JEA+e6me
rk9tW936/5szf9RKwinV2Uswop/3mCVVe8IdozjmweA4x+uTvK9zrpmndRu3Vx4acX6lFSOvDcI0
nxCP3wmB5JrpWpnIvGOCokxBdK8ZSbMj4FRfwqXMdn4/+beQQHvGaLEU/GdSpOqnal1EqwHhsU84
pr0PdYOadS6eC87pxZtUW8VjkyVbymUTvmHw+aJcFs6qfAZRfXFI1TgcS1BVbaiuZXQza+upAEBg
9Vw+12Ppg4s662Ohu3lD8O9X7YWumblFxTIPlROJZ7cvyxjBmEM36ltayCymy/TdGaubpAvPY8bu
gQl4GeRWje37NduY2TD7QfFKqUmWzyAYeu77/pa7/qesq+8ASjDEY6rPmupj51avKf68rgo2P8D/
4wcwuOeU4rnyx9uZot0++IdthiTxwgL30GfT72wUPfrAMlSQwzuUuEqjXW4LWsDiv81Ub8GSyZct
Ec9q6B7SVh1UycBplZY/UPYZB4BrP6xynuutXqV1Zf95VUPMq1698T/Km1pVUuk/pL7zoymbR5YN
5JSQ4WvnI5p7Xa42JTWu1G7apjlK7us7KZmLML/UsQ6cZqcJGN7B8RLqAxNDPOdR08Vp5/DHDHB/
v69/+/txB0jI8A8C1O4uwSPjeW6B/72qQ91OZ6QAzv/YRF3QQ9fCHoqe6UO5jLfhUN1PfvjEsvqo
GxxSAZp6rn+M5bTghi/xwoi0jluxF9BfZeLQ1hpuqvcG77dumnDfmW4mfns+14RrSR/6YUUYyVN1
yBcg2oVVs+f1ELpm6jcBwYrvNxF54G32LOUQfCwr4I/tkpGZ/228hCBQp6MX7IfO7maehufMyXxy
ytA4tysYiCUYnsItg1GGS+JfiFd+cTvgUg/pJrWGxV7MLDAOcC9dJAbHKecjqTn/FgkACfbJx7B4
4FyRyUk5BueA4ugL5wcK+PtTDazinTMY5q4LNBO3BWYgtE3ixAkf3fXU6/Da2JhhvV6+47VCw+Sl
EKr0KuZfpNNdmH9HgCDZhP6pAXRpydxPY+tv5FTX4+a9mQzrVw3zVYus3MWFf+wrwHOgv+QAmt3v
CSN/Ke4dru+KxQ+HhmUrWoAOKqzIb0ZZGYJHu2pjr0j9g58N/veknLdihZaJzCRx1kk6qHwSz1On
qrNaShGPvFGxJLg6LDP/c309Fk9lJoyHHtQ/SztjmiCdb1lengF93j6AIX7r5mNbiHFBcMcKreqM
uC9llgZR3JVKx33N3QPrwOKMnpStS5BtKYapazrNMgX557MYwa4sqQpvSY6W27BPow19thi8mVKO
Qh7JQODYb5sx/eGKzvkQ6HGnrzITy3kjNJpSBvcFyE7DhUF571Yj2bfRhrHnQdO4iV+Xz1GVl1+m
bs4vrAPr+P4ZDGNPcyBV9p1TPFdTGAJNu3uYwdBwaaNNME+LkZvoHWMkM10AKfxFTuI8zf5yCJR3
iGR4SRawjgGbceMyYdtnw8pJMAg1eCp6yfPRu5HScetDLeXibHgRi180U8xgxcoTQWn0MqQOORde
KpEEdvgdp90EIqs5Oc5iXA5Qhl3FtKFr5pyF8CWfwsn/zSPGfqKJc77wBMcJL8st5kyL/f0n+TzN
kZfBJF6cidU3E+AaTx2t6xNWke6zPxP7usrmXqrF4z9HJxWfQAbZu/GC3843oJl1nks9OAOwzF+w
2d5Nz+rwC0PtxUZA2aJVZu55duXYeI7w7zmQ4b5x6TYV2p026QBs8jcs3BE6pU6+FM/uEnxyV1rX
TI/OhQSd/+26D7EtwLBw0mudAzvde1HL8LKMXB8GHOzn64NbjNvMNvsuiKFCXvj3JFphh8nB7Vc2
HwHs4bFPnyNXblmfbRmGdWs+J5isS55K9BXW58oHMdRxodzfWIllI8wEdIOUfzJ0qfPSR2B5TEJc
bCX1qjQes2zrJLLNYQT0ohEM3YXUzktbdvWnAt3LsUedHmwCwVZAzyImMyvNZr/mue6TFz6O5Rc+
BfyPkwGN//p2W64FZh5a53XoOcvivMixV+eslZduwMNMO7iBDqCU2fAYtmlW+b15NxcjK/O+6J2X
DPBnB5BdBWA+EvUx7//vX8VGSMImrPX/N/M0bouivt6bnlTRd+5BJUXSf3YmWmzhc9s23LBuPXYK
jDrCeQnECGDBqXiYMgfwTyiN3jiUbEswrFuClgudL9q/6Hnpf7fc5R92E0S5vnFBL7wF2AQLT17y
vnXOgaf7H2oCU1ffEnfnHhh2zWtFIlSg+UXMAB1246pK/5VBaBvluBb5mAlrNYNqaJ6y9BVdEfkv
zynYzQC08j/X7cGyv2bGWk9i8QAuGBSxLyOPHqQjEF2aB3lBbj87XZ/EtgTjLs5GvwdFAHoj4hm3
NcQEHd0WDw6IQZetR6XlamNmsIHCRJqmEyGmaBfyc5Tg1Wj64D4tiuRW6zr909RFdBfk9UZk3hKK
M1PbM7rjZtaG8xNiSey+bb2CgKRtUfdKqS6/r2qEgs7pEtVDGyNt27FjKYphq6/Ftm2rpN/YfS6n
vuWLmp/kALWu++TRSUv+IRvzrRlse2YYfp/zNJMlxZ6ldT6c/kFdRgxrQ6lt22UYvRpApKbzATaj
wtJfjsIDmp+gU3mrSzRcBEk+HqZkrIMzsIDHrYYO254ZzmBuolq5Q748pYU+O3y5CbqnEhgfEe71
CRClafBNknbfSUMNtyBzN+h1O6avKS+isxsFJ1dH40NVN/dlO5XH66ZlUQQzHR5NSS5FsCQvoweE
5Aj5zvk4DaH4Muu6CjdOM9sk5qmvRM8qNs1Pdd4FseMjnFmvoSdChp1XYBNNZHYXUS++5yB06Ywy
JqCE+MFcLOm6mCzabIJis5FxT4goeZEJ6kbPS4YlDDQLxg0PZ5PQ+v8be6yWNC08ktIiJrUmJx0A
gVehdjge5+r1+hJsU6xLezNFWjlu1xVgOi/YwL9P6+vGDxEzSTN/30H2H0xskfSM+QNS5TloB6rh
kKhh6A8jDRy6xfxgMcF/2srfrEJMwi1EG5D7ivHHhohvyYA0ep7Cb/lr5qbp6vGQh/KyVNMWBKNN
cobZ94jFDjNKdV544ThPsxd+68uk+SYliHiu743luvcfTOwiZXpuO35RU30UfXCSI4iGaabPK+vw
9TksqzBRSTivCo8ObvIzRPwdRUBNc+jcwT/VMg/3WYmJTtLIJhwampCLcEGiiOO0PoZhulXXaxGS
iUwCaGcPXSJB+Trn4fg4qpAeC+0/VykaPOIIyK4bm2ET1Dr/GxWjzdAoRzr8pat1c259NJP6aZge
M8CGXt8KizcxwUrcYpiCeabkHuR34jgTqk4D2Xw72EZf/3/z/VxIB/FExVBRKVxx0C6ORs63ElY2
6RjnuhzCnkULSV5WOxA1nutpFdwPOdJ614Vjm8A82vHicTMdkUuaEsD0gpOISARbo0V8uT6BTT6G
OZNq6ssCoFMvuUY69Jg0QdFeCrX0xcYKbBMYJ7eaafH/MJyoQbz3m0+AovqQ4k681SVomcAsBWvc
UVCB7MdTN1F9s4iS3DpF83hdPJaAhlkMxsCdULN6JPd53T+IEUkV3SDVyJLhtHKNdH1I973cXONa
T3DdjrLGyX+RvFDZuUmXsI+jRGl/45Zok5NhyaLI5773+vZJTGHzjPaVZTiuqHJbOQKLqppYJlWe
eOjXdkBZG4ocBZ11EqMwDeiTm+Fv22asK3tjy2JucjdCsuuC4vf0iOg9iRtQXZ+FRn5bNw4onYm7
U1qGZQtOVFqTKH1FvMyJzn7vBNn94kiwR1/XLFvRhVlcl6N50MNrkYOPR58JuOjRkvMpz9v7asWl
VPJS+cPXsatikJLfXp/T8lAwy+2k9nHJjPr0dc6ALz4EnMa1zj/29dJ/AUZXfVqK/HasnWjnRdQE
PvFxTI19XvGLv3gsJi2obFtR7SrvY5FZgCcdX+XeIsnTmhfOEh/gmH65tT/vmgsGN67pUro5DUeG
WEfJq6+4TdcAAKLp5+s78a6xYHTD2uc6rwAxkUVFLLzlN0pdkqOv+MOSbpby2b7fMHc293TKc8d7
kkQWAMYY2Z2zdP6GV7d9//r/G1NsFhRTFr5P0VoBhl80LoRgmkOUd8miP/skZBj7PKGHL4CBPBEg
1fu9KONgYSXQT7z5vG8Gw8QRps4ZArsI8ebhF9eZy5tV/R2g+95cn8C2Bcbh7YPD0etAa1bESed2
f6VTmfvRISqB57zV4bzu5n9S5tAj4/iWfuR6imny1AygbMc1NonRlMG/0275XUja7qnzwDTGIZ56
PhNJPuevPkrcY0SVgVWPDkvAYYFv+bqwLBplFtdFrt8MeVeRp5Iu2U01i+4Udg1Hf4be1UDBIrPA
rmpCQHmJPnsFJ4T86ndlg/YdECNf9q3AsGmthK5cNB1dVo3tXfdv4P9nhyiA07s+gWWzzYo5Pfl9
BRmRp07RZ7AJpgc/ADMHkLGaY9ltMtTYpjFsO5/qnErq579kUj9VtS5uVUd+cn8ubwO12XpgMQ6z
GE5Q1vBeRoCOdnnQ8+dKBJX4mWSbLCPvHnbYbcO8Z16HWtYd6lbc8JsMuHvh6Go7iAJO0BlBTgtk
x4OT583L9d2xLciwdpRJz10ERuLXSLTyiA7B7gha9S2ML9umGIau/XJmYVX5Fx8vpGPeJvzvJHfq
2ItmcpupPtiw9HfvWJCaYelLkOsMybvmqRXTbVjKlzQfcf0R03lMGDuAv3JXHphFZumbdNkIYEfS
PKluQpW316OkZOm2WD0t6zDL3rKIsAIg//mrbFuRg8kpQK8/DbJDKIvoo5eHzqkf0uR0fe8tzsus
gxOVA7yopoR/FCK4JSlXp3QR/bmloEDcN8WqGG9OXAE++IXgXf+EYr6pOPdVUN6ExVSwDzMh4dat
x7YQw/Z15hWJ0EV4IWg+xBW7VB8Sd83e5uWWo7fYiYmIIgMnCDxZ0adZ8BD0Myy/BGLIj9fFZBvd
sHqOuyuheeI/Baj6UL+pS8bgLnAAmrsVnrKJyLBzl/KszsIEyZFUoQ89dls0uq9Bvv42W8pu63mw
GvY7J7uJiSK4ClQnRI2mau+nD277c7Ek0dch8cQhTFHZpT36gZZ4kXq0UV8bVs/nJBN/9onRcAN4
pKNPQg/V0wxs3WPB5V0Qkfm0a3CzLK4SekbzcsguVdr+kB3RhzHaJGK1bI9ZDCedSRZBW7ALirzA
ITJWyWmtHixB7LYnsssiE0dFZUgWtTRnTxIdEgfki+ldVLU7LykmmErfNZNf5nX9lLhD90E4Sn7d
28KAbzfsu6xGWdfItT2hMHVGCeK4aMAnVOkW4pjF/MzyN855PQeLW7wmXo2AMJPlWMd9mM8bZmHb
XcO8tcxpheBX+OSXyS0i9uIQ0O7iuU2xMYFtAYZ1T23eoFo+q5648pBsdKjDslhL7u97E5jlb8BI
nmYNfL4nwimtzgQV1MVN6Lj+8nOfcRmWG9Aaz75IFOh0k9Nt5oXDV1x5hw3dtxyrZtGbCoHgMoIR
+pU62k3iPKTIOvKwGeN+hK0dnLBrP46EbSqUZcPNmreon4EzVTXidSz7tdl+WmJakiVONE2P1yVm
uVqZNW/pAFiPeWbBk8uc9qHs0tB/UFE3+0d/VGN2KCtvlBvysy3HOMVRMjiGwsNy1shiPGr2Z859
cWCk+nJ9MRb9NavfUDQYZhM6uF4lAlfygPKMZDrSvEl33kPMAri2dWSHKyJ7oljMifjqq45SecPH
bsuH2GRk2Ljf+hrXMypewYT3p2rgWZlDn8cU1899MjJsnCSiXACYm7+mtQqam6YM/Ow2bEW/82pr
lsFRLsXCQAn+6gJK6c5BUfBnvjRbHCc2fTUsPJVtSGU6l68NFPPzXEjYYVXUv1qWZjeyL3Z1/7LI
LIEL8PwDZ3jpP1UtSA+Pfaq85jLJtBH7XJXJbEW8NAU3bVa8Etmlp9pvWnRbz0kZX99mix6ZtW9B
U3cTR8v1U0J7/kUOJanjbOL6GfRuoNm9Psm7KVgIyTBo5kkarh3jF52V3/QMZnC0LAC38FHq8FEN
6iPvH+pUb4QNLdZt4rIAljasBJmz16AL3BrAWeWYxTnXwT5XaAKyVE40BKPnl69kJv3HRjOUDBbz
oVr6/qVwRvd0XWi2ZRgWXmjqC3hV+vRParSbo+lODem4EeW2jW6YNxzfREtWiFce5gtIkaZ+mUDV
Ukb7fLhZBZe6IQpoS0Gf6IhzsAH7Z5lVKg5LpP+uy+ddzQ2oWb8B5gYf/fCAxZjc+4r87KPvyi33
OD+MbShs7o4ymQnAs7os/ztUEZqpIrFRpfOu5DH2up43b9RMFXXTF4CKnGDEbvZYehtb+u61AwOv
E74ZGJCIGeErkGNagvS2Ovj5a1B9aOpfddpsyPxdr4opDJ0s+1Lkk8a3N448+vrOm5/wDFZky1HY
9tTQyqUL0VVNMH5S8DMtdIz6z6Oct2KDNtEb8aFG4GYcaCBKg5v2ULXTDQcg1D5tNM4bBhL0iiPE
cJr4H5H9Iewv5m01l1k21qzDmEWP6/AEfJbBeQBTeVw67TGfHyM8a0W1nK8vwCIbsxJjcrJMRSUZ
T24fnpoWW9rpZac9mYUYLcgUElliBX4r/Ecy9PpmGBB53DhfLGpj0sSgVJVgJ4FG0qJThtH+Zsz4
ETj/G1pvk/867RvDKjMWKuIB3Fg2H8bk2+KVhx5wH/xu3mSGsU1h2G6L/sQILT7AU2k/i/JmAth/
5C/xPDgHWm9ka21SMozXZyGpmwDYKmH6EYWqhyq7YcUWOJJtcMNyvXEpxIy+pJPi2QN6+G5Euaag
d5U2BiBG/vcWFJoR1PNCO6NCnicy3tEQ2WxwXKR1tpGZsBmAYcFZ3abhSLHLuXsnojT28i2uXIvX
NJP+fgflySYIfgl/R8V9Pb9k9V/jdHPdcC2Sdw3VicjigrobPnPR07HVywHQBXEFXp3rw1vEYhKW
OFNQzgVDheycOOyR0gHhyNKbXq+Pbvt4Q238rNOTs+rkCHQBQLpn0X3S/Nw3tqEzHW2zxsM76eTX
+sxVeRwVP/KBbTgdm2AMfYmcKR+AQg9YKDBZ8o9tunGMvy8SYibs8ZRvXb/GuGGZffdKJPfG+r7x
iw0v8P5nEzNlT8qsSdiqjB5L70M5HlE58fu6wG1Dr87tjZ+cW+CE62jB0LgwkSCJ06neOJ1sQllN
683QbR8NtGtz7GU6HQEd88KWBUXU/p5Kx4CYFCWNikI8nQFiSvwnYBdU/l+q2Gpg+ofd6z9Bagy+
iuvNt/tV6rrLkDh/5gpgE+jB+lG0nMRlSD+oGf8I1EjlffNUhxyZUL2wO88Dxgar3E+1bB6naV/c
Dl9inABhTkIZTUDQb9sORXiIRzlbLFa2DTIMeW3HG8d174uwPxMmgf/fnFF2ucvJETOFPy2srlG2
AiRxUnwP55LHEeKbTe9toYXadNew5oTxwB99nF+h+wedNIdx2EJotEjGzNlL4lRRsKKwjWh5WZJj
mtZxUDxeN7n3jxZiZuujJQ1ZTWDNEY3uXI1sV8Ru8my8L3Wy8ZKzSIYbVi09kTlSD0CR0z6uneRn
MPDP17/eNrRh1bjrz3kDrtATAEOObcSOAZCJrw9tk/r6/1ujo1xP4PQYTzO9m0CiSuW9ml6uj237
7PX/N2PPfshmR624enx86IPq9xIlG88I29CGhYJZMuGVh8N8Zuex/SrGv/d9smGeS0TQojdiXC+6
UeJl1tmuUxAF1f+WRQDKH4dTDOx25y7/pJqN25hNsQ179CeUSfIZDj9Ei0bcoaT6OPXsmXdeeesX
pPx2XS4WNTHz61NYjwma9/G0Ij8S8YEgCOLLXfcPYLz8WzReUAeRO8BwuhF0KFVw0pH3kGxCMNo+
3bDLnGkB+kRVvfpj0cXCr15zAXpP8Mrt/H7DOiOVloquj/1IPrC2jpcITM4b5rnK4J0z0QSUCWUv
HMFwElFvOnsKYMmcAMUk7FWcVON5VPnTWPCt8mqLMpnZ9GAM+4ZMQG71wA3ZxFNQyCmWugHocVBO
ZxQQ77yNk9AwYKFdj2qUaZyyoI9xBN8AT/EwROXpur5a/IOJMzN3FI+jALfxkJZnPlXA/UZt3r6x
DVOepZP15brfC3+o+59EfL8+rk1RDVOWaYE89vqw4sq5myfwGfAxPYxZ/WfX+GamfFoDr2SGnY08
j5ul/sF4dwibfcQdxMyVNygGHhoGsei6OeGtEveud77+5ZbdNJPkHVscoINhaKHCOAudWPVbJBK2
oQ3jHfBGDsYeN1qPzzGSUcfebw77vnrd5zfHn9C8TCuKu1gDRP6THmcC3OOMbNwJLLZqJseBAql9
NYJJVKf6XjNxwzMQU4zecXTTrfz1u/mIgDDDSJ1hBGDnDI2s+QMl6bmnr11214U/PPCitvqDu3UE
vF+/jpmMc1fnHOXEYkr/yjJ0REQRIkcp2pt0m9VxTcLlthCOF7cAgRgTUt4AaLg47tslw5q7pPIJ
mBARtOrOrP5S7guTEGZYc8KAbxsCyOzks+Lge+3tVJONT7Y4CjNvPqOLp/ETKBbtbnV03+lXtOXv
u6eYKXIE9EuWRuCPQL6jRaVWK1FU3n+9Luv3YRoDYmbHi1IuUqc4zjrlvJKGgh9Sxb0afg9sOgaJ
AjtME6uFHQa86/1uQK25YhtvV4vBmFAxM2qOg1pi7iBJb3lIHwXi5kMibqtlC4DP4kzMfHmkZJFI
ho2Rlb4piRsHat65L+uUb5zJELrLVGZw3jm9YwgA0Xyr+c/20YaRDyMnk5hxS3f6z0n/K2k23kM2
eRsmLQp/pP0CTRrG5buTuI91eQQPQcH7ffcuMzHe+6grSyrcVvIF2L6PbnjbbVHR2SzMMN6w5eGK
dVK9Rk3E7hqCSaTu8mM1sp1+x0yIawkkPGdVx9DJbngBgNl6V04xIGYqnAVU0CyHBY1pFS/IGrtd
HAUbN1LLtpqJ8CxpZBg02Fav+D5Ed1p/y0B0l+i/rrsIizaaKfA6IkXlrsyOSfOhd55Df+OzLTtq
Jrtl5KKqdmW8zVGn36fdIQEObLkVi7QJxbBO10tciVZKPAHYS+R8D0BZD1jfA21+75OKYaOpq/p0
7mD92nvwEXOvwVy6b2TDSoN+cmbhY2Q4w1ZWCzj/9vX1QA+NozXretxpB0hFlChPam/r/Oec7QsA
mCQkY1q7al5Pkra7+NU9807X5WHRExPTJUBUGfVCsPeInpzi0yw/Z1tOxaLaJqBLpedMpRmaPQF0
gOqzIfvlU3cr92nRQGq8cqMqzcATArMEVRDgbiZUWCceW2KRBiJWfrcL0y0gJppLQXo3aXiuTlHf
3oZeexnRU9/O7kZQ3yajdVveHHO1/B9nV9IcN84sfxEjuAEEr2Qvktq2ZI1sWb4wZiSbKwiSILj9
+pf09w4ajNCM4K2jDwCxVAGoysqcqD3lQX8URN0uBY0tuQWCNjWt2SiSwShNHjBDrhVcnCxZBc43
6hxMTWvmWWY+RfVXqo7JyCOG2hmgGvfZp645MknUtthrKDpRQCDndjPEVtfI+PpuN13IPM1Ee0Ea
5S64seSO1UdLlZNPGRvEQx3On0H35cRuNn7rG4ccgN8hsRh8OypAqxzJcJH71lwHeoRp6TQygckp
51Ykn71d0B3i6jgPe/Ibp8tZf8y6MkYtbJwE7HB93gwLruM7JPErL1C1OhKWPDt4V0cI6v/Y1bbO
ThOWE1BZAR674DFoLk0/OT8ay3f2pbV0Vpouqck0UoEvX7ooCKe4UruglpjvNYb1znbHsbO6tl+f
0iN5qeR8U+QI68w7b8A6jol1hIghQPNBcu+HNE6ncudqrj713YeXw9DYs4CNhc2yHGtY8iGUm+rc
hhNF51WRVQvTYZY6LnMa2fmX2rkJ1c6kiavZr0wIazM3A5zGzn8CUP2DpPzg+RnZcBDr8fFB/FGn
TwmtqnM6C5MOQZhfjM8LiildP66CgBxZuTzNkrQbXRlsSkfvKBT8S0hd9McGR+QYqLPALWqXSemY
ndJqF28BwxzSlohqNmXkb+kZG45dHbCz0BZFWSXpj3n517R8sucpCppTSTbeUKY50XamVYm+JgzN
T5AYi61QTieUMm+Rv5k+Xjtsq3wMmzqFWEAziUOfPzrZMxJlB7LzifMn0fvOrpqepg0A6uudJPkr
a8m9RTeefqZ50Q7coBCugkL1gMxSEB4aSFpFynL60/XtYtj0fw7Ld99dYhuOpcB3S0nPAO2dPSs9
99UUucVy8BDLu96NaRCa7XZjyotlVQR1rHtppxHHFfx6ywaX8yfK9m4AhZuCxIAWuKShUC0dWjtK
6ulUNfLtevuGL9dZUgBYxT3tz5c7B1lcwJqxr13tBAm4PTXTsqhjZg+AM6Jkph2ScsO/fLiqAFdr
b3quEPepeObdimX5O53IY+rW5wRUcysXvBdu0WJ8aFQU6eR/Hyaq44NCTDlD0RKoHghbrGhO6Xdr
AoM3NDv2HOPoRZspf+kEF5kkL6mUkFRKoEJKz1Mvwy32ug+XGB2ss/huC7UVasUSiHO8dGBLv11r
a1/DJIM28fWV/nCHovl19t41z+aZzBUQ6Kj3wWqIppYPNVQqQAeabyRG15n4z8mFHjTnBsXXrAoq
q3ilw5B4B0n77KvloA4kAysGY8K5JSDXnMFas0XSZthguu6hDaDKOKYO/VOyn+ZZcTvPylPRSJOX
wceXLMEmh4JpeTQH6AhaCctHUUg7Z7aMA0Ya0ObViu1hpsbsuf9en5B1kK9pS/4KKYP2PikHZKOo
Eu3L9eU3fb7m+qgNiE9WtdWr01TOcKhC8NieaqtsN2K9pvY1Wx+sOStVgWqTMiuwDBktfzdu2248
9wybV79DI+rIBu7n5SupVjAtyNsHJNJS6fuP7jBtLYHBkejXaYp6xMBVNHjxRsFSsNrPixjLCAvd
FqCyyxbHtyK+NHYabpiMYdb0G3bteOC/GUX+WiTJHEQiXHm1aMBYf9i17Hq5gJC9YBRR/dd2bJcm
skk/nlQKkpQNF29aGM3muyCsg8UX/GXKfeuWtFXTxn5aN99B0jZu9LH68Q/8iv6qVDkHjVo1lS9+
Dy7v1Xv5ropbpD6PuLCGf5Sm8qG+WKO1z1j0x6bfDJN0wG9wO3fiu6wYyiHDcGBb56Jp0jRTLzvU
2K4kn69eT566teIrCYsTYH5bFXKmjawZe+A4pC8mAQAG0DVxV5PnIOya56rsSFw3aksg3jQOzeZx
kk/1OPv8BfLEz3Dy7oX3I43zcZnP17evwcHrLxRAAsug63DohqhOrY89meUN7RNyK2pBQTjhgg5w
qHH72jgkDfaoP1t45gwQgpjSV9ercytyWH87eK2qN3ayqXntiHdxONVKSPoCEa7iPhV99mSJcNxn
63qtgU9HuQgCApucueyblMhu9Em17IqL0VAnemS4gQowhf+v7N+VXgoHvI9LH42vM/buduJ7NW6L
DQr/UQuZOXcJC4KshNCS1wM6XqNga1e2FR1px3i6KAWFR+jCjYkl72iF+29cgZxlK05lsAn9JRNC
/RTXN3C02dIWNxW0PR4ESI9/Vz1iEdeNwtSFZt1DV7NhdpbstbBb2X5VEEFSN0nKoLIVoRzd2zI+
Uz+aect+touwzetXkCH9nSdt+B2sLE8gct3iojW4Kf1R09lWppQA5U5WcHZG1h5ZLZv2saJCniVY
lTcmzGB2OgvkiDfI2GU9e6GNQ+9oYhN4DQS0tihFTOPQzLoTNYQNsoS+uIHqLjNfGcPSOT1w1dWg
de36m10Lb6/9vzMSaVWVX4mQvCzczc5yKJ8G2y2AiHJ2gbhoqNeDJOAfZ5ATcfJIDVDJe0qTZm4O
fdaQdiud8THoHH1opp6IxGp6S1Qvc4tIJSjPoFEEeY5kERd/5UPB62r4c6ZDrPJhFdJTfvFYDyGC
m9Z3H7mP65Np2hSaI7BJGiS5UOSWOrP4hHxz3YOqsV/SDV//pwDog2vLfwgim6H2EL+jt/kols9+
01cqEtmIuoaxsEovzvLRaaMU17Ih8jq3WmuqVv29oAczW8G4u1UnY9qemr8o3Z4xjM/5POZLGbOx
WM4gtavjhYdvVqOSfS8AnSxSetnSOUVJXyZeqylyqLL+6Tq72HgCfLxeTC8+sSBl34Z+X7+Oyl2l
EsIpp+qnXMDOvFU+/bHDY3oBirLKYHGpX7/WTXCpgdw71DXDtAV0H7U7ZaHmKmRvN4HdJOVL67Tk
kPbFExCfW99vmiLNP7R0xkrnM7lN7LoDPxZIF5Fb5afrBvPxNkLV4r+9jztLnimB2aG+c4/ba3tu
R9m2JxbUdy5Rip2v92NaBc0/DFlpIcLi1a/TbDUxp85wq2pbHNI5d3Zhw7EMmvGnoD1ZCp+Ql6ZW
w3hwyiJrIh8X2sfrYzCthPvvuZJeU2Rp0bGXMWlsyHxnuRVbYoamyPX2P34SMb3ohHI1CX9YEPgo
fPmNj/XU/Q2kMMR7yDzx8cACZAxjqFtZYAlaQLty3xR1oPYgATB72sXAFp5lzT5u4coLym9AX+XT
uRgcHm7stNUY/us5mV6XouAZ87G2yW3qt0Os/LR/aiv+KHFBOBShkCcrscKtwm7DttbrVMYpd2xo
IK1TKUGmBALfPAV55czFJ6tqt6j+DRtCL1WRuSqGGnxOt2Mw/83xvo+ddCo2LMY0hPX/d/eCihfQ
OIIW2ItXEPv4R906gw+OxnLsD7J11MaRaVoXzQOwZKi4jwzJq5yWvxMOai7b9eVdP/DgMFsJ/+z1
ab6RhzF4AaZ5AYaYgrSoj9NENtm5slvv/4ky3U0qHNOaaE6gwVuAD2NNXubKQ2Cnyrr8Ds+Degv+
YBqC7gQsv0Rhc0BfUHn4V+o70B13436x9z3ImF7g0nZQ4MtJCDKwsBkOyhZ4EBO277jViSTlyDsC
sSj/RYKV9oR6iDlS/bArs0yRMfr3jp0sAXntAtwuUIHh3glsxAl/SNqkLG+vO8iPY9FMr3DJVvVI
MRP64hT8jbIhuBmH4pj04k6q4UitxEVGst87nNVg3hlgPUlVT5YjXuvQAa3W2Pie9cAdUNu/XR+O
YavqEsqlXZezWzX/C3QLUSMB0eAxsKtgGMuhG7ZFwPJNFX0hTUV7BDxTSxy60fL3TpBmzaomaVcw
T7yCAH6IajFWbxxY5V3hOgCJ/z39vEqXuuSITPyRaZ6TsDuE2zTlBu+qF7YMvc3dOlHwehzEZUPY
+5GP8r2viVhfqTLhP/atsXZNB0NHocACSW/LIQ+jdprcmwkyZIfrrZtGoZ3ZyOqlAIkE5Halqi/r
rj1AMutrStnnsO3djWuJoRO93sVX3JpkKIPb1oeatV2AESSR2VsC0G3sNOTn9aEY/Kpe9mLTLhHO
5AS3spi/2ai+jZKp/RxmPdkVL2B68UsCetOSN0NwizDd7znMvCij9ffrH2+wZJ0fUuRJN9VcJs9q
QbIybzPIoHXAsX673rxpbjRLxvVKZcQdk+eJZdnXkU32CUq6fRUhNLF8vd6HaQiaMXPowwthjVA+
aEQ9RUlGp/ToSL/cmCLTGDRz9pc8SxoXFKB54T//WV/O07dC5fnx+gBM21Q7mPMGMq0BQ9qQp2vo
jA9pFV48jhlCPYpbE/AL22G58Sw2jUYz65ZC/gWpaPczbXNoeU30J6VLcs7CTaszrYdm2r703DxP
GbuFFoGMXTiryAmGXWlJple+KA/MigjWpD8yl1SgKZ89YJFcwrZchmF69OoX3++KxhaMXKSy7RNt
3fKOtTQ9IJO8dQ8zzI9eAuNmft4KFOJ9VnRVU+uhhT0E1hYbrmkA6yZ7d/ZLRha/ByXXZwwA8Ak7
qZcHNXZjEU+Tw75d37GmTtb/33UiIKiWzuES3Ipm9ak8rM+LM+ZRz4LlcL0L0yyt/7/vYulJEeaj
9TwWTnLf5Jn9qWFde9rXumbTUrEyCfPEesaF27pdRABe6nqL9Nw0O5o9pyVoGueFBrfgr23iXLR5
BArpp87pd8YL9MIX0VnlwCXuX3nn3CcutMKRFtr5NiSa/VLXdTNe4miWKLmjkRjqeYx3IxeYXvdS
lwWvq0JZz92Q87PKwVMEOca/ri/sn/TPB491vfQlV8jX8Nz3PuFkw4EZfhaoEzgnNHgYCy5Oictf
3KlmMU3oaQrscz+CUz0rcLFZUkDmJ2eojw3vNu79hq2g18rYEFVTcsj4W1haboQzYzoH46oYkG8m
V01d/MfgPb+ZmrB8m4vC8aO2H77QwG+ruHIgo3J9Vg0nlF47k5M+YHmX8jeAm4oyGr3kO04mdkj8
xQNokD7t60azed6TsQSald7OJf3MOw/KppCKTZvkZbGQWd3XiWb6CQ860oHD6lUGiROVlIrvc6ns
MbIsyOZkXb/sKv+lzNf8QBtWxdQvg39xbdwFOcAbEZQT7Q0X9idF+NFO107yxMUxKBvbu/WTICg+
50ifuCkkFVifw+GEY0a/u3ba5uLSpXPbXdKwTuYMwnUB8COHivl8+Ie2Ia/myO7G3g6PSUkGumGI
Bv+tg+2yoCKKeTx5K4oyaaJRVeolWIp0w7AMzf8HZBdIvxGl8i989ubuoLKpc8D+78p98R4dXtcK
IIhsp/IvLLBYXUdlpxbxJFU1lkG0lHO4RQdkGoj2Vpd2QLjn1v6l5WSCwi6Y2nLwhV/f66bGNd8A
mFKelFBWutCleoTUy3CLJOcWvs7UuHYJQAU+7bkMG2B5rMCJfWyo+pxx5uSP17/eEDTR4XT+wnxn
WoZVDgGRpYc1NSdzO7mfh/JRAHeZxWLJK8Ct4SSu92gakuYbFHXbpZtL5xcBkfqpcwtys5stn+mQ
Os9Zaq8LoR4wS5WOX1D2wlNUZzZduZGQNX2+5hFEUYf1zF33VWV+C4E0BpqQqHbErvoOyvTCFNVI
1HlBTvuVZMsS2ZVlHVAa4B3IOFYbdm04zXRkHcLsyK30zHntIX6EuEkTuCRurE7euVZebxj3n9Y+
cJ06si4QZPBw+7aLaCqHLn1COKVJjlj9VjRRGVJHvMiBF5DKgJLoNJIjICzCLs5uPQwdHgSia+wb
hORFEvt1N/7iky/KQ1r2wfLNdQbLu6RO0Tu4WIJx5tH15w4QvTbxBZpHChbhpxgwq4qPcdrJLFmQ
FOm69KJSv6BglRajAyJx4ibdPJwk8yt6GmUzWqdVYd7b2CyGM10vHIFadLcMEJS9JA6I1CD+TlDn
z7I7EOgdrXYT52vqRrtN9qD0p3Vj9b9I09bhcemsMYzmpfSGIu4LKP8++C5vvu+yXx2fVWYMCZPA
9i5uQpz5XIalzOOGW7XaCEN/XC4HYerVV717lth0VvA30DONRDCCJhfC4UULJzTz1mPewfOWkP6A
yPxo5TdlWKnJPdmDyFL/lpK+o+rCELum+QFy6llRQmIty9np+uA/TIcQV5f8HKHzWbIMfBOluEwt
i4rpIWu6WIFeJ5s2LMfUx7rK74bvQNzengqujkPzmbFjR9JTj7df0kW+zzec8IcuAOPQzhUgPryw
YyitUwt5HD12SxNIl5bjVobtQy+J9tf/342hygVH3b3VHwPhRD1k7RfmPVxfAtOna+cH98U4yhKf
zqZvzL7w9Es9bOw801drl0myuMpFFkQdJ+tp9r67zrfrnxxi1P9xhZgN7cyYFpm3blqiUmT60qrH
lj1kKXLPso0c/0vNn/F+2bmuuicIq3b2JPanvdzO/rPf/ajyLe3Ojyfe0dEYwJAWc7jODl9+hpWD
Eq+3ZrOs8cN7CHF0HEYz4nlYJVjVrr5vnR8JeeiCF+n9JsqOA75Rz/Ghn0Qn2j0wsxpwNTQoyxxS
+2wBbOOBLahV/NR204/rS22aJM14Fe8az09RjT+0X1nyi8mbfF8VnKODMdI+91O8nGGzNPlW9c2j
U4H9lowHuwk37rKmr9fMNgPkvlyQRj72fRel/LGZb+dN6lHT7GuGi6pqIgl4jI+pr8Dd9ia87C8f
SnVWtcXgaPp8zX4XOQS9V6KwkdqgQpzVD9ZbX2tvKz/9sWN2dASGqBaRZxUMYLSGm9nPTkS+cWbd
LD04ymd+3reDNBMeO28Qjo9eXLf7HFRO3I/NqS6cx+vNf+zjQFn0b888e2U6MIY6cOJkB58Nx9Hd
eosbFliHVTRtoIhlV+pYOl8HCXaBFOWr4EDveXm6/vGGBdYhFUXYWPY0wLq6oT0Bcg4WtDSmvbXR
/Md+2tHVOlUf0CXtMDcVny5dxuKMNKCGq+IMBNYqKaO+mKOg21X9RRy2jvLdIVk40N8GTlgdbVKH
MYPG92kZi3HD2Rk8qo6mGJXFcSmzylfcJdoIVHFjXMrw81j2Pxri3U7BmB8ahOyur4zBNnTpziWD
xmGNaPiRhPcQdIt8kFVU/an2vTgId4HdMGGafbNhHMEDCQaIzm5diJD6ecyCcgu9abIM7ZTOxyGf
Q7Zg37rQoFy8ByCSDtdnx9S0ZtMEUnZ4kuDDQcAJqkd1SL0l3tW0DqsIlENLPJXQdGYfPTLfMrVF
/2qwNh1QkSNVJlwJaoeu63+rSjyjxuTYjFtpJlPz2mlMeBKmAcGkSPE9aKdDsJwTfyNfbJhwHTzB
2qCxhyVTx0KRiIDLcJq2yABMTWtWm4yIuZUrV4gXLEdhTydfZDvXcu3ynUPw5yC3Om89Ibn1xUuW
z2XXb1xtDb5Zx0sEOLcau8JkZ+6nOj8DHwzc/UMdbNVYmBZTM81phgptiyfoEWqX/BD0C6q1nFHG
3VJsSRCZutDsEyiMeV7jYXgRuX1U0SqqRqAmmJtvzJHBhwWaldoDrNIFbO8Yiq8jVL8R2vfkY+Z/
tZKtpJJhGXS0RD636WhTuMnUSWPXCX8wnr2hhnKl4Nul/E0cHSuhyp6TAtJfx4aAkYx3Ud7fZLU8
Xvc3hlXQgRIokuadVLCsbBGHci7iZLm0mz7Y1Po6b+8sYAw81SJ82oMn0r+pkvDBZvTOddX36x9v
sF1dS7NIyFw3CBIcuariJlQHBfGafU1rtjvMiGazBlcT1NeH9jfLtuenVkzWFqbAcJzrLKFBm+Cl
WeJ0ciZVRaI5D8r7zcR8AjFJeZg795jTsN9YZANTqKMzhfoSBIIVwU26F9mxbV7LxD2yNo1WTq0Q
JRw1SOkbVxxZvYXeM1mGZt296xQBZMVwdx9/8mSOl66KE3ruxbd966MZd9N3TV8Ebv7LLxt1SVNA
5qXTbr2NDa5Dh0xgZSYbYgnYt4l/Z4GSF5Sep7RJ4woMkrTceFwa9oAOnHAzUoqUgrerHr3hQpL8
0Q6r6eDO4mHIfQecW0ixVRPZojszmIuOohghO+HZYt0FPv3bHbKTbO3nXcuh84R2rnQHF9n6Y8q6
C+3Tf3rmbdVmmT57dS7vnEg/9aRTK10MAcdpWc8HSPJG1z/b8EIgmpWjrnqg4UzqN7vPb2z1WncQ
O5j7G+Azz0DORrglHdzR3QDdm3rTXsxVGQRUQuDvSLrw5Hn34L7xmhweJgWd65ECiBVucSuatpZ2
fqdWk9d5ga5mfsn832P1QNPvqn3y/K8e3XiRmNZFM3FGggoQXcrfhJ858ajm6rhw+/f1lTENQLNv
Quo+K5jfH21/vnNVGUHyOUoWBopjG66exFnPN65pBlelgyty3qrJZgiycZH8DUirdT8p6RwcgnjM
Qmix4bFM3awjfbeNvWII/XwAdNkJuxuyOLfQVronLj9VZbJxTTZ1oV3BK946XhjO9VtPahmlXfnU
hMNv2wuRlyO31xfmT8Lnv9FPRycbrSbfpp4ACT1zwX7pv0FhJspGOxrYryEl0QSAFhip4hqRYoh0
Pwr1tU7vGSo1ESQ9e8w5jNavulBQ+0ChQ/fd7djRb7MjJ/2BuV40Fs/B4Ecks7/mPNi4CpomRnMh
odulldvPuGsm/CIJ+TTX36jih5CR39enxdSD5km4VwFQPOHEmFKnOhXIIcezFyS3Y+3TOETdyPd9
/Wg+hHkOEulhA8Oe3IOq+gjAaQsTXUWeb2/hPQyWraMwGlDVgiMDnTSkLA9AuP6T5MMWUn2d84/2
j+Y2spHWo53N0AIc7d9e8OQ3y2PWh8fr82NqXfMbfWuzrIWq+lE4UKnM7dG5SwFPiQqvo4ddXeg4
Cl85pZ2l0wBKUvs8NtWZJ8XNkCYbcE3DCHQYxSKn2iM+xGVkTiNn7u9Su4xttZXINTWv+QinpgjM
V5ggGYDTx2OFBQrb8M1f+i01b8Mxp9MUzVaF2tQBHC9uh1JYEXtTcq/6F1LcJkF6IvYNJVsxdFNX
6yDf+dRUDG3PKx8+tbEOrJvPXVs/hN7wpKDgNSfta9UGn8KMnPatvGbkje34YP2mAyKi5RHs3HnM
3fDUemoLNGYwPE+zbjB8LI4ooES4qLD9NjBBw8eeju1WgYLBS+lwisUKCemzFKSNPliLhStO/RTe
oLowVpZXbJwQph2mGThIdpZ2CrHDBnknvAuzfs7q4foC/IFCfeA8dDiF6zhIFfpoe/lUHfJjHt0+
TZ+ap/TSnrMTj9Nvj94X+965O4KSMv5tR3/91Z3LUxb9hZ/l4Sb5clN9Tg9j5EVbQWbDU0FHXyzu
4mSq/6O/eKeqKe7JpfZObbiK5Wwc64ZdoUMvJsnyNKUYdFs5KHyq7gCG2efLdPYi6dRVSTi+3kbI
uh3mY5hnMWiadja/7sN39umHQEuoEneejP5sqt9V/TjJl+tbwbDLdAJcu5ncenR7aHDZASrCbvw6
REI93bB005Sv/7/7cEq4mPtqzl/VDAZhNy8VyoZ2cRMRR+cmoqxJrNwdVgeZ5H0EMuHMuVmZ6ewN
MzHNjWaB0LNrMrz2wL8f57cs3mIENTWrna2ptSyyGnKIS1unfBgipz4M+cYnG+77OgxFFN2Uu0xm
r6OkuDPmNzQhB4lbq8uqF9E/LYD77do4OhyFAWlSZVkCpVqeuyrqLc8qf7dZ23pH3ozbrurDa46t
Z89GUnhjTxD6GqCRI6BZOKc7Mxs6OW7LkiZkOeQQvcBG2xwvl7J83Tc72vVA5TOVMypejsvBPfqv
7cakG+xJJzaanMySU1Ms0JENWFz1/D4XTb7xijfsS53WSODVGQiEsY4SuKgI0tsW6APHKs7LYm8X
mj9w2JKHgiFM2tkUItDPQAfHaks/z3Aq64RG1jwvtSQIVPd4JQEtUYvnon3I+dfrS2pqXosFNGmb
ZH6H5l2FxAlUsvwHQQFg3qr/Ma2t5m1GYGyy3kL7dS3PU0njdt5KQ5ia1jxOn0+V5SeY9t5FJDEU
BzFsbEjDntGJi4hrWaALR8uIwUWOG7NUxov16/qMGz5bZysarAR1IAUywZWfRMIHnm36va9lzTyL
LMCFt8dcC7f5VCn3Z95vRWwNd2mdmmgQnlt2GZpu+cVuZ6TZ6oj63wd28roTNsu0pSpimp11Sd6d
rTZh1sRbTP3qGRsnPQ1sqw7HsNV1nFrnzKELgTx5DPl8BC9/Gg2qOfh1cHK5t4uLiji6aDVV7iTq
dXWtPjgkQRu3Yp+l6nxDxBp63rirJcE+AdQv+Iy9iQfsxqY3TY9mqbQtIIgqOwksiogaXJjY/NCn
Xxu5xQxlOMV1AqHQafI8FxiANT94ySnrL2s1Q/vg0YfN7fOx5do6bq1TFYC/HNPfL88SifI0eCuT
fW97W8etAWpug26vlcfJBym5f4fAEaKNG27B9OWa8dIKOj1J8z8Lw8dPNhbB+XHdMZjaXpf8nVHx
0e4KV8CoJBnuwrGCyxGHetlHMm3/B6wGepo2L+356JLhZ9J4N8nobWxK05evbuLdl1cLCVowj4K+
Xi2RL5YIV5CYIKh1fWI+9ja2zhNUz10WDBmaJ5D58xS4RsVGyx+//OxQO1dFaHkMgntQ/ym94FjP
gbyMk4x74NPvILSdnnKxdQ6autIMl4+LN4cVdg6q/uJuPqXlZd09gIpExHveN1HaWQvS3LIQqT/j
ldlHM+U3QZ1uXO4Nn6+D1NIWnz6s0JDVr+X8WYW/WP6tcc7wC9c//uMMJyW6bJIIhmFxiSV/kUH8
7F1i/1MWwXikvUgiRshyKXpanan19wAI+skr0j1vc/SrzZpTTQhqEdL+CgPLPSU+5NZVp75dH9WH
/hoKZOtR/c40BGpGgpDT8lcuZHqcnA4Sdqx1L9BwunfCYosW7EMLRDdaZgIReH8og7z95XDhH10I
1LdkLg4yBMXK9YGYelg3xruBWCAwmPpyaH9xJiE4H0CX9C5cVvWcoGjURpm+ga6P6IHHYl5I7aW+
xKlv9511bupOsm+TQhjtR4iCzxLSvwPPlucGeo11CiUzlCxVcTk2XSVQMxnkpHqcUNNYuDf7xr3O
x7txu1NaBjSX5a90YTRmVfjZZkrGFngfr3dg2iGa8wxbTzg0qctfpVcp9i2QZVAlcTADRfMjTT1U
8ZZzPW509qErpUTX7ZDU8UOuehT4SeiKUlV/T7otwKGpbe38oiMEfLrZSU4oIXRvEjEW5yFd/r4+
S6btp4VVW2v0odAs5rtEdnkEytu3tLBQwryTEoTocVU2T9Rjftr+8mwgfIt8AJtGU29EukxrrDv/
OutVVufyl+SeI2NqZRNOMtJCyqdshWMf+jB1/7k+U4Zl0OOrLB2cOpza+a4FrClqCxR6p2KL2cTQ
uB4qreloSwTn+19W10t5pxhN+Yl5pbSOu75eD5S2vC3c2amxzg2I4MZk/EZDa+tu++EhRokeKnVV
xaaKTv5lBMHP7PBYOMMpRyF3mwUPEwOhwPVBGDarzveej9QhjS/DEwOnySn3waZr+xONmil729eD
5pXspPWSVJDwxMX4pXVAaipl8VRPxa5yIUzVugHeub25RC40bAfn0qYgX1/4EBFRbWFzTLtIM2aB
tyNkFvD1adOzM8dr7wvh+VYllal17VJXgl9kFhObL7KYuk8UOOjHHswj5+szbzBlvYAQ3BDF2E9L
eCqbulnjyqDgpn7WHduJq1WqfsNlmPaqdivhIkxnEKjNl8TrE+ug3LG/H0M/e5Y0pG2E+u90ijK3
mDeihoZx6dFbmrC5TVTgXFIwu14gU0F41BRW8tPmg3e/DLTZ2LqG5dGDt62w59lKPefihvlbQscl
rnsQDl9fHYPl6XHEMs1t1JHT5s5HWU4dAz5qXca6s6uDVwX81/VOTCNY/39vGznnU5hSdioXh0Zj
DhbfYP8QNOOY5aicRkzJqfV5GTGHXABCbk9WRh73fb5mH4kDjsJENgnopUtcso52UQzF89QSBT2/
612YNpN+3uW539SDQi1gOwKmSIocuep6iNbEdeRNfrVhjKaV0IyEBTzxqt5lJ9aFTdwulToRSCAc
ro/CsJn0ACMdLSfwumS+IJ/7O0/VfLCpf6ymTU4kUwfard32sx7Bp2K+U3QSsT+g8BOFh/HuS41e
HJtbXoOLJPcvCQqQz+4A6E7a8Q2PYfr6dfHfmQHow8FbXXgsj4JgyqK2ntmlqkcR0yHhG0tgWGC9
KtaSidtXa6okct3qYRjLIkprd0sG1LBN9VhjMkjZLaRNz3xkD+mARAzuA6DEPLqsOF3fQ6YBaNbM
iexmwVEPBb2lxYrdtgPRSuipXZF7SvR4o4+3TirnTn1qhwlM2Yw8ZnTzHmM4g/Qq2SS18macbPUp
DYPmMxU+EPLVupH87nOaSEdGVYBe982UZsu2mydhls0I+KIyYogmWY8Rd7t/9rTu6yFHSO6UvHcb
tI5yeXbrZVMaTypV8fXmP7YFXw86st4H0anL2ztwHc2nkf8fZ1+2JCmObfsrbfVOHzGja6f6QYDj
Q8wZOdULlpWZBWKSEBICvv4ur+57TpZ3e/q1MKuHyohwwIX21tbWGrjCs+vwId6cWzD//zyTgkuq
LIRHG1+rwD9FYEQwsygvRXPw/due/yKWI14aCN6Tcuf5o27vo2A0Kk/s0LkPZLEQ537bbc7D90PK
CMo1JLFDsDep4a4V1wOzSQUEorzRP/iPByBRQM9j98P1o7KE5kBd4S3bUQZsOmuPBXr9Yhr1u7XB
y3nApBkyZ6tvtAf+PLH9NzgLbnkR4NYKvxRQMYb4QpRsNYPg+KyLFYkdYuMlL2ucS/lVgk5GvX7t
p20egBReW3GEC5sb7GBx1ZF3xqXE/+6XcRjmc6eX9ZFQdxPfUGfIkbXmXGkKWOIa6ClBzyidqxH0
rK6zdXc/q2h237Sewpfor+PXOyN6L21dYuOCGRzhOD9D0DQ3xupakFxUBaJTne9tMS8MGUWLORwH
XC8ZBNLdDi1Rf/D++Pk0uxYqF6mk5DxaeOU4OwP3jKmKDqOn3/380v85JQaXfdD+bH2WkKoqktEE
+dTxes/bWMBNohvSXmGv4Qv4O/z8Zle+xyUAofJRhUeQ7NuNuosKu5biFXIC9uVtVz9/xR+Chbtl
Ei4VdXarGFrWUywbTre8LaFcEncDqoHMsCHWvRlaw14sPluOrD5ObxN5Ci6pulZtckgE3nEPDZds
bLANC6pbAJNrb/kij/RC6VpvsbM7y7aj/3dX2eDY2+5z6fTZ0txy6r4SEJcU3RGGOP7iojggS7em
AY/uovMmm1e3hPiuTaCLeObOkmjr1sMJZQdIFz3k90q0On4+f649/UU4t2oiyK3Q55l0+c1CdJv1
jv+bTCBS/vMbXHv6izCGZswAS9EYAkTTlMDrE9Vr0/AbS8WVp79k6Vq1Vji47p1d2aIx387LM8BR
OG1YxFu4FVFwydW1kgxe69P+VK4D3wWOA1Sead8mpxrEF8Gb4IyQdx3O+RPBJUsquIxUa/P684H/
z3VxcMnVhSml0/l+4+ysv7w/d5iIk+xh15WRZfny81tcebeXYuc8rrzRr+K2ML7m0GCKQorjpLC1
wRuH/3zjH7KbhSbQHFgLIMQEwXAyQaBaRbfyw7Wnv1j0YVBJRLTM/Wk1tSgI1ySv7S1JhWsXvwha
42PZHYnkFY5RTfN7pcI7aSvnTaddQXwRtUmtXN9CLPQEzd/moSQKhpHl+rYiPrgk7I5hMk19nCBx
UqHSoO/UnbvO1Q0OyJWYveTqmgbG0Ynv96doRkIwLlrbq0brzT0rTf58Xl67xcWWPJhKu4aLPxST
i2nTx/C5sN76h5b8FgTzSo16Sde14QRZ3wpD1HPxwdqy2k8x5J6CGnp+ZR/EzK3jaQ+hNpq6St1S
572yol0qnve1CvU0LwJbXbcgWM2EnSELq985KI8cMj//fPiuzN1LOi8EWUrbiE0U1uK0rCcQBEEe
vNESvXbx889/COlSVGSIXSEKqPS/gw+6TVWE0/q3PflFSCfoeJ/17EWB/9Nou8XfnPmmHNy1J78I
aVIhva3e1p+ASRYpzIGq3HeTbz9/8mtT9iKiPVFxx7GIaA4rNWYirL9e7McsNMstXZRrt7hYiSd4
pDlenIgCJPAqrVop84ibd7G66TRzZX5e0nWjoe66aKWiiIJ5T2AEU87mnTmDwlub1fZtwv/BJV8X
VHYZkl5sx16jICrPbgWkXN+27bgk5/YjjaGC0m7HKQAAegAu3CmhKvbzt3xlCl3Sc1t0kTZsbGVh
TXmfOKVgvt5uEbquXfz83n+ILBgZhrVGIVFEtWxSktAP9Xazy3nt4uef/3DxySg9e0CXHiwdhtSs
SQS+5E2rzyu1SngRt1GvO1cllB/KRN7BJDYz8/ChlcnejUd7Y+yvTP/wInyhhLu0rmtlQajzwS6o
dP8pwcpvUWWvDdFFCLfh4JK+CvByu+aRnA+21dtnzkXwrg1cR7RHx5MnJ7NriUyKbpzf/XxaXhn+
S+ZtPy8xX6ETcLSwPqqKkk+o5sp6ghvaQQ0V5HIPTii1ucGsuzJQlzrnEZ03oQHHOJp2Wb09ch08
EIa29d3859/n2g0u6upJJyh+l1iigwPvLhINDRu38PVtFz8P4g+RsHoD2CKbh3m0AeDebkgOThgc
33bxixgGZw+WDWOvgGA7o79I+9LP4Ly87eLn4frhydGNRJHokPEkaBLsKmilfICucndjYb82iS5j
2IIhIp1NnYRFgbISbPhgn0FJn9Lzvv5tX+EiiIOqktGitDq1KNqLfoHzR9/r4ca8ubJ+XYLXWjgr
8L6T/HBOEW0QHabolXfqsFb+d0Vu9U+vzc6LUK780BO9Uuo0rZhAxu2qR6lLcmMGXUlz/4ZV20QT
zqqGea6ZedZq/tij35Wii/rp56/g2g0ui+tZY5bi+OwUaAfw5bWtooKouvpW18vbpJQD/yKAA+1j
+RoGfgi2sspA+HgsIWg8Rs3Lz7/DlRd9iVCDLPFgKF9QQczTvQUojlniH1XX5nNP73V1qzd05VX7
l+EcxF6FIyl1KiFqnVu4mzzqbghuQTCuvYqLgPZUPCUjhVEyCcQTDBvg+LvQD7D9fBuAJLjkwfLY
S0pOB3UaExTrcEcuFIXn7c9fwrXBuYhlAfv2eCl95LoZUNC2XGjL1NK4t4BC165/sR7jKDxUs99M
p7ZxJDgUXs13eoN67tvS6SVGi8jVWHhkbEcucFw0xt1LsvL1RhhfyaaXGK0+Li1CFlFGlvCltPEO
S/Ih7r7iFP7WHvbK7Pk3lBa0EfiqXXXyNvFB4Ij2jofYufr25mnXlTC7hGol0nUr6oXqZIBUYHgh
785HJ8fR91JUS/QODZI3VneXaC2IZUO/KZkR0RPEziNHMajTTOmb9wWXPNcInN/IztNYREI1uhh4
FfyxjMTc6gVee+EXsdxOw2Dizm7HNQRihPgzpLi9j2KjH4i4pRlyJSIuCa9Q7yY4gPLrQ6ngn7lq
mCrMPfzr3hTPl3TIfoQnZG22+gAniK6ogsBmcDG90fG6NpUugtm2cmmp9eoDTDM+9ttYMpTE+6nX
n4zBpN1aeqM9de1Gl6uzFhqBUTf3ONH6UMXBaV2gLrHM70vaQJlW3bjNlVdxidQSrR6TLZFj4XXt
xPqIPN6eqle+wiU4q4x9odYQ7Ic28iJow7h14qR2aTSIzhGvHgRIgqcYhHlx+Pmbv5JJ/g2Q7LT2
LPXPD4I7fEtXO/oNJNDd6UGsxHjPP7/LtSG7KLxLp1VJ6GvYKfjrkAOoPD1JQvo3vpCLpdrSUk+x
tO5BDPTbn0W3nPktKNW1Rz///IfKexpkq0Ki3AOJOrSEy8iRa1o3XN+Ijmsv4KL2DlxobtDI4OHX
acy8KSYsqmH0nYjEvbHaXZtUF6s1sTNRnEzuodTNNx5OTRFMW7cxVcsJNCHbDcyNG5X//F1f+0IX
4R6B1NM48+Qd7HKu889wMGPHddcEN60Lr72Ti0Dv+6Sb4OrsHpLaCaqXqNMDLXg7vRE1FFwiz2Bm
MmoopuIGkcNPJUgQRbiV+m07oUtu6wgOTFTj5PoQnbuRgQhkSp1bp4JXFqNLyFnUly5U48voxMOt
usc+TqamQiMSysfRnVZo2f/8NV95B5dcV6JFRxq3q7HRchW5Bx06+g5dpWl9/7brn6fXD3GXNHpr
gPOUR6vofTn2TUrr8U2yyVFwCTxz2maAo8QWHNRUbtCKHAGJZFTp+MvPH/6KYUdwSXDtUT8Rs+AV
BxIQVeJD3a0vqyk770wFQDA8hhlcC1uVFBn9NQjVwhIYiMwk9m9Msmvz4CLoJ7N5zaboerSxqVlL
yhR6CnlU+99DrFg//5rX5sBlqDfe0lEx+odEh/NzxWd4STmtp5y3VdKXXNg1qtsZSk765KkBba0J
6CvlpGvpjEHInGTxIYvSwFe8f9u+AEJvf510yMAQ56XxeuQKkIzIH7009soPbxkt/xKjFo2LssE0
hTDccR/bGk3GUOAM5W0XP+f+H8JlFTW0XCIRnvzZ+z4nUPtrRffuz2v/19fl/1TfxdM/0VTTP/4b
//4q5Kp4VeuLf/7jVfT477/Pn/mfv/nrJ/5RfBcPX/rv0+Uf/eUzuO6/7pt90V/+8o8cUql6fTbf
1fryHd5m+s/r4wnPf/n/+8u/ff/zKq+r/P7rL1+FGfT5ahUXwy//+tXh26+/eOeA/a8fr/+vX56/
wK+/AD8k5u8DR9T/83L/85nvXyb96y9u9HcAC6IoSfwkJJgYGHX7/c/f+H+H8Q6JKKUeQT73f/nb
cAat/PpLEP09iaELRkD1Iq4fnZ20J2H+/FX498CDOjEJQhL4NEAv/f892l9ezv++rL8Npn8SfNAT
Hib8E0Pxv5i4mHi+Rzw3SPBwIY2TS2wcXUK3mYaQp23stlkJn8aGgB/WrJXaoY+S1hAxS9e5gwth
M3O2ToHLsENSj3D6hKWxhghFH86Mt9xP+TC9a1RZ7jvanlr9EMOf5C7QLqDfk5tyL6xTFZsCmMIv
ypM579zuQDHB0sGhW7FweKmb2eTcOM6+g0gCg6MAZA4H4WRBkw3VItmEEz946oXraeDtHXinT305
SAZB9yaFc5ZlQw2cM28ICESwR2ZNiZ9FvUmDSU7ZAhL0YRjqfTskhiVDMqVmoBUjzvIYxSRduR9m
3J0lEyvc9NzSZ0PJg2Mc+g1rjJeXY7KLZSvzIO46Ns/DlkYAzDE9fKGh76YxcT/C9mDKmqDLq1nv
eR1+t3Lq8wUSl1BsNGDeBTWoiX0DugNlk118aNv7e6jk8HzcBOgq/hjkflQuTLXhuBtqsHl1c6gh
Kp/bSqAQk+BCezEQJTC3M8P4aZrLh01CdkQDpJSaqQyhdgSjb6peHCHDdIH3Wuptj0oKn/W+jpC2
8C42t9nTuISmeWVTrV2kfwCGWFdvAHs427zzZCRSEZkNMvlzwiDk4YEkJdgWRBWDeFPF+iHhcKxo
ABKNQnzej4aMbFPudyICTif8BG5bQV3YUIF6w9xZfdaEb9kqx9cl4RbshgSH95Cq9Jzqo6OH74Ot
R4y5TjKwfTMPu2ZmRVSnYTu9KkF3tkm2FFj2LnU19BRcSFomk3SzZHE2JsX8ME/hUPiw75kcb8ti
0flZVZU26wYnZkPX7/EVOzD6lM+0hia01LPYSf+DGzqSzY1MyVrhkVf1MVpyWJt3OGDwIfCUrKl1
0ZwRfqMOtdIDS4IhC8yZ0zCIIuhCJ4/s9JnKjLqhx8QS1XnDI5K7OrmPXYzfqgEKLo2HQCk/aWmT
Y9Us8Wnr4IWnGtWyMSBbxruPsD1PFw7jeZp0zITOe9KW950707T1tvtOg7WGaa5TKpOH0ts8Ntdx
MQiYUg0wSN/1BuRfEcVZM60z2yK5w/7QF2uxNNFL71UccRCgF0oYl5iLXabdLc7gbdVilNbfjLuI
Y73KAtP/g9O3j4bYHjEUwBJwiSY2uy0zW6t20Mb8oCsNT6NhwGx3+mPpVxzuXijEuJO7of/bMoyY
Wkn/nkPqBNDbkWkRQuQr2jJZabH33KWG2dpE0mXsYGKHTOKeC/UphBK+gwnvJcPnZK4Mkxv8Setp
LubAx9SVvQ+02ZJyHdi06bcwgzORlzWRkOmq5C723K8gutapR4lMJ7Kk/pbcdV1YkMSfMjdeNcgc
XmYr+pzgsmnrzgiUvn1tUdgflxZMkrnZFjbNzpHzDdwxbiAUSV0vh0d5XoWuZGXyUM28ZNPoetmC
AxEWKNkwGaN3UdUoQlq5C0exggJdDK4L0S1hCh2pfdd7JvVCxKBZjQbjgOcrZNZZOA/42srP9Iqu
R4KyDBIBybPE3jhDHY3s5pITqaNPQd0ObB3mNQXIhlsLjFYpgEKmUHs1mN4TkNViO1RTEiOeMTBt
3A/5vHaHugRoRarNy4juY7bE3sELImTXBmiEDr0p2SygjuMcLG0DMNNBKXRZ0n9bSD9lQbyqAiQS
/EBGaQfXJjDlN8kqiHCl67TGaYPZPcVJxCacAeKE1HmOK/5Ri3sYoQ9Fm0xf9eZ8Erz5MMdnN4Xe
OXXw/nqpBjdJnWHbQ2Xqa0O3VwFfwj9TpeRNiO+N7xZMdzPPfRvC9BQN6w3Vcs7dumSS6lPTUpIO
ye9mhgAB2Jw7G618X5UfI7XqHaTI9rKeVV728IXz8Xjhbyh144YAtEjDAIsb/92fp29V4i/ML8kE
xTI6pGpOy+PoVJnnds9m8w0A0X6XVvGKSCadz4KlJhnf+JNySZGgGU0wEojU1zixsJ/s0pGegF58
pwEyl0Fod1XTfqPI0wxyqVUG8JBm4DEzEtgiGr4OGxxyQ2++c5wSWYy2RedMH4FIYUpAUaP1guFg
pfxsOhxiLNGaxu08M91hzbMmClKgljhTpJR7qYvAt0FaSvLtfA1vfamm4EBd4aeSaG9ntSMfeqfR
rOZtMfo4zasj+Rz2pnmpq5WfgE0ZMLTuU+yqIvZRLm5uFaSeavvcrNVrj9NkBDsUXLQ7JdlUosG/
euK17f1cDyiLt61jaM23Rds7xVj1aNKXyFqjFyZZS1y4Z7bBPTbRvxPeBk911rimPXZGEERm95jw
BGdDdT/ejeUHFAmFjtGiE5ZUqFAa1luPFxvXI2s25xlROkOJ+cG40/OmLE8BtqnTUt9JWG6net5+
i7iV2bg0nx0ZnUTvga1Uq101CPgwzNE+hHYa67Y5zNCEehcgG2RL5LwkoLuwQSUPfTSL3GRtIRzI
7HuB+AILZWCay7BBho1IWkIQLUXb+LGqG1ibyuph7ew+cn0FJ8/1Xd01n3pNWFDXWCCW/sGFlHEa
Rz48LJKty6oufohJgvAz9YSgi2bYIYswR8nqYT4OHXNbozPSnvRK+my1NJ9cHM3xDql5LXF/kDRM
0M67cV3vB9mNmS5Rm8j5VNo5HWbPZI1XaUbW+DRtRp8gHsuSpVzvTA/B/djkcONti6ZDrh9hyZDG
/mazaBId4x0JEexjjUam/YwG8wKSXYR1u4tn1ldrDh/NiS1Ix8zKuE+bqO+feBxGzNECCtVb3sik
2UfG7D2KYJ64/7WesdNdBM+8yk0KYE+eIacI58rp1e1lDVUslJlyYTKEuaKjE5upcHJzu0FOgiyU
0UVWO9lAUNWXSRbLrsm8aMRKQ4fdAkvhFJa/K/Nb4bzoJsiAvprSxnb0cykygAarzB8ZyJVtN0bZ
ui1zCp8U/7jG1Zxuk00dN+gO66LqnbOg47ZsUrFwG+K8vJtL7uY8nlZYeDQfrdHu+6ELkf0S+lvY
dnO6eCDAuf5id0GgnoCFCHcbfDaZVFWwWyYYrDajSNVST0iHsZ8vLbw6Pe2uBwoJEukndd72Ayav
N2Zt5NMscQbFztshJn2/2uPM9Ei9ge7iEirzQwAHSs81mQxgRwt0PfPUXgeJ2QNAKFG9s6TWMei7
8cta0pcwrl7XelseVMhn5hjPydpWahYQEgDUePDXBmXa5mAahQLcGACN5mQPvQtn36zhWoD4SlnI
Qy8N5VmxM9n2+KRhMFjGI0TL+7gz20E1JZbC5dg705ZPqkZpzmWLEnNcUqeGn32L6rfhTZSSavgq
dJNkc10uWGIdFykeTW3dtmHmLaZnUARcGMzK/sCmRiJXw2MqdKHyuN5Z0ruZiu2zo1CLk81p0qBB
TSmTpGhgcXZnPIjYtzTessa2mWf4sO/xlwAzV2yca3EQuIqq3CmL7VayyEY0A/GMgnQ2qFxWQmSb
RlUJ+atsW/0xc2cvSYlr7rxoptlQlr931Zg5th0KTbYtc8U7Tl0DA7Rwh3K8T0mMdN4NJc2Ut6S2
HMe8qT7BZwZJfqs/eQEvCzq3H5C2H3qy3muIdPNYj/fhmJc1qqWRRig6SKN2an2supmB2sdfpmys
3leu8VntYi50HIGj6/0WUNQkssEQdBB4om1EmTDJIQHfCtOCkgeFMAjpg78F02Garc7Gmf7R9ptC
KaNwAL/tGgJjVuq/To4TFJp3bWoUYGyNCHEFyCPgYCN8KmCWg16bIzcGx+vffDtEyMdSp1tlv0CE
6K5KliRdt7XCPqh9Dv3q2RgsgI4Dc1qudwLukYzSjeTSW1RKBCCRW/MaGPLBGJ5kFjSwqkkeVRsc
QDTkzA1RJg5GmJSahgVdMhwFrrdhX1Zs1fSboX42WHTRkF7Hgptw39cIalecnMWp2QTw9MFd4IkZ
fuwWjpN6ak+r009MzKjw+rrfoZZA3munMZ2J2BsZoJSpxpAJsc7wiaH1nb/AoA1Jrk/jgBZrV4L1
jyLRS162KQKoije58AOPKd7fw+5QPEVxnZsxRjz52P2OEteuFQqFhb43ZrunI7n3ZqS3vhsEZP2r
KquGbr63pQr3RI8PyRT1GCqsCevgOvkCTXrYitsmrUcUMMJfvpV1U9/XCCN/Lb/Wpkn26KtNd13Y
7iU+OyON7NtJC1Q7lQeb6mYXgUF0gpe0kzvKQMlzJqmgC2HY3lHmLGK9082M8r6xEPdcmmGv6g1z
dpFB6lORt2XY3rWOPTjQnxz82sn8JnwGfsyUg/fqu5/VyEc2+7TbGzo/zW3IGTWjt19cJCI06l7q
eXCPrhNgyjrf1mGgxz6EcsK6uHucs5ushiceYAIJPfFx/lxChpHpxGkzuiUe2p8DXAZ1dZyiVh05
dLXBtBrTEvIsOayD7pqO0qLv1hEzl+/dUVVMEFvDc7XGPnZpXij3JFPVmrB6nI4zEImLlHd1R9/F
TQWrZOJ9AUegPSx66LFcnte/4d4loL4tcQo12zVr6EBSJPWW+Z7mBXGXExQcIYuddGhgLN2dz4N3
VVOC7t6vNZywKHIbULnMo9uKRi55bQGGZMBbHiqvNU8tLJBYSOp6V1HsRuNiDY29D9cYdfvoBidJ
11yYZT6guk5BfCHMO2fgaf5ebq5bOJ29WyteqACx3nk1OcVtydwE+1jXvITGmfZ2nd87dmsP6P3V
bA3pCR1YDEF8dGriZTSu2oIH8AifGp0Bq5HsnVU0DJ0rbOx6ArLjtH47e8FnreL5du53BnIKsn4p
v5T9WqUOGXJw17+MU3POpC/YCDFlRXzC4kbhwHSIiEKR0iW7uXNjXAXRXguew8oB8HNHgRIdJF8t
+Wp4oArPr5/deaJZ6L8Qv/UOIDlu1qNFKJF+wEcx2EKLMocPrbZbX6xcNcxQKPS6Mja7rWpr9E1K
7D1WE53c8qzai+IPraVmMs7d0FTvoVFmGYE4Y7HA5OGkLdyG3KbB9gle6qmDNlk++YsBfVq9hEN9
to3BsoJOBxaYIUTB2cMfWykzpkBVolhDjaHIcgIWCEkRT7NYD7srkOpOfmf/WAbd5Wppw5NTY481
cRyloetT7truUx8kDDTL4WFU41GuNQxLmqyrAchfk+8Qw4C2YwMHynLtxMEzeKkhKcXOUY/JUPZH
PHM2nk8EHc/2mafV154uz6r8Xur5a9JjT60aNLhcWub1ko7LgEwdAHeg3oPThp5eaZ8APcmw4ORJ
K5Bc+rbMXUHmbBjdPS3Bd6vcr63BLrjRzpD7lUMzSNy+D+m8B+/4m8IOEEt7c65HRD76+miBoYBU
uHmA8Cu841sg0UPqZFvo7dyW6qzsDS8c2qbcN+QgSOvvY9cDO835hMP+No8PmEB0xkpvQ4DcDLbg
6Bt+GWrvM9C3dbbMoCO5YPuxMVLoI5XhcyVlWEjKv/RO97QQb9v5dWfTruLV3qIiu0v8vqhxMLf2
cAEKPDmghl9W7LyRGailqM2DBWwC6rDV2XhuQhnmHbQYsHzYeC8mlYcG5UykM+iMpdhDP1URhdjH
aJrdEoKy55IhpWINHj+2Sflxq0yTmRJWqxvRSyGGc4AjZzlrOe972e8oXvSd0tFjC4v1Y2j5Q9u6
L9iuhrjm715iEpD0ykOzVIfFk8fWXT4qkYWyTi3001DIf0EdRVNgkbHVD8SJU3uPAucpWEYUtWaC
Dg05OZx8kJG/NwOqwEjoIIXq8Q4SVozw4bfYJchNGgXwAEmfOvkkx9FB+wnGzlSV+6XCFKznGYFq
48faIRELB3RgQ7SZNllFKL+b47AsH+C4fh+L5MGqmqSu/BDE29MI2TVWNoBuQos66yYUPgQrEYNB
OxissQX6xVte4DK5sSR5rgL7uMb9fk3e1x7Jwu2woWV0wGikG1f7ye3u+sZpMkdVn1qJqGqPsUGn
w03OV1NbywKhU9F0iino7zCOFOignTq4UPILUPn79iVS/qdkbR4gTvtH4oXILE4OBTusivwhGKt3
UJLAHq1+VlCqY1vSfoq5Q9Jq7mUmOv5EZp48jqeNdrmJl+0pMi2qqHJw02UVvw1IWHdhH/yBTX+4
6+BUinY//HVopI6jNF8IVP7jVmPWIuCw1iNHYpx/d+PoFEUAStHwm4mrL/WyYQWMzAtFCBV1NZs0
wdnpuXYo3LAN0sBbykPsInFV0VggNrHHjfU9CXr0aIb42fgbvAvr0mG98F/toN/X0oCWAf/0ZJEk
7yF9wGalq1QI4zFpxR9qiT8ljnyckd3vaQUw+MpfQfr+armPk8dZfoexo8JEW509VAV7bNr7wt16
/to5ISrvUO7mMXkOgeRn7YJu6+D6cFnD/AahH0FZe95O1nxgSjdfogh7tHJ7vzrwJodazrt5nIJ0
PdbUH7JyVg7WSnQHA4jPQOrRHAG+iuG0jMbb5jf7hr5HV7XK4gEtla4cd/WisL0MpUydai1KR35e
TX/Cb5xUl9ZmTWzQAeNLvUNfCCIVokL1suq1kGPzIp3GpHbbvNzvJVyV8C9d4uqLn+RyUejBuY5b
SNG8ujMGLDB3DhQA063raNqUjz4kJDM5oIOYyKchIZ9FZ343Gh0xX3p1Op03w8Td8llPr9gB6bSH
mVP6Z5sLvg/7GXV6WoVoScJhaET3fMu5OHs/q28dBCQy2g0DoxFGY/Htt7Y7xnXTp90m66KFeE4V
Q99dOf1T5PXiIaEV5hAiBzY2Om2m9iMOk99PeK0sLDtoLLQ2wonCezQGu3Sj2LXHYt6DopuG0+AX
gbHp6urMNc5rW3f5vNA7+KzoV9rAfmDvWBDeRh2jX4M2J/Z4mpUOnZ/RaD9WA5a6BOw71kTtzgmg
AB2PAXYF1sKQORbYw+W9az7XVfU1nOpsjOZ3EE9wWCfcj/2CdlK8AbmP43uDegaNizrqML08xHXt
+C+dDPcSG2uoT6jUn1Ea8njBd0ZMcKhTMZQDryVBX8SJNLomIvxt3QI0d6fpMCQd+IZjz4wknwKv
W3KszNh5mP44QzPjvqt99HwRnwonV5jHCscdWAF60IJy43qKrdgfZDi7wtwQU+aEhrM+8cPizIhp
0XnPXH/180YFn4gJ5l3n+EHeYjXpl+oLWtg4/RHTPlpXlbocPYQRbJFzckW30EEWj8QDUFOP/5e9
M1tuG2u29Kv0C6AC48bGLUFSlERJtER60A1CHoh5nvH059twdf+2zn/KfTr6piP6psJlSySwx8y1
Vq4cdTPZtWab+ASx4SZEGrtxwvJhshcmh3JVn2XbA+CHTiNukZhkyazTSisftqFhcu603z2UtUfw
XBraW/UnSfTyU7jxf5vNfYi/Kfjx2r2nc39jgP8f4nwlKoX/mvK9bbO39n/sfzTlj19JX/VLPzlf
TfwFeC8sXTeEZQoPpvZ/kr6a+5fwTChfacG2mi7M6/+ifYX5l+UZruKDcdZzpSKe/6Z9haH+SQrp
eAbieAfXlP8G7bu2Pf0X6evYuJY4prB5Rghf13vvkCEGOxXCzmwfMQPJn4GyfIEWSMPuk4bnia+b
obfp45rWF90HnNLJYYrZYPmStlWE90lgC3APTkxnzjbcfulWFuVeku7pTXaM8grtntMS509vyVTT
VyCsdqGtQwPOzcadKvo/2z2wkNT3WDg/Blxbdf9jtqsPc5teo1Ee3UkHyfbyBw2zz43l4m5eRnJj
CbCwxjt7DVlrPrsYHZMc1Xr2OpnZXa7buB4TK5sw0oZ1U6vU0XWotpTJsp/cCPqRfqxBWLwaaflq
zCLdqk+L52/WH7Wfq1Dgl95r6zAL05Mu3DpzB+D5u+CiaGIrq2Rh+QsPSJJCdigpQQeSh1YQ0O1e
UJkbRUVZEf3r3MXwu7q42oFFVmF7ZzUWicfgotQH5iuLO2oXPxUeI6vFREiJsTNGeXZrbWdRhdzN
UUcaOTMwVXhp8/wYqd/rY3D4hph7ycGeSeDibQO2UhMdjBHT74AcB3kA1KaestKyb9nySQTueaij
K4Vp5z52L4C0M8oUMEKwsLL7bHbhBTIcT5gFNjzWsh2S70vqnHodvUCbAMHW0PWeZ6XbYgYo8sJ2
zw0+bo1FJ3Kjun1jDfGyLwLtsalUPB6aD4bz2pT5KU8C+ipK+eZp+Y6EztuYHS9i56LfgAneexoX
udltHds+RJOklNDkHvDkuemZ2CXOffUHu9ChpetxC/Oc3lqTGA+txBUbiGmTJbwLlcnZJnX6G7q1
EQ7b2aspIX4SVNpACs+dw7N7afdldORrX4YPNPJ66sfi5DA2Uav9sAp5Lvp2Q6OCMxkdI2kzM0up
Zb6e8kQjGkRfutnOtpxb9cOtVjyGS6T5MOnLfsD4ZqJGVIvi07qrjCh/rWV0k2jTt7AtToZIrnod
nMvKs32Bqqn3vH4TkqNKGQt/tsOrGJhbT/BlBWyV1LqjBVxa2awyta6LpjyZWQ8S1rGhBYldNn4F
XGg3c+zJTSsNQMPyKlqLgdDD61yAffXWpVFv06ecBN4M9d18aiH2N27o3ojKRioSPOdt+hrLWtIO
LvB13V02msF7a2X8eXaMB69laO0wvtZGeoTB3k5p/Dzo0WcteAHWyqBs9at6AQ2OC3EHjS27UL8O
DbeenVQ7PdB1tCbhta4WIsOuf8lCc+vOFLyatl3u2ya5z2LT3GEEcEpzw68cnpiyQMfvh/EBQ9SX
de0PWNJtgCzCzVTuZ6u6l5Hxtr7d5KR/UOdKJSn9/VTFDsrVgVps3Fi99/bE2IdA8Pel6bdpQh47
9ZsiRBciSX4WzbpAGx/dWJzSaEYEoh9MIgD4s7HfxIU8lWWHmcSSvLmW50ce8bATgRSUwdLD5Pb3
+lw+O8+gFu2mAqGau4XdrR8bx9K3yWA9V3G2s1Jj4xrGjw44noNYntRPpW5ymxVoVKIMlW0cf3G8
AKAg2pG0sT8qYClvyJ+mZmMt4gZ1wnYIp2PeGce+yt8ire83miW2idTuRJq/FakzEi79cDXjsmTm
2YzqrRPrENVdGYLVETBqUxGh9TgErLqNqxcfa9K0ZUG5EvF+C8+lJUBzhRvfqq8xxwAmov1uq/dt
XGP2DTF9l5JsNoKpoqvT8KcSSWM1JXw/V5ZrwdfDjnDXvZOOMmwmrK00/LAyLx7vpYapg36oAnp3
u/KCbdehL43XjDo4OPF8X7cILdJyftCJPNVPewuTNFkQ8R4SV0/HZb2hU8xIT4XMNS9LzQFl6D80
N30TrtwBer6FBUNO02mTfJPRQhS7c2f3Q5vWb1ZpX0yPf0452OO6+DrR9wSQlLO8fDOcAHRKi15o
BvzmUubhG27+1lnurd64XzLBGvJqRg9SSduUQNTh5JFYBLT24rpzqdOHj+8DP7HplMqQmgGsomGa
lzbq4A6GkzE6J1Pypuu/LHH5gda2p8Uyj2WSR7suITM2pxmVTwPy4PHOYTrTBGrgnGYV0oX2NHGu
hZ7c1U67d2wUQZrSKPSjOJmg76JaDjIFPmhT1EfqDfTEhUNL3K0IW3oH1pd25TfI+jd6Wm2IN2a/
cMyv7siSTxJwnVqHWTO9ID0skcnh3+P7VKVfqOv7Q+Xy6vvzfnXYNouDRr4S7uvd6tB7DWuyWjd8
y+WCLuJj7ciTMqBcFsZI9OVXabG+9dmjD0VBXl1P+3XTlazpkCu3CrBmM41LxgFQpvpx/UfkQyjF
EiZLlJdOhjuM9o56Wr6pn+wLg1Ux529axldYOmvEtG/ChLQi7bO3qrMv8Wxe4tE7WdjB07Qg2uhR
e0oMyVimDFaPMxyTSZnGbFwGUz9aEQvUbdnAU0GD0NLSSMzq3TTyTd1wSeuOWCoH+NEKeZebH/m9
2UeUrJPtTYfCGjb06751TTz8S49yg2hObsfRvS3MwYcx40MMpT0K+E9BZ+24waZMHQI4mm5n0R8i
jjXBgTdz+BnwpL/E3H9rGX/VLq5a2PeT5DoGbvjE167xn+yvCw3PCxOLxUQMkj6hfbixjMfOKE6D
W7y1bvlWYQHkI6UB+0pC37BZj7F5n7fkxcwf29rK3tTJrH7eQECHfq7Y43td3yDNk5t4lF+DQt8u
GhGLo3PQFvxCWC1H+OQ7PfzUlsazR+dF6OrsTeQgHescaEH6paynZzVX6sAPIxQj1PlVgXNKUuOI
M84hKJy9Gt0y5rdKMV4Agi69Oj07wz51QbFsknkzzDdz3T3ESIZM3eYIUndKnx403B5NDoxo5MAA
3LvEfGxR849jcpGcZobDLi8QmBRpBtiTcWZjWvyjaLXZp5NrvXFG+ilx0gQas1vEw6tmY5mghcND
17TRLphluY319AttPKAD3Xs1f20hTurAdjGPARSpNr3ULw133VQqpiXjV6g5O2bSuTQhHrMfagXr
/POsU0L7b25ZiSTH8Tzblo7Kun5VMTOA4eiBzygl4mnpyle9zl/bpTrZOVWyZnhpIvqWD1pJNJcf
qwFZXnVx7OVusIpj0FenOaromiQfQM8BYfQNNH/u13V3CeJb08uulZlXO5pU3Bp990LMkvsFENgN
nti7MLor9e4tqYujJrIT9zwRmPec6Egiw2spPNSThFF1zRPIMrkWTXi1p4Qo2iTBJ5VP7S0vtYkC
1CllEnsbF41AKqW77aIRBi4C6szygm6+YQpzVp7nBHYnkPFBl8Hk/4zLzOpjOnk3Zls9aW72oQvt
lKXxZHVkQ/ZtqSV0/DYkmBzzawdZjqpvTA96CE9i4wpTz/2r6ZTH2LN3a8RqKwawGpuB5pvpTjiI
L0vHbTYov1EWEt53BBW+7M9LTLg6QdLYaXjRuvBbr32ahHOINOdgN6Vk13NnzT0ClVIUOcAUL5Yn
mdyYxXQsgl7czd7obGo3pMBLhYtucRS6don6m8YpTsQZHPV1fA5TcVwj6mAgm7CKFCh1+qYVGuws
QN6sW74Nc7eTkdX4bYOnhQtEpllKYEPQzFVWEfZFfFqnkp+65LOjYKcvwdk1iEwpOb9aOXHmmldU
eXlwBveYztw0s8Z/kK++aK2JqAD3h5hGGSwbtZJqFWVOJmuOtSer4lVMxMiyB7rprOkAO3qdFpIo
E/0QYNx5CN27pA8fDC05pFp1zGOSszm5L2X6Ggbpq5Hn125SWUhm3DVp9MlQzzyF7edc0OEmQVdA
c1Stgy23SYm8mEAqno0jje9e44EvUmnImmkvSOs280zKJ+AQr96syY2qqNvmgth+3sXt/CUNltvR
jp6SJr+K2M1Iv407s0ieycOyzZrK65HxkHaslMUSy8HShCTj45HKyDlP7VeB7Yk/Fjn4asObmPYI
odUkzHZMYbF4zfL8tRHu2dbsg4ruA+Z35AabY+2hiL/X5HaCUdPs7JhF4b5mSJM+wWy5v9Zdci3V
8OjG56TLP0WBPK/rIV7oZl3BH/eKHw2XUy/zVxg2dEkuSY2aGmvMP9YmnJYD3E2qO953nYuYVWMj
x859aIevBTMel6Hw+xwH7z751DW886gmu7OXTTYbn1VKs643lXpPSfkyzenXRv2Yyt3QfyAkd/xc
lscojV+zVp65e89mxsg4+94snmM7OZSa3EmFTTgB04pm6pkaBMS8rU68y2guKonuqo8IxRGf5iGX
uPg6tMbVCtoDcmC6gdBlwVeni9vx8yr/jmzjVMyLH87qpb1mU8Xi3mqjald0e81KP5aedy6D9NiQ
8q9HxOKmy77NitdJveAE6ju7GBQ0XGoUxLzErkUA54XXIvQy3j0+OgZJ9ppMpnH60vV48rbkj/gX
vsqcEdAS/t0qnUM5f6va9qMxlCet1MGA3E9leI/w/7P6usxeTqPSNMllgMGTZ2Sdm5AunjBabBR4
gOvIR4e9Y2xKE/zdc6dDgtK90vqGvIH3k2HPFtO1U+KMT6JS/9Px1xl7mI1xlbN2Vo5WRgPCXeVK
vJ5ILnDtRWFAeAuRQdeHXMyX9fU9VjkNKImQcKRL0pgjsNsY2JegCQgcH8tNJmmJrgoRSnWQlj5+
8mzUV2J+xoqT49wAM8mXbVsr0f9cvFZxeeqb+uTMd3abn1ovhMh2Nq5XnNoB2In6M7Vi1bLUmuIk
4+yqVWxG0L2Dmzm+21Z8E5/BKsZd5mS42UWBOJ1BvUNU6J+G2km3hgaoCw50iszsDYTchakDhTMH
7eqI+SlTjwrxxCyiWUWAqZ6uVciLjN1DlHDclZ25+z7ZMXl80IxbmclHsTDtpUb2jT/ftI1ctBRE
fIvOIMlG/1a61sPY6uYu3lqeFh4GdEue3RQw5I4vKoUaMKWBOqTV4kDhD9D3oBwd1rMjNtLXEQHm
Zqjsg2cyvH3sndWanLkj1IqBGRmh+KCLqCbx0lfzqzPiZaVOinWSTWNpqZ79U3fptXj/faToqXoZ
B9TTJD//PWQorKoJIGNNf4AKDyNddfRBNpumu7REGO5V+/XqnoEE9DF9zfOa9kWiuHHGRW7XTYlJ
8Q2tNz42YYrhjdPFu2r0bQX3ONaSkL6CXywpl3x9M0dAjf8c9JhrMem7NxC2RaTrSss1rfe2ZfDn
NN5uSFfht48iofdW2xZ7zdQvdkecm5GLaVm7n9LmXE8fFoMcw1nIBUPYk03ZonaNFNCgotGSkoRa
q7cqEg1y7xTob0mPHnnRWU49/cN21jKdVUCZiQStS0IpBdky21hD5RXI7Ro3LoaNVMJzT9Ykb4L+
cdHnhwTmamOMo+fbgoBwTWQK4kWFz9RO98GpgSUq/FGIjRhJcm6DKHXNhFU+HZu8VtDyn4TaB9ti
108wV2lnfAxSyLIxb/ZLRcQeE4k7CcGNNLh6Bhsnpa5+0WX0Eo7ErmZb3jqT+xp1RumnJAC1fEQe
dwsEBQpIjrQk/e2Q6VfMZV+wHO00Sp0sq79mN9nUi5tFgBfPWvMZbVuxcaCcKDjxEmAkHn/slApE
bG1dniK3AlfS7IuCB2D3XzTro0JdVszGwMoDDc53dqaqCOdr15RDymlPK0YPPTcvUHb8/QSBXgYt
UZ5JSbdb3nnIwPw25lXKOrkUzoPZPWfpdK8Gye1osZgLpFX+4DQRh0D+fc1YOudmGNxbOp3P/pT0
cmcPhKVUidD6wQPxDZ2DSjM7MB26KtFs1l1zE22yLnFoXGLkLnNxCcvgSy2fWmIcv6pUamBUWxMF
ANLfzqMCZnzIpulM3Xm/G4X2XaRnhN1vWB690SL3hgYiTypD0KzwtkTV19blXv3/OMlHSSNUcwTT
yQoSXZUxDOlj5Xwqc0R5DmuPyBCOtXBOntW8RLpAnMiAt0l2TMvmw4pbaCpbwZ6rJ8xmbupKv4Rh
eUzJ44l2VWJteZw65M5rajoN52GCNJgFY11ACIdl9gNstNwURXmihOutXDNElcbGjrGbB/tmysv7
kWWXCQ7fgUtn3ReJ7dzalLL8875ejY7eb2sdfsC1bddzjfc8jG6NIfB5YvoKrF2DzGymSTLa5xU7
Bg/6Dkl/axLTrrwMbrkPchCPoak/yd78GSOPY55uxXBftcT8Zpwd17O0/BRTUbhZevcuNR3UuwQC
9iD8eEqvNj9kjRP1xjrFAtwa6oDOu+lYBtL2pdUdJs9+VRfoH95X/l5prBgR9ounO57wLKF7+ruq
/NIa8jSMBN+swr80+U7l0l6p7aGj85OrrvsV/G+i4Dzw2O1sHyqreE36+Kqia3W1qqRqCVFCeLvR
fBkkQb8K7GsuZjVQdLe7sz3ntsnqE1nBqQ7DSw1crvgQL/b2nbY1XQT3iOcShNHznYpE1fivgaaz
c+oeMQTxZpYHZysh5BtQrI0LX+Pp8qNT6d9CJzuqbNJy1IhHElVg/ZyJ/BQ5wS4NbQTjzU3WkF/M
MjgXCdncuHE8B6QVteXGHOyHpHOexJyMW1IplHskjTQo8DZYCdsaWSh9eFZWLRPO/ZCYr+s/Us1M
v6eCTI67FT7/qJ5YvRaXRoTYK7spBdBM7Qxc4RQSbzljHqOwHNYQB+vyEWVccUOpv9wGLeeYYz1P
ocoRGmojKZmLCgJEEz1XnM836jpfA/Kw5+vajBPYTcCEy1upg9kHC3ls4Ylt7jV3a66Wk7X7dtTu
RnSd6ATiawtYR/8r2vy6GQUiJhVn9eLeVBkyJBVTQyJ5SPpgw8qQJeBW1Ys7TQ+JTVjXU93ga5Qm
OFp0F3fhbThDmIkWFYs0jXu1WVRsrNIGL9pTroaYtgRqGR7K/Ku6yVX+7ZjTqSBNmjwCizWRyUOu
FfVsS8fHKZoogXjYoPtJP1DoiKYEeugmbihMJY7MVAgYptBxhprq0i38WOQgoIV9jw79mogPQRfT
5F3RPZ7JWiWjMaFxVipN2DysnnRfcjs/gkCQrpEoz17yAeDpAEY/bpdafYEK+1UMiIY8RVeJUDz6
FihSRwzhTUhnsTDSzmuWviag3nPlVPd2bx3UApCZdj/H5SVoeczSTK4s+kd0f2ovtIE4qNUbDXxN
YI6XfDj863OM3D4K0XwJpDyEnsqYmRNrYT2xbVzX+RFSNdpPd0Y1nJ3pKA33bLEvf2bI/KhLKscq
+QzqgUqf4VHU8FCjiQmzk/oslZ1GnDdz4fhFLZ4sq0b6is+S3wQ4RlWUnYrRua2EdteG/K6KFTuQ
nD6LnsqieMiW6BV+6pRpCmdh/FTYiSwj3a/RqHQJNqUs7X3mWY9ZBmWkW9ODWbjfEjQrm4Q2NYh7
Nv1cdJTU1Df0hAAHU0O+ZklYKu8XS35X6aj6ai1hBGM1VH1KsYswJ4oYoYkxo0U9bHGvckyqkwJh
HSFwNJwEuEioNs3ctJ8Lvd+uwXHOAbVmTWsGoe3Bo7ZmDQI5NJy169JYj2OsDpc9Bz7DN/exX6dY
oSjcRoELCTG8XXePVJtsqcj6OrhfPbB6GTYHlVQXzDNN5/TNB6BffiMrjoq/w97krMZonMcDaMar
iqxxbaIMgDM0rqMnY8keMrKP0IqvKQdWMRdfaVzyUpqGvmn15yamEhziAPW04sZVTmWzILgSFRux
Jk5Gbn6xe8IplZZV+IstWfSgiEaVDmmyfHMpu16Hsg+oZXG64WZ926UhgQnVPrXGFwKBH3aALFi9
q760L17xTHtqNrgCVAoje1rMrNw3MnwoOocUwa323robNOoTaiWjZTmsU0n3XrCWRL8f5uCkcrkS
qmGypV9xNPzz/bVCyr/d17bj6qg64PkkV9l7yLnHochwLMJZXdXdqKNXuPNzO+U3Cl9YRovT1zYu
Og1HxN7Lmg8hUkRr7vdSI9xRj7xCBurYU9PU5MlTEC6bib7WdfMQlenVy7M/XLrOv7tzJeklskOH
goj3d24OmaGH+Wz4Uc4+j7KTsXC+xgZv4BgaRGH9ze01v7CR2jZX4eXH6axUHI1rH4QCSMWKYAbn
RlPlV31HVQOl2QO3G3fQitGo+3U9zNXf4Jt+G2vzY6Xzvrbe34usv60L94DzKZUzcNrq/uq85EiF
ttzGqogoS+NtVxhPartpaY4oq37KTNjcUDpndQSsybmrniav3Rstt27X7GvdZonl3iEZ+eB52o/c
40v/edbt361L1qDFRbRju7YpDNLId2xQbOPb1rds9c60L06zcyukKdgbUv4OJRQE2Wcv/yIdauW1
hJgMQFwoxk2YxaGMhu3K/SiNBhXPe11lWbP5Mgvthc67F62BjKGtPEkPNTFrPqAp2lQxDQJebM2Z
FL2geCIC0CVLvyveIO7hbTEaoAITWXFtzJAXqXmBgaT0PE1tKmFmH3sCXA5agt9/HpHVZfTdPhBY
BHhQZI4kqFNL7hcnkWXsm9jVBsMPkKbfWs5NvOC7SBZw7EuORigMujBrZ7oio3bBJLxypw8/8VwF
jRlzcQAhPKorgtwLpWsQATS4O08Kyta4B2cMAypZUdqJhKSOj5Cbj1xGq05gDB1nE9kvTTc8LrET
bXoVAUYZa2rEsaFG5qhIclOpoWGP/rAYDDXZ717d1XljnsczIfvVYvnl1WO9cYxyptZYjslXQ6vP
cKAAO+U26217QyXDZnChXhzv1PbTTTZEzziostOiIPYXQZlH/qfOQ/SZ+jfPZEr+HhIKgxH9PSXS
c2nKnpbI8ZC/eml5XO8YhahTzewPLVmyQlaVAImC3+sa5q049STCJy98HqqOkmyUSApmLWdxtub6
FFO6Noz2USEiCuxcTPFUyuMiOTwKCzCo1qjYj6tg9zNazmIk0BE1TIuf4BKoT6vkJVATrn59lti5
iK9rELZGMauwadDMO5DYbVBpZxU7deQcngIc1eGj/kL2FNiaAXYLScuBtYZvAi1TVnJDx3Zw7jou
DEO2D9hjPeYjUNaUgnvmxXGi0eTckMeqvChLxjeYCyALzmj1SireWk+oOO5vO3hCG+xyhVzXMKbH
/GmTW625W79y5VNUFNaW+9DA+EGFkLphvy5DApuDCG5QqLQm6o0r9bdVOpRp3WkpvS+KbAgXsgVF
szRO8oEQ6alQXJHhjV8S1CwpERhsHX1dNa65URwSM6JOQ7uthsCnUfQB9wuuV7mz4gA/GmgHNVEr
eFkQWiopS0JZQhTpt2FR+0LBaPPIjd5P1qsQByjQg9EJF3OUeLtiqiaSvz6wgZIVowGdqCBe11c5
TDlmVyssrw6lXhE5QGctT702+B3Kr3XRRIp4yKzo4xy19wrOp3zhpWjTh1DPr4U5PpvS3qptbCqc
1dazmyKrHyswakX3rBHObKU/7Nj+CVbjLYfxlUd1eJczULY/RtHVHtnvmp68TYXZbLw1tlX3SR0E
D1E1IsgN6321gG6tCWy+mK+9DpC/qLvFUGqxes4QJN4O0d8yOJd8IFKMQb10B9Rof6Cj7dU17d3J
ABNtGKYlbDx63tskgpRmtg0o7qtzMEm44rjiA75eRekqOVFpgOJenJSkZrxzIElMTfBn65xFxXHO
0lPEOsFNA41QcVRMVt+91ThUOADPk0Lv1ZFZG9B/GXVsijhSpIWCk9VeUcSUSpIrPXhaNooOVRyT
rcoiJ0qlqY2xt53+IQoaff2gbpcl1Q+1ckZ4qn55UcCtsKKrIk7VE8jWPKPoVMfpum8LNip7W33c
9WfeLaKvfUPZUyRMplrpFtGqj+j5MUyLQK3bIs931C6/pRjibFLooQCzIepHjG3VLQfWhBL0r5rF
ASBn/UM4P2lG+IXCrlccOnAJmBQyULyqVZzbCPRCklhjbu/W1FnlKkGMJXLvautCr9YcmIAkRdng
BfXz6HBwrDNvqqhNVC8eFPWmzshJP/4AASZ8VzyByvfVFpdWdcJE5jRnSKzmZFMoreBYJq/qcAqj
cu+gu1wPKTVrFNiUfuzurPqhrvuzIeJDtmQfBhw0dipbwq8oX1eES3rIon4x+mFL3nDWx+rnqK6p
5XokznGFzirF8M3LXnGrJDZKXtJWnViKhNNkfzcUNOUDtJKMH+s5fUy96rbFoCBhq6pgej2McxhN
y3aOuQqhQM7IXNLbMAOWf4Gug2mBmVA5spknb5ICWZUre5BaK5VoKCrRjbIXNl5BROm7KvVSL29K
j+JM4FBeJXAH7mgl8hW6/WRbnGIqbXdl+IrqmX+6b7X2SfM4Gn+S0TU0HhujCBGTdr2vxi7RFCHB
scY4qWtnlR0bs/EUl1Cef2siefGVXlCJZJJoP/BpAeKl0qlWfCDrQu2JQQ+eG+9Fha3q4ZYO+qzg
UI2m5B5Q+CO+AOsWwZ/mKiad6g3jWzXybko80EHSVVSC2+HLKhhO29z0G9DVTTbwSpl6L52fHcv7
nymuCXRQh5n2rB567NxLg0+IVzpfbKm/zlyz6Ia4IJ0Yuq20nxXKQA1KlOvf/hUEubLfykD79hMD
cUJ34z2ox888teTVuDrZzkBlsV+zLhRhxylkA8zOGan1KrNOl+Shs7HWWBlD+BTFt6Qy+2A3wy4e
gx1EPEE7sRX+DQ7y1kVq9/V0XyiwZV1RBmT6QuahiFnFYHXq1luZy67FxEBPbquaBEbRwCpJVuqI
oMcEpSrqnRInrzmdsLoPEvjJpZ6ChIgZUTSR+nm9IiYgol+4b8fk3FCvvFGC0ARUzJxsfyVD1wtB
LWZFL0omryiC3QqmjSBcMKyVqF4VKrHm7GGXvKqrtlDY/IwDSPKYUmaG1Ve1MQ0SWrVz2uLFzvuH
eVguREu7JO+ejAaqtEMuzIeqvE19cNLwpVRHYzDjq7tLMdeCck1U8dPGUGeFGrhALeE101whiN4y
7yyT31pV3BTofRb1i7S/gyK9FWW6Dwfv/jveVY6/pizFYh0G19uauVVuDKWkH5Ph6zTxwR01tAl7
eyrEueIDy5kNiKuCLwRAGWsj89VTxoWxHUa9ogq8I2sKCr8bOWIVFpFQYW5F8kO+KsIVRVsN0fcJ
B6KKj1Q3e0twpMYyZfflqX02aBK35gL/v0TkD7aALj5+/3WJyD4usrfi+++ugOpXfhaIWMZfjhSG
J6UuXFyaPbKMv00Bvb8cXZqWDgdoYcmnEPS/XQFd/S/d4zAlugB8szxlp/p3eYjj/SXx9rMoMoBH
AIQQ/53ykHc5DgiHKVAZS08YcBKSqpPfcxyM7owpse1olzcoRmu0j7azTL6R4kfZOvOnzsB0pbFt
ArT6wiFOSfZcVvs6xMgo7lvKwW2Ear0mrD84UK+W8v+KsdSTkYlbuoWXHiEW///7k9EtK40aLB12
gZ7cOd04fbCi8SnXiI7bZqtaoNxPVrIHGvvYOx4VHiLeJkHn0uBGnvTI0+4sLd+P9fSQVWF8KLPg
6nJ3PJSWi+vBhDvR2NTejd5jaJS3+IiZVnPUXQQxZPLT6Zcl8W8UjO/6Eau34YEcOoLDFiL7em8x
G8HCIwJraDTm6d4dRBFS6wUbZEzNCt/F1Oy+KDu5c+v4c9hEqW9iakEvTGs5al52k+KsggujET2N
SXJadjXr6lKaxS6NSSNQ0Cf3qRYn920+7P4PHtzV0aswGRbVTO+cRHWjDabcqKJdWLnuNpwooIfG
OHWiS55CdKZbSxu/43iQ4HmFJy8+I6AcIqHXEEIQ+2aJhvzS4pyRNfmtTJcnLY+QnmNH44dN+ZI9
TGhO/+A/a1By9UvizmCD3ZCye8KWLhvLe4dZ4GGUUdebuluPmqB29r7lHd6F7uiNftwn0ofmAJxW
NZOecIqXhKpG9JftvdTE4//OUlZJ+W9LWViWNCkDMyhTsc33/RkSZq4RyrhuqXQ020F/oJPkMQE5
8G2Z9LsCKvxnHTUSUfTQY35jIla9nfVqOvb4zZDT4l7WmtpzW+bhgxZ2N3FiR7fFYh69AMtJCRr6
5Q8z/2+fmr53JspbaqXfj+Iwmb3eVdhkLYuOG4TI7F1JrSr61q7chvjK3RKIImxPx0eY/JtRtNUx
zeznUeb1dp65m/oOFMsLrUst7sDQxQ59fgE7+1AXcnyI26z7w2q11HH120ibrouLKmCPg3aC/Pv3
Q0NMWk9hCY4TstLujJZyXsK6Hb4jF92plk+WW4JxttFpaY0Uo7UaZ5l8yLSXPMY1IDDyLeWuwX2j
/lN41rcl1+SNVnXuk2GH5QeBy2bQBc1Hz+6wYggqkPD+JtetYT9E7TctqcRlnI8gQwtWTlN9GAcs
thKvMm+FLOkL28M/1fie7PBwJbGpsL/CMexPKKYqHvxPowAEjIgEzayuO2p//ApcVaFdDIK63iYY
80PUYKAU9x6+hI1Dx6iWknU9924mq3buR7edEMDg3Sfj+JGudtX+n5eR8Z+WEVOCbJg7Dm9cOiK9
Q9FkXMZ9WibprrLn6bSe205IzuXlDW7NUXBvF/n00OPIGET2bRKV3k2njoc/PMb7MwE813a4Sk3D
4srVJdfwr2MyxBTDMYn6LhCjSQXa0O0WL8VeSiY+es0QL+zi+1ghGl/c8iI18/P6FLWNV2QsHXv7
z8+z7vlfVyrPI3SH84BrF4r8PZBX6vpsYs6n7+Ie2TZ+VPwJk8bFe8K1c9xPLoXesQPEKf+DsTNb
ctvIuu4TIQJzArckBo7FmlXSDcJlyZjnKYGn/xbY/4W73GH9jnZ1Sw65QRDIzHPO3msXG/QWiiWK
hzF5MQyxm0oNYekkP1P20EPHzOWot8BaRhPEeOlqJ7nQNEAyUR+bNPWw3X86zmh6BkTuZ2ihUWir
UY+HLJO/uc1iW1q/fixsWSYadSwNmvnlBYSthJliqBYmw/0JiY3sd2qo1W3xLpNmnwLC8fIFFe5e
9ornGPZ0jHOBr8vVg3gY/WhU3D+WbJTYbyLQ2EuqQZvQ2/W8iTTAND5UZRvnp7LO37S6aiBropRa
zap+iy1j9hsLOgySQETQSseBuI4r5XlyxF51AaUmZbqSrjq6t1oZgybaiPgCBseyogvoVst4ULnt
O95VOtwZk+sJrSJAAO2vbJjUz6Lt40ulTO2+mrEJRKt9ypbWJwPVvbWm69xEYp30KC9P+gQazNE5
S0A9YyRE+wZ2UHOIG2sGyWd+1yomZ+AujTeR295mgtKKtObDVd/Toh39mFFDUC8CR4iIuKzSLkNl
wLkeDV0d6LgYd3FpNb8Bq38RqWynFE4mtm4ZJtK5f5phIiuRhqzb3DdFgxY9a9gmV4AyfZoUgTrN
F1dRl6PRQo6XjUG5OsENqF4bsTwWU5c/L6aSPStaagWT8bMq1jTEXx+dNYUZiUBNFBYNOryeuodG
0S6yODra0/AjsZU/BiFtrysAqjT0vXeYEkQIDO1PJ63WM+Xvs8iqyqvJsH2DVfpoZerLb97I7dH8
+6O7fXgO3HxuTNecG74chY0GIw6LNh++B5FP+TWfBAxOiCblS8fV7cbKyt87Zw7UkkYS6ArrMNfG
CxXedBpdeghLEs27aB7dB8fG5Kvr4PZE2V/02Mkehtbtwt9c8te3TaWg4KoYVzmUEYb5ZRoQRxUK
f2nqnq52ILI3SkSSyj/0HCjg4Eq/bJtvmCPVT0UOoKScTPGaDt5kYRXDSynUW6zAmoIpxLZYFMmP
OouvgArXk9ma8vF7XA7LRY2KwatNN3918+iHrrXNswre8DefZNNl/v3m67aDNw+HHi56F9X1tnz/
bcvq4InofTFXfrLA1FDh2GEzNxtvgEP5J+lfy6FtstP9sdQQMfdZ+wAAbngrGx7UsTMh/FXxU7Oo
883qNI+RARJ8iFWFMzshKjN5UIwnGbXN92KQGhr7mFuxLZBoCS5akpGH1rTi+P+x8zhfdx6O/raq
qQbNve1U+tVhVqLsk+VqMB93bDWIF7fylalJAlttSH+AOG/nEtG2kr8z58QFlDGdKc62WPMLpzPX
Y281d4WbqTe0dcBdV+dmS/2MEDS/qA7+nFxXtNe+LD70pYA5tLj6SdVy+N0aJ0dmd/nBAPKW7tKo
QHrgVMsDY5f1XJlGaGi8a8Zcm2Gko7eXpylzysfMkMe4doqDUqDzkWLe5+UUHVmYslAxfhX9hFRp
HK2zkEiLkDb3t4IacTfo6hKUvQBCOkdDKJg8uObUhL1W217R2LMPtWQT2PRPgCDLx9U08BpyM87a
moUF3qug3g4JU6wAissN/DFkcylTd0aTWeu29WEA7tnNoBQJNWkvaY0XnfsUFjMdUBvHypw48izs
OQ2rJdsQBq7LmaNe5cVUIDH+5qH9umIYvHsaNZHJuZ5C/u5f+ttDW7FJm0OSQMrSQURPRVtC7auA
DZfTHa2pPwC1e0bsVR+hAZzdxTKOg5u7F9e0zkNDKw63cDd6Nmz1sHdzI6RSRaHfaYcmt5ZDDnPp
3y/Z+OdpDIu47RA1gESL//5yGmtbdYzNSI19d0IzY2hVFaC6PURLRwMzdzrPmpX60uA8WJbhdL+T
Iko9dVmHW92BwbvHia+m5ttTlz4Petm/dbV5yXr5Y9Q5dbg65M8CQMlTzfhbb5LKVycF1nqHOQRD
XfsX3opCx/jMPTt3o/UbDcQ9ifHvK8n2ulnQOHjnNNtiXfzvlYSwr3FV4yHxi8hmWdNWAfOmbKtH
ffpEvLXLONE9uC2mp9mlecpcpAVd5RW4sgGUwditFGc4EkjKu9MskNW3rX87a+9mUKfAK40XwRqC
H21BItElBqwk9Nj3UsFJdajKqldS9b66CCBvazEDksmV9WAtzDLme78xVtRwKofXf/9uv4gX7j2G
rSnk0tDhb/trFmadOxxf7YzNuRBJICN21zRzk5CGCYhgN31MtF7fRzIaffVUNW79tBDuUOljyoLU
X4yMAdaqlswdV8s6c73uaTJNuRXq3a5Ec78rB9dn2OD43UzfITOciHkswg5Y0MgA29K99fHy6pT6
y+AMn8s2p3EUGIh5YvYHZzjlNXRLy1TLwObcswctnBybKCKIws2ID97e24JNM6xT0y+V4Xf5iPcs
tv96NigCbJtSFqUHz8bXXQYGp272BrzZnCPX45abthPVfByH1DymBFXjZJNXkshJ4SFzvvTidVQP
0Ds/kqhBdjy5y49sQ6XBP9X0UgaqHq2MIEvnN82vf9axXCgqHr5JAVVE+1rHalWxqFO9ADAryPVD
ik4xSQu9uzCRPMw8OqqjHJJxyD8qJeek6Mpv6xA1YZxUEiYwM+dxCZ2hSL63iXvAwN+/QurVruk0
WAxf+X0Tqfd+mPLszAmFjIEc9rHZW5dU2n8ome36/HjLR3Q8uHxoT8vBAkyrSs7J2+FHOvlLzEQf
+DeMLzW1b0yr7N+dCv6xddI4uVMW6OQgJv5qAK3KrG7TTrW8aWswOmKmA9FMR37zI6k3lOqGhu17
qFZONWFlFBkNPVc8tJgRiyhVj+ho37W0aXc6qSGHwYLNFbfWxSrQrZEkajijG/TV8pQ0zrT/99fx
Hs733w+b4ZgYV02CXTbN95cjTUxYxaI1xC3AD3OOSsL0DrXkEVBqui9Nc/mgZ1SBgEy7E9/Wd22x
cGxgR+nyhgmRmhZyV2d1FizuBq0dx+5DzgIgx7aq/fulmv+4z9smJghK4OVl6PRV5EPCdosRQ819
i0w+prrJfvoYnN5kxLsUvhPX86WoMP6t47S+IATEjIhIdwAI1gtI2bJ4BdH4QaRb9Dwk4pfUdfXQ
JotybdeVjdklgmiOb7C945sZHWqp0bt1XyqHdKG1Kb25MIaLWjXNoWMA99DiXWaTzzZbc0RARx8j
rrZGr4z7LpwB1yYlRxq9sy+E8QwnyYHK6drs8u835YuViOWU5jOvk7bl+dhgErcj699297ZxrZIk
icgz0go/bpkbvpqOrcdJ72DNTnQuh/d7lZpAfQ0osD/6nucvX0GloJOci/mGhb4Hm1KtgUnw5J53
pQSPkDwOmeLfG43tSHwnWOpbmVS/qECt879/iP/VCnVt6hmdj6JzTPlSIcyTtAzJFTMYlDEFeKIa
mDwiZ58NHchB19IOpsmg6d4BB7feHNfIAC+S2cMhStsVA5+h/qZssf7Rn7IpMGmJop6wBJv0lzcj
Tx0yQAukI23kOpeoXttnW3Ve7qf71tlvRdoxg8nOCd1u32rm6+O+Ab12NLPij6R3Jwxa/EFsEU7Q
gVcHW09FAnp3oKm+kIhT9qmvOUKnXz29G+jeL1vVd9HBSl2MxSFoSAebk6YY55aon3ZVQ/nEAvkx
i9YNWhAZZzhy6P2y5yhuexJ7LOcSgzPxJsZ6mt0ob8O64vXJCXEBoxKv0Z/CGPqzDoXpHBXaL8fI
+gMk8QhZNfJJO0VngU3A/M1GcVea/H2RMTSNngQtZaFbOp3aL+35WqcvshDg5Osguu4vapWM8dnp
LvdN3MXTL3rd/om3D5cDA3bbmOozS1a7r9s6OvWm9d0ZgftXxoBs0cjef/MAfu3IbheISp9JDkWd
Zepf3iKl0mmtdknnKwuAIbWdo2PS0ztoVnz9xYhKWxrWa+uM7SmL2vyGFA1hD7p99P7tXkRL82Ob
li79GJTCjK+5rjq/Wf70fxyKkazA7KKIBqCH1vdLbxD+y6IZnA28IYeTUVvxcMtkQd6Tyvc3Rm73
BBR98icev/cmMy+5O20Wq2LcEfVKUJU+VEfIJksIzTDf50uVXI289/S0bc73VrcYUUHCgfrNvf1f
7xG6TLBuiBNprX657phRemuN5BrktPKepS7CSc3TMF5LePSl2Z04htv+slrYflThHhpd/bDXuD25
Rln+7kn8XxdjmYZKXAPqIiG+VBaqwN6NxBUvV9mDs+h48pYy03hBrRGP+SQe0u34aUwwkmeY1Ieh
zF1/KpL8WDdl+bvvdPvs//ViUJvRz7mPXXi3vxpBYx1DyVg7G84u0gM3LbDMtPKxpuLwJst9k/Dw
97HuwFMzeudgOYNPFsyEvpOzPawFz4q16rmEWxmA8128piACMKv1b3kl7TOQA2/J18esibID4Nv6
mum9TTkADPM3X7L9vz4I01kO9IjROQ/+9zY0GPNad23hevdiLEf+HQxZ+oexqu9Dq6ahikRxnozu
pheVfq1F+TNWQezQ0uCFsf01a5X3RChMJFzKt3+/uH+UHLzVXBW32hL8ZX8dH9sK0TLJZHGXtwNa
HE3hUGf2uYnz/LAY9VPfdv0tmc0AiVgaOpry6q4mO6c5EI1Slu5x7MefcDZfHTmmZwcWiafJiDCv
rZXVgBMs3B7LwSrMi0xmtMcgjqe4w8XlLuI6OFsfAhxEu20OvcYagnXVFx05qhFzwYDoHM8sW/ul
twD1LkOFmJtmcEsK09NsR0oYx4l57c3ZPWkoTRdTpr/ZgCk7/8eTaNCmMxhnm+o2APzvL7DOSaft
1G3fWEw7sCM2+XFe0iOAczDXPX7jo9KW9aUVTvWfH1Vto2+qnSB1wfXkQ3biwUJ5vf0q3n7c/9cc
Z5/GGmWnNW8fgItNEEx6zELROp04RamE/T2lEEjNmWAiaxyHx7FvvglMTKf7b93nMcpk/5gMhUSP
Qag0oyGXjByGHqdtNp6YhQzNpcU5IHVOCXCpFtZrE1o5vEe0M3y5nWKtu9xcuvD+S82OgMRNkU1M
Bo3v2FafB8fO/VEfpvOQ07rPgCukvUEHoux9HqpiXy+JeplNCX7XNbKH1CVYoFs5bpoMZw5OY8hz
Pf/AUN6AtcpH7KWx/brF52mto4X/OdhgcgX6MTXLWdGW5ezQcvp/F4qIGSxE+UMhVCqcpc5RaF2r
vUKyyZGg9lDX8Kf+57uY9bo+dskynxqTMqqbjGuUqdapzXEQElz0oOhL5vVoxnYAr8iJKRXjcZLN
4JsaIF2jXnGCFPkr/YflYOMffmv7aD7AGR6eEwzMPNnN0xorRGQVy0fM+fl1sFwZzEWiHWatxtRV
izhULfEzMY3lx6StQOPvj0luarVvKGxKST/3x9xkfmgKZvAqPvQeLvmzIcxPhcmaXzr43JGDDTk7
Ws/o2dOswSCrIU+/Wdbw0iql9eK21ju9Q99kc33XgVh5elPCCBoSsikYnr5NhFHMffK8SBNOSB+p
z9KJbK+ZwD+J+SU11eRFWVf5XApPmMMZnkx5Grq2vmJ/Si80lMSmwjK+iY1zYffPYh0Sz8hnK4jT
JAtcN2ZS00ZeYbrxNaJ1ASiwbANGQomHuNv2yaasAgEc1FMmJXlaagMU9MLYVllJy9URowYdaUSB
JE+eTiHMYVGoXmdr5U2d4uoWT41XFLObcgIyGSCl1bdhdPHmaDvyHvrbYBdzeF9ytgLAN7nF5/uP
dlbC+8sBklcPNVUj3c+VYYeP/ZqIt2Ew1YuYEG90iU6w6rbdt+b8tGGjjlU+wR0g9GQvDfucLm0a
CGN+d6rm++wWZ9Vdhiegz2DUeb9ysPu2pg4nvcVclbQFsLc0jxVIJ29aMW3uwEy79COLN2ZLiD/a
LC8qghfWYz9Dav/eRECr58xUgnslcv+3OveTfgxgwB/gbh5JucPIYsOqEyZF8mQ3bpgNMg80LSCU
TWJ4A6uMmkQ7UMfHOODn5mTIVTwCFSO6soxdPxY1mBdVcKaNsNnFSZn91Nr1YMv1Y9qGya7mO1Zf
PyV2bR8Wpc3YSM08MFZd7EotlWfiZcU+LvskMJOOrE1T8ZdlXpHYJ/qDUhtrQL6b/jDjpPRmgaG+
SPQYzGYtrqYyNiFBHODrl6R+iPs0Ojm5cpkryRmcibFPJ/BPSITyWq7X+7lXA2R/BWrRPTVTRq1D
C69SG2BrEYkPKcrQ0tZSbySYEhaBGo+I6av1oeQ5f6jjbjmVlAC+SzcZkBCCDM3yAHinB9PupmOC
Q5nlg+UAlOqHzcKLy6eUvmJX1smNyJWSop9eixn5brNS2S7pbUUwfoMk/UPMfXPqV9ZqUBV7AP2R
F5cuSPP5ShRH8QDJgKp5uuh5Wz8oDYpFaB7DUHj1vHRPcgbdfh/odD3opipzJl8aa7e7T1g5TJOX
UlrRE5pDle+2YnuRjgTrDdWjyIlOmNafkVNjyk+l+UxIBZkaJCX0VtlT8DQmMwH6QzLCD9uUpHjY
yfTKKXYHTig6338UfQGHf8gBQzkpWVpNvvjlQDxo4S4bMV6yp1LaIxpJbOABelvtGcY7wFV/IANW
f9Gf/GVCKdzRkZjIbdkKlcENcTVHwH5ZPWQR1dd86RDO31tfKstduI7hbKzGI4qphixP3r9GTKQm
NhRqw7Sxilf2+/Nd0rv29suspv2lLtFnb4tLX9rGTgiEBZ3dNv4kceMWBf0g2AaGpyjwTyodJcRa
hzgC1WBOMbXQA4mloA1ZFcVRGmX/bcyPCRG4Wd+ln05UAloA3Ip4JHrEJwjJEEX7mVJr8O26nfxK
UcSpnZcQpe7eTrgeaOpKUK9kKggsglKro19K83afUNQp/lTZprQi7xPvyazCjty0azd09m6Ro+YX
IvNHu4TTHOPyLjT+vznnVY9rgc5zTfU9cc/5rpgHlBXbbYkmLbjPjjWykAMd48H9FhWG+VeednhZ
jay4rqsIFsNWzvfnJ8XLRsds7m6Nja3ceZUrh1+7ap+NeLFe0B/viV+9v2fGvE0P3DE+MnI7ZHUS
XeY2B2azTfp7JwpSQwGPq392Y88MWy8AspCX0MeVceKsO+8EATb4kxNitTXC39r0HjeY0OmJVrI7
ewhf4DE2/I8UE2N+m+fDziKOBM1JH3IB2HlhRS6CtAOIydFkKNodDQRG9qfKPs4GYTXmkSHs0F6b
7pUp/75ZSJqRdAfsG1gCv01+rhN6+Ok1kX8mn5ykiU0l9qbvApApHkNc1CC7zsEr7fyyiV/7zhqF
tGTnkFvQ5NjWUVBzPuh06HkruWpyUyubnmjjn2yOyU1dFPrahf2KSwHCnpUSzqprl7hY2IgyyE+G
FX/2bfY9d9Y/cmY+BJkFTesQxsraEusLVYZ2SiJP9n626hoQBUILyAZYHxfZP+C2mv0pGrKQQ/Gw
t6qoOc5uJEJC9WLPFlXmO66qnPDNzKN4WJmLsc/j5U2moHKzD7MvHto0ysNuIQYBGlZo9TGD9xTT
gHSW5GqSV7TvctqQcB8HgB8kF1rrjTP1Y5EykRTx8q2KFiMEULcoEZyFlfNBBLasX97JWLxYW/5h
MwSS68lg7Mw4tRZEGXmjInDEau/XqjKHg8zUd6mXb0qvvQ/FFAiT8DGLbGBiFlD5KaGVLpJ+Itsg
3zpUEDaoBwmdKShW+5whwVrS5JEFGZrbwCRGK0ja6/eatgW/DrSIaKyiyPebftK2RuXV6QVspYlY
OQwVk/aX2m5A15JkoO7Y6N0Twte3siflYknTx9iST64O18q26CWTIUy3ffnZrjG7kzuTnNzBVxVJ
e1Lc8gHjF9/QcjHWyk+ndouAMkoYvwrBqRgdbsZszLsY4qQXDVa1t1MEky5bn0JxSZET0EF8yWos
Epl4uz8o6DsnFGvkAaWDGnmsX87JtSP6YUmEY7YtDkmMvibb7NiHDDB7V0dncAWuNb+6Ujx18ac1
RudCayG11rco1W86tFpZLv467RoHfkpEAFhr6lhX6GegKkJeVEKF03t542s3M01FT26J/cyEeDdX
3BZD/wmeWtuzRGFZ79zPPF0/11le62V8BnX8JvQMkVxnvapa64/ReMynXLvOqVqfe7kcMsJt4t7w
TWJwhfiwBnfAPbFASW0d+0kZRowOGpPlKdPIVejqntRILU73XZd+U3LVt60G9otLLgN0QDSlrn0D
bQ1kmJzvTzu3TsSKIzhMfsi2oMbQzaurS0+Mjc/J8ZDqkBHaX0tDPM3yZDJjwaDauctjBq1A0f8a
ljORm/hyQqOqzpjTtV1V5M+2wUbvDHMoe5PpCVveOJIAHA04s/RGHCEjE4PaXscoUw6L7nxjNmj5
HTOcxC2WI/kWSJS3SqqQZ8aM635c658ukzkAO3RF3sG4R7TKH2KmFuTv6pgIInLKh4IZ5oQ+e0xx
ZLFAcC7n9dyZ7seQl+57rC0B7HT5VtJUPseti2O9LOfv0H1h+MaLypHC2intNDwaSf8KUWH4nk+C
IBKF0b9d9OWp6uhaob+55AS9e2NrdSdQ0WNAMfskeySPpTsc9FK8E3/GdZj7sjHDEVlORA74RPZn
HpMqiPSl+2jVCl4TS5uSkwg87CYJi85lhZy8Yg5aMsBelpGPi9NT0/BHfEMTQkTzoLs+Iq4syOL5
NjKGJMw4WPSkeuXgORwjbNhe1HYe8px9MnMT2SGqLUX+mDHYOEa9RXIeaSm8P85JrSOY+z25c4Kg
NwvCTbc+DR25SDrBMSeFm4cl8x3A5YObOIY/WcXPZbZuajEwVWi55bMMLHGIiCwFlHSgmRFUZb0j
P4i77qAa5UA0/KQXFFi45Oex8sREvrkct4Nf4BivWvNdncsfSfamuXbxnLb04xCSTSrKTyGIuzV/
TjY9snY8fGaVAlS7+iOKAPpHZRaWa2c+pRoBnIWtvrnqTHiqZvua+weMidRzwBuBSlnAx1KIYnsm
itqKl+40NcQhGfEakkHyqx0puddDU1uvVd5G1zGJMGdt2a2gWWCEkGzWvfDA2J7DgyzQwy12IJHm
HKuhBlyxkvoUO1Xlm2kFHIy5fqab3dMQEQI6rjxsUAZwAqoiGByYdpWvNSw3tSBXGLGI3ozHYUqd
i1XzdFicaRFigG5wR4Po467bi6JsIWHo+U1xyqciKz+HJteDuibSuDBq5cmouwuT/OQ8+lZ2Ee20
FYFM4JNrP+rP2eRwLqhes9HeZeJKf2/dws0H1mjSVw1GCEleBzwCBOMyEmCNa4gHjcmCVQkZoyzY
59rJQfcvHOlhIwoyQs84Q89i12pFu49rFu1lCySqjTE76LKagjQp+WrY1ktFxRaoM/6uOP/y1Pqo
/zKyLZO1f57q9A2D4ROi3ipEPLgEhWb0B4gD2h7bdX5G773vm9T8oSEswfu0BQRCA9ttv19tn1wk
8TV1o31ObdPH6fJeyak7KlH8q4dSslMl0VjxEI/BTLBkbLFcswE9d7DQlPwbWP35L815SlnbY/lZ
ACJRF2KHYTBaBM8U0cjIh3/vVWWG+7rkrK6Js2/L93L8syYwFCVqxOsJjv5EBb0z8N7VFok/drbr
KpGdB1I/yAvZINCEnuWGWvvJsMUFRED6CVL3YdDm76K2YMjRHyHJXoWfUEymD4io36+L+GMGGF/a
9AQyQNpd583qdY3gyYG5HNE61f1t7mgJGdVhsuuCED/jiURQpAekABPPuWhKuF2WI41vyULb65vR
zGgxgcZ6Ka21J44CYUUDFIo+p/4ZjUKAtxvVOqVMZahgZaX8aXf5J6l9FBaDPEidI6TT53TuYQmI
jXHf8tEfMobr9HRNggoatCtubO2oYTmvAjZzEYg8LSBeYPnuuultEC9t9p5VP7Pyw0hM+ClCT/1S
zuNjpiRQ8QcwTngiTmszT9+mObtWhNONQyQfWjvTX/IGVSHvvDpw+mLPz7GI6Fcns0fKzYaDs6Pq
39pkeDSVS68X52olKRf/ZdfT1xzc5C0lGIjyfkOjCRAA5dnOsRkkRLlR+ZDgmqzroe/ZILbpnpqW
x6Xw9HKAyAWkc148ErsaopJRCcI+lsop54RS+qRrNRvOGFYL5PPINs4p2xDXgf+gXfDVpvv4icgF
NBCYHntArFBlA12PvUKgHqmWNiAvsPENR+3e7DSrKdlG8VOx/2x4K/9yiC+jKqQy1r9hSMbHzGSK
opNUXaDBdFZONsN+4h/skt4FVzD9Emlgl35UMUw4SePRLo+uchTay2AALdVe1OKvWOHoz2iTowvd
CICN87lSAlbXWeT+3ISafMi6jzl6nAzaKuxc+nqI9VCJTmhcl/HNqF/j0kvb97n0CzDnEn+lJ2JP
Y9+I1UORwF+kAqsmYx/3fxoT7A3wd1H3S9gIhtl5tNvifCw0FSvrDx365RhIK3RgLQ7HWZzH+CM+
E0E8kupd+J0dsg327xGCP8fjDRTdNxoTIG3S+tzUiIFfZpZc8FDcbldTbnAlPKEOvuuy+KsGKA5p
Ilsag7GM89echLFgZIf042Xcl05F3J8l4fE2pq+J0vbrIu59woDMsQxzMfB9gVgm0JWlRmNx7J+y
jqjRBRPolLumRyKA/m4O689KzameLUaya1w2u7wPIlepfxHQyv3bYnsNJz8OSeEeOesgNF/I+pNU
KmHb7t0CtpKJLrtBSUzc62NPK8q28bhau2nnQnou6U6u+mc7dVkwNANmgM4MktlKLyWmpJOcLCs0
ZGLeVtkjzsnpTI7jSxeZSPNTV1xdJN3hpHAJCQvOfpyj+jkyMYeZ4O/2snHO2ODavQKRyBi1o0qa
LDrCs03fYMBpWY2RD8k6rOrJX4XO7vQhbWzNSF9M+j6Gr02kjabk4NUaXtCFWuG1QQ0VFd+QuoP4
HXz6wvuCaqcrPWEcy+lK+uVOWapgrEd/g6Hxx8kD6A652RzqLArapDhzWIGa0/XZE+IxuUvaTj0M
iLBOYnys5aHINvf8JauP7bNKJvPKmtCHAvY9jzj7XofdraX2XkOd92WwMA+Yb6zrDtGjE5IdjXRo
obWXTqXHh6/Nt4y0D9SxoGBvKN9lARO6wuC/y5uRaqAKbKysUdb6fPdw9vJr55KwZqzIPJFuEWht
SMdvjaqmScD+FR9GfQoAModGUntNX53mybqmYH5n/aWOojAZzXABaZZvZWyWeCO79nafmUf4dU6s
A+gAlfaUyxY/bt+J23ioyYjEUOkFx+dKRr6o0SZgdkr3OtlFffVWgtfTnzW922NW2akkNU6GRsaj
EwxRScFfhTo4vMigSpB40mAN69mApo/8auCLcuUldi5DTSk5j6QYZqCwoDJVT/RsfRAnFwn7GFEa
kUNL14ZtY57YqfyYLGbUrTSsr/wnLX+kCyAtTFvJuNdgJcyjSkfihaw7MA0cK9F6Mmoi/lCb5r0F
Az0XcHJmEOMQF9limVJoSFnKQE/SC4cGmoeNt5E+jEPU/7Az9miKIwS8vKV96JBMYM3vnN3Zicyw
yfJLOd7kWMSnPK26J+IIKFor8W0gqZrpBJSR6px0Gw+tGlv2k8FryKDQNLIn/wQ4yMqTKu/Mcg4x
kIer4kI5GKNlT8Mt389zdFKt/NwXxl6pll1Gjl0jSr/in+EI2xcYUIoMhDSBsNIAgVHFPITi6Pbz
oZoGzyYCSCfvu3R/wq1dmQStE+EECS1ccLFbsq4kZHDlIJZEAve8EYw8I0n83Uhfc5wFXUIANQL8
klwEi2zmmhLOZHsbRnThWDfzRfVd2/DbyPTH4ZYk3/vq2XJTn8p9XwnplfbrZjHIAL2wWO8JjEJo
aIHw+mRRgorLcyCOdmwmwSwX30oVx1MV61IZHaLXZM39pQTQxUVet62+5PgcjJr+J/xr56rw4uwN
mZvkpLCstUJxQY6Ww0Nbj6g/moK1k18V46oxZZic/qG2Zits6aQRNdhC4U/nAde3y1hA7NTpew5Y
0su0pvJ6a9SPcdfBq8WmX+ap8Oa1iKnC2D4kvGZ7ieNfTKceiULjAFss5ygarWjXyhKlWN0OB2CM
kz9O4iWt8wfeehIwQyPFZtWN+8ipHiaD/JYuOTn0zsY+vdS0KCW6QSY+dJyn/DWCX+DV0u29stWp
pMTQ8LaJ5ta3/Zs9M4XR++4sW3N5GJfxA+eL9jq5r7haI+AsL9034nNvSj6cu9V8EPFwjpSfM8xG
INQhyouQae5ZGSPSTP40Uqo9xMHrBoUAaV2p7t5Az0O2O04g+4Ex/IVuP+vNS5fZfgVKo+NcRo+K
Cc5taX/GWYII81mJc4hjnOznJ4w6HN1ZUmV0oorxJU9AND3Ri6E2OJaKj5c+5mGmF46GE8xWSM3K
cZQURxeA07jChh3jg9LK9NZH0Xs7ons1KGZ8V/bAZDBGY58rTq3ZfDgi64/mVCISLpEF6b3FWRru
EaFQn2DYVIQNcX2zJ+3/2DqvJUeZaEs/ERF4cysQciVT6vI3RFcbvE0ggaefD/3nRE9MzEUTslVd
EmTuvfYy1bV02vqamWW8dc3V13J9rKlN1Bmdu/jWVB3QjZhHgb3kpWFGFjM+PU390KmUdOLmzQvh
BYrZ3UTNdBYrmB1bW/GOxCGGyuk1d9EOwx7KK6XAb7d13UPUCGxLEt6nCGHv26z7ShgYXEeGC286
JouTY7/yS8uTaIpb7XK12aPADt1ZVD9txAlmkHnmHIa4sVwqd2mCShKsMNSo5shcD2JTL17d2aMU
yl9joIbTMlRibZzj7Vj2aSh0Z8BcWgstV1U/sD1+jTHKS+xDTLzzCGR/jkxRA+vASY0kKSy1fnKJ
gQ4woFHuRVlXoRZD0nQ9WMPkxkYYaLj2ibjPv9LN51OjO9PpcQselrYbVOVm3zSiu+2Ovd9s8Ssc
SOoJCtumQUJfMeCAbuUWyKllAl9eBzVrzibwd8No71Q5zcJHoJu0RhZoWbuzIVZUIV1dixlblVWU
4KlFo7celCXZRXi7bMzMoFbLcWRM1KF6AoKlIbeNcK4lqaTYvMPgt3M/7kX/rDrKrTcK7V0x++Ew
KFheqeV9UDoliHKbtGoMQTkZS8jSg5ci9ch+JlDKGGyOxs6uwMjjMlaBhTqxM+2npEGXr/RIPZiz
0PdOmEk4RMZB8abwwlPWJZS2bFxSQcS2bWS/VydsVEMLTDVJoLy1+vLhDBecq/iLuxdJn3omufxA
6vpybdoKZ7HcQ2OnTWc3AdqQ6XujlRinpvXGTtAXCYN2lAw7pvZCJQ83zfDOGFA6NLhUjoONoqsF
NEkzsKrMyI9sNVjWQMT3zdTN3xc8e0fsvMdP2fd/kmbJL0kWe0HbxPO5GBJ1I0Gj8CUC2pls881m
Ow6Aac6x5pyw7f6ZAg9RNdZ9CJ85P9p6u4ZORMdYwZrcTScAvzln9JWFpEUTjFEZUX+ED4ETQBIS
zW5v8c/+K7PI3hL0fapxPqE6JVe1lhooUUrq+uPWv4OROh1LRzaENpVMGmFcCJSIN/fqdxtaWlZd
4IulBtx6x3vmOsA+xyaZa3Cmb13Ny4uSm2VojgQlTFi6AkiYxU6xO+U91unclX5vdR7ZWeRu2SB0
10Sj7xEavOaJVAdEOXuZKPZb4e5pEMWLFqlvYEX6thsnQlIiT7uMg74rVDwTlsjMbs6i9xe0ebg1
9dlt7r7jxGXhg+23j+foXhcIEhzLZaBSqM3xccvWSOkqFrx8H4SR1jYyXGqbIlBMWfgV8slCGh5e
zRqxaeok/AO65hAmx85CFYA03WxqlB3EhuMuPcxfdXGQGW4Mb41iUTx5AemRsJkCAWRks9lnkx7g
hIg3a6GRYpENz/WUGuzZTnJga4w/GmYBpjt1X6yHc3jW2lgeHDLYFq9vnp38gwGGb0QGWS+VFxpd
a5/BJheMM074hPXkL5HEHdl2vR1Nr6B/G/owL4z2CZZRvGmER74yCTI726tOUFHGIyr+P47ErZbt
pQuHVmE14fN0a8VjQG8kgZvnb1onzNNcORenSctnDM0K/maaa5sh/DsIMjTT5s0DUjjhgO2v5kWu
tCFY3MvCK1/KbsDUBw3crtDIVdaE/W1mLvMk4ns8r14OqRMuo5WeJpKIQ7iV9TZerjLWV4jvVWra
V7zX9NQBTFX9suUrBX60DyPRm29tHYcS12K8ZJ9LNRkucdLrZ1kzZ8MKsHtLteaOCPpZN6cimHqB
HaecIUQZq5leQxNSCAnundotwIwz//CI3bqsdWcal0e+w1sWpcUnS+uO2HtQSA8fi6RO6CrmvUsl
EY742bdgcWrRXOrWqS8FqMd29NTOXwBoAQLXB/nt1sEbjWsviH7uil/zmFwKhn16Z4AXrW9+HIQK
Q0JUI6WQCW2kfxp/VV35VvVctKBDfhtttST+MGvx1TiK2JbZS8nSHxnlxiQ+W9uaFFojQfTh4hLp
blTOthmUiKhFeM/q2L7Psfs6FQg5LdkWIbt4j32YVwc6tCbYqZtCjwgXShjcbQEoVVIblS5AyHpJ
Shw6syL+MxdE78Xs4030Q6cahJG764Y23o32VTJV46209b2eHKcs/qO03d5AaoHjLSMQ4nCW4qFU
aHYDs3+drGsL0dyiAP7ZFSYVRbR0cJ4MUi9nwLtEUyOoEwZe4o0XB8oAfGQ5jPi8czMsMhQegRtq
/gtW2LXsNPXVoOBoBJzWCF/9lHocr6uN1qm7RkEFYzfJuHGmHJr09Mu0135KBYVurW3kFpCM0Cea
GXkSdaVs6fv9iLSqBgs4q+9inwsB+9H6GXY8nkrUShsFnLcgKnHT4B6OtV1KvmqIxQGOj29qLZhw
laOgVKzXuCgG8WYDSJIhTAo0HOP49dqbkZXN6il5nA0nlCMjo6K8lGRPNFWqv7DlMJQl3LBjhP1k
W5BbxqxmsRHVB3Myjdk44z7YXbCLkyWwSDbgc3b2uTtG12YcPie6cKMw/pZVaT576rKdRmMIuina
uM62nUsl7JTYfOtaskeJCocZAO+E2TstDvEBW42vINY+IrwOJ/uXyXzANj4GT+xhXm6FYW70uQls
8+bkL6g9gqQ4q8a7CrgRIxpyGIRnwgE1ZyCuoM/SreRoMbzoovRPX/O9qIXyhoCrPPVqFl/y56gF
fkwJVaKC+BrK73RaYOtzfdpRcsqudorbp6tF9o2F4IrRXfEaV+Mxk27i61VKW8/k52hmTr3zWuVp
JhI+TLG+BHFcBKCTTheBEcqhxBFgg/o1fkfj5bFULdah7Wieaws+Vkc2xEEqmfLCwOwGZO2MZMst
n0A8Pogjb0zCmfGmCagTubRdBteFeivbe2WXQdl8z+UcYOIbxhnfvc4TxGKOb3bUB2r6y+HDSHJr
k6n32fIC4Tw6waUyoVx8iRgQP0XmE6Eam5hVFMnwPDKYyqHBYZSbkEoF3++eEHoXdAqFcaOk67iR
lQoLo6rys1Y51JbY6vkNtXYwcB4Ohd+DIThcSHbxrtFU9va27S6eZtBE/RSusR9d268WpP4wdArz
YBREz6ej6ty6bPLO5c4x2XS8JM5/dpxTbkz835SUZ0hfEEBqrw9ynBV/xpF7GAnlfkXtOByWnEzt
rCcjrU6UL83Fw9eEL5FYOVJPWAyJuVHoRhI0rOWo+jmITrwGtN2i/N3dyfGutDs3PkaeFVTEVxj2
lcnBOL91hfNiZpERdCVyudZS/+asr5lRmBvikDsr/oTgd2jJf4L61rmD32YAxto3J6wy/16YVNfp
RpZM6MB6xxSxJptm2UVhHTVmoOPeiLdl3x+gBcBOjHtn15eTgr1tK+5K9FJUonrW1ygxpW+YqmZZ
mJ5weSGF24kQLak/ejV9JUChACLDP3VcRvFtLmagEOFVUECmzS2GhbAZkcgfBltrjj0GVEBG6fQ5
zu6fBPLxrenb6KrnjLAej6cJTgCS2XXYFj8U2Z7HdRCKsQlGSqr87OHM7LJ2gEiw3uXiP8Iaxa9x
tI2nDr/b/16G6bmzGQQLvtZ4T3Mez7cyGpExuowkIpKhfCU3nvNkel4FkmNK1BjuB/mzJQ2MiJVs
/GLEIfxsmMGBuwup2ww5Gkb6b/TJm479DWjehC/aM3nBU56NBYK4XYS5VgWwfdBiWGQ5YOxGcIC+
QU7qu/HLTIAXELE3v7nzq5NF/uKyAPOv0+gCOX2mtVvHQAEehWmqAV+JX6lPlnPWGBQ3Y+VrOKbq
2TvkA191y23rSWp9moNGbi3ybpcaQiH0LO+pYyKnMC7WaEHGHmjCITRaYo3jBVM3hUYCfa8NajA4
6/dqUGQOzM16kMZmxv4HAIYh2WpxTKg1WNytjv8axoSE4mtF4AdXbmOIqFhpqxKWHkASUmyfLFE/
/TNjU62Vil+vsAzZ8ElRhG1K+qZ1TarYbxeuDoVYo+rcO98QtYJ2jo9VNAYOLzp1lBhdyp76wSqZ
aRdm+xuhvFngXi7llqgidlYd80o+ye6HUQAIADmInkhf8bfmKsnaD5KUBo/MJNBftG2ayOBhEpJt
XyEohbNZ+gu7TER6uM7YoSEPINLxUbf/2wJLx9toXE4iajbTAgG13xn07bBdOeOyYGCRX+eNbBOB
xWCOjjQQBl4k8gUGS8X8PhcDCDyEdO1ZQTjb958gu4yscfhuDlwI+JmCqE+YMgPEmoS4T9adEMTN
YL5bNpYZB9x1N/iM4G0LryT+4djEKI4bqYKItD/4JDctP0trOtRbjb+Qbhi7nPWsmmqE7Yj5Bd+c
r3BAz4DX4LLFYnQdnM75ceTc1oajVhu+DQFBkjPqqHfTCFezrJE/Ms88JqOCREttY+d/o95GLCuR
UoOkkPjleL8T/nRiof1ivZ4Y1MmftvllxL+KbjulQTq9Dj1jVuXi4iYOw1M8yoS/Dr01P0fYuCRh
ZF13NxjzGLj+bKuj5RahBuOIYnSjqEugU1B37neGhmnChyVvfneiCKBkbGroB4r2BxkTnBk3mJLX
UfF8hawPDPOxf1H4NPEkaPkl2BWIZIJ2glmB9x3ZH67b+OiAAeSNsBPbxRChXXDGpxIm2Z9O+5tP
jDCsMhiLmkpc36rgPhQ5uywyfRJDQ7rvkTCOxVB8h9/AfzIdQZ07BmYWJ49RUWhg0OneZ1uCZjLA
q2HotjIDhGegUsK+CvMqS/YEDJShVXmXSu3Fq67BJxkcbEecNHI/o+aNKa0BGf5uRSXM7HakGdL/
6It3WBi7vKAykMR34uDcygM8+OmV9D1jW4Iy7DTUwO/RpH1FnIa3dDC7F9ewthhvf6P2jG9KG43H
bmK4ONjDuTPN/bhkyoHF+NInXn5XsZtnXCtOajvl96wtVZz4A0jN7a63kUIz6Ye4mdCbgRc4zk6i
4rxDJkzvEBYPehzD6yswFG3NJbk3i65eFDXZaWmd3B+HkQrM7plhxLlQz7ZIm5NuKzWj0cl70bqF
rYpN+Q8FMDWmHX0XcsSAtU+oQtVp2GsAP3tr0snrcvWGr66X30RNw66x2zCV+66utaNVGSTC4Gbo
4GzPsMxCLSDN5qxqC8A1s5MuTa3XNp2uWT5Hv8kTvsqBE5UpfbGLpWqf/x2wX4ZmnJBXobb/Pfx4
5N8LzJj1GqXy5P97gr0dtgvAOIiwYZ7lelimYh/LZjk+HsrEkHLmrE9MVQquq+cfj5cNyJHA9H9F
sqsZZMbq2XAsObMSuR/T3Fb7VOrL+fFEizH8uU6r7zaJWr/TZAn1bThAr4w+6nxSd7bpdKFmJcpH
M6QvSPJ+pVOcnzQLrMtzI0AnDavwsrOzT4XolqB2cse3mN8gmR+bT0KLSy4zXU1ZtHvRHudk/Mt/
4dNqFee9uo7Tn7KJ/sTj6tZKTte+uCrzsty0Svw1HdF/9uOyg+yA3wISwU+d3V923d0czO96xml+
mmUbTq7CxzuDs+vtc2lEd2lCrQVPE8dMAaQYU4JxcxvY01a0XWUDX+aRZv4UtsC7QlPItAVxXjKv
3qsI5XdQAuWH7pFMWNVHgVP+WzY2DF4acYVVTu6fsjDHgWFC7FH7M1PNbULw9qafhHHOFRRKek4+
ZxzNzJo9Cyi13ye1+DOJYbzjsGL4AvuafSyy5QlGBJ7SMYj6RkxjvG/2ri7vSlkC+2PuvFS6RYSg
XR9lroOcGV7aHEfUIjs8H/eaYvjd0OTMh9tdUXX0V7wyW5wtEp5kP8ki3aw+g8cFR/GL7Wy7EnML
Mygs42wOo7LXmsjc9Y1wz48DkikQDb0VvoSy+4CDHgclSkFn3OUJrBQpVWQJ1twut/ZRj3GdvsJG
aLp6skxzos9zjBXh/4MsPd5sFaAg+CI8LV7BWv34WUXBLxodrWHww+tqTM53ssqUXVdhfw7J1wmh
hq35HemEUpppQ352WtJkYBVzstWDTtmrnMy6054doiXUkvbW6UeiDDU1EATMbZnt1IHSwFnQ3N9T
x2enj5FGGlV2mPvxb2UzGO9656xY6XOeOTjDa3Cy0wmtuausm/1S/Y3Xe4+H4v7u9TswQ+NOntr0
YmOTXjNKfhKyhPJYttMeYUwaoB2r9kWaGC9dUaNJ7zOUK+tdO4dj2zmMeB93U87L6+xpp6axEA41
OGglIKo/3C5MOpc9XnZvPV4FJ90C/HfTpfyctRZvptpLjprbnywhumuG56CvNvKiVLAUZ/rN3ilh
HqYIzcvZeY/LRUGYsilGwOt5EPDMJieEn6nQr6rO2Rj1ntGiSQZvlaXbWZfmPdFG1+8RSbwOXg1Z
wpXjh8hMgKFhWH7aNSTjqpJsSPGfzLUDNI8ATnVhnB1TeDOlFGqozu7HgzvqF7HeezyLJA9ixDhw
5nmygueMyjn4v973uPl4Myc2OUeyOjwe+nd4/CzFMZQjRObw//vWUfPKbSyaxv/3ix8v7PT52sRF
sqv7eOc65ledw8xFQU7iqVQEyAzDKGT3WNTy4TG4l+11pXhdF2FeOtau4+Ne7ZDIMka6smcGoZ0y
q3mOE8++mdVT6izWcx1pxd5qgAVIoTbu9uAymm/nbD/01r3C/+Br9NDYt6xkm85IqGTrpXweiVBU
rerPUnjeJWm9HhoXlz9uOL/pJMVRK0CUrKUnwKDJUUR7X8JU5uMwnO0pSZBBGzYjfRgaLPRwcNvi
V2dS1FuqvnP05TKsTnNaD/DWaEIJvXzocFoDtdAx/9dWUAOQU+LAakJ8isnCHbGbN9Tol53lKyug
b59Em5I3vTTjlvgl+ziQoswS38aBBdQTugOmZ3ZsfMClJNoqcZ7g6P7CmSjaIRFxUc/1r3qEsNYY
rdj3qAyNiFwsy9IPrtb3pzTpmr3eteco77or0Qjiqi7dsqk7TGXmDoh/mqzrZNbNuda7fQQtbBc3
sMLSWEBW12HtNPVHzxIdOh52Xk5DYKeXfroGPEYjz5IDXq5R041PKA3MJ1NUuQ+tClaJObHZpOIS
d6VHLZHdspqreRih5zd1bNBoxB3FjlWeySjY1jWBLbm+MhJknwWJ6KngHLitbGAK1J9kYr1BR5+6
9HWip/jt3F/GBD/EsgG/GWsfIVJ55BYD5jpw4FPvVCyQRqtJgdVRf5MAhIk9RrnbSIp6XxXOYRxp
MgjLgJSKFT3MCKJKvb96ZbxA9K3CaqKehya2qdB/EL07HpzF2GXKHO9bq9WOouMH6tH4lAxqcbFQ
JbQ9X1bfEbCiG6TakQtyEBigjOT+BoORIfdHRsI2o85PomJnzJQIZ4v1rj1FwADrrd7pKfj/3Ueq
qwbyB9EBS5Coi7VVzfFVetCRqLREKBa4OsqY/Wx7ffFZpbuNicNhkOmVF5RQBaeiUc7NjFyyk9K8
6oO59RwBfIg6b5rt6nmixb5ogsFR8zx6yXQ1gKcwblFOKjL1DUWbPpLPC+rOOv9S4csHLQipVZbk
8qzly/fUq+OuJruTfrpDGUgRvcEArYDKN4WFYuU3Vel+NgzzD6b2F0p0+5Q3Xk9wnEuLmszHNsqH
pxLg4gAzDals9aKbFh/MxMhLFMgO5JDT1NbDdfGMHbln6lMm1Y923S8dI7kgMt+MVfcVNexfkwLv
QI5mfSJ9ZbVwBqFIr4WZ/FBHr9jLNGY2W2X7iewYDTuJK9ZsisPf0zEY4L9LY21aaFZs+cOMt7od
1/cmIlORUkCB5jnsi9UhoZsYwRksVmGuRrfYxG8sUQQts4vopRVigcLtzE+ZzY6/YSSyT0ehXLwl
3Y/CgGwc9W8p1ShJGLAObLa4TUw3XTD5YifoTu5ED9EVpIRaI4iSbMst9GWFdlX2nTh9tkVOxq/C
dZw1FbHKESainQY4a0+InibkKB0outM7f+2oVM/Q42um71o+/GGGXjIpWuJU2VaxDg5IlBRCBvN3
KbPiyPQkTHJMpHF9O9UDRC630NLNXIg00OO69Xu6ITcaUMFFFvtRuZJIwFLT4ama7XvUGu4mp0Bc
+9QaTlniWyO6nKmqYx/7Qy1cYB4PrabvphHvH5hW3rYiAcPnr1diwBlVw6XKW10D29aib17SEM0G
VuNVfIDgcy4c7I8KIvrgKGOvl4reZ1Uf3kcpt1rLKp44P0q8WKeIZR3l46H/OY2zehazcafird4L
ODSbuhTt5XG30j6c2h0vIitJbOuNbVGLczl5/XOSztY5tyFpLcbLWEvrTXY2yEtaKzuv0o9M2UDj
UGYSQJ7ddZSSPunknxCI0Fa784eReWCv5NasMeKBpSYy1J1Xt1mI0+qKM24bXND6hP1jZyIsAcvo
Ick1kpNZzbyejll9KmNcXEnXAT6BfhVoqbB9N8nXTPXyVlq18L3JfaskDTaDVnMrgQrKJPF74DT8
dd2DRS8Y6P0EjGgMOwQ9KC8T+yWPnRLQQX7PcfVqDQ3mFdXPMesYpwPOku7l+UXaEYFiYkKn5jHn
ThL9Nsqi3pvrNLpwf2BkKAJnOQzWMAcJtG747xGISk2PXF2m1B1O0+g9x54IB+VnyxL4VDWW7i/Y
620q/KrnyiZpwZ6utjDsGxFXWzdDYEVAE2wQCfAy9ZoesDBMxE5WvXrRUCHVoKVOljc+1noHpPtX
mWrFTnbJD81evtNEgwzr4aAHbynL9HnP9bzvUzEd4LHdte43/lsFfrzAFG0HHFaa9Ohy9cedEh3n
CPSPdattxEygc14zusAtcAHjm7StALG4ap37jkjePbKjTEehECjnxdBwER0PSOoXyxvRss4XrS3R
YKoV3OkO4zK55Add+TLL2QgGsA61/rQrzznh7PSid4AGswlelLZYMtXN8NfUq+Vm4AldYKuj5Z08
5mXfhCaBGRsMC6P9OOQUFs7CteMZZ31OnWclY0FVolNdtssBHMC55Vnr3pp2+uumbXRI13uPxxfE
wCV0iW5sn8jZLqBmszAXPWBkn/3PoVlv2ajbRjQlIMVZLVlUVZzQ5/WQJfH/HB6PPe7amAAfdK1g
ED2VR5Gpjj9L4u5LT7woKfnVk178JPXUfTZoTzzbLq69AqPCEPNBs3XSWcZmPJGuSTaIt1rBS23f
5nwZkT2le65sNbMveaIWJ72EPMpghZslqSBoG+oEqvyqCkkxlogsKOEW0eJ7Qgpdnm3Lcz2YaKB0
PuSK5fdox/G9mnDiKMehPnUOSJmQ2UTVoYhz3Wvi/Ljltuve2nMqktH8gfAge2fd32O/gtY6A8+B
NlAHsrWyN42rxuR6Mhj+/in5/1MERN8jupt+Oi2uM5/KDLvP2TsSihQdp2IU0G3XxxEcL/+9QvVk
d1QzOop1h4Fln19tgnI1iFggssX138O1194KyxXH/+dx7E8IWlJwuHi8eyYHGJ96C3rMoL+bK2kz
695RPa5jTtCxx8M2guVdhD9TWESa7WsKro10fOrxcfCUBJVGpKogsHynAAWP4+PhXFRIAtocTHGJ
ksu/Q7nkGdgde1LpeZWKD81cE45Wj/mhW+SPxwsjq+SrExVpD532tAwdq+76wbvYEZ3KVgkeDz0O
mdViypnDEEPcYm5c2xX7ho02ATnPJhjAk0dfoDS7usIwy4IKAvPUfC2zRnkabPbjCv+rD1vmkT8b
S3yawak++m9UutPZ8BhWxvNLFCnijepThJoSfev5KE8QYWqf7J753TWdiTGQZ2MNyt3FZlyAMta5
RBiOvEnkQnM1Q0OWxnl2IaT+9yrEcnCrmPE0w83ViZPALXWBTI9DttYgxDLkjAqoJUEAz074NXXv
j4rNaGmOil1G4vYrClQKc4pqkw4hpq665hn1nQen+1PAIyFmqkRvNDrWa2LH4ePxBZxn53lYVefo
xz61ut/mDGxenPpdRW315Kbd/33oe5wS0sSCz5HhBv14VpvV/30JfpxFUBo6w3iaJVpl3vz4MV1d
Xc0eiUMPO3LoTQfII3dvRmQhyXZqGeTUl09lNe1QJEMVj6pkNzvl/CzXQwT+B5M+D0fbWmCx99az
J9GNOLZ4ti3m+armHaRa3T13VRct47Cp+6neFq0HVg7cFlj5LPg2zfFXLN7Tdoh+ZuV0JVfvOrT4
yixKBE2yENG2fBd2V5/mOlJPRFpDI3XV5hkgBLzYgrGRTQgN8DR3Lo8DTUy3cxUUS+4w8wWvh3/P
1rCa1SWTyMj/9w3/3RrIHU0iFrF/T2BwPV68InBwGb+zDCR3UrLuluLIp2G9B9rR3fqCqLP13uNV
mcqu3UOLAnIZ380c2lJBmicBUTWIDeIKW8Pq3BuIA1dEkwcZCsYAZmJ7SLwhfBCIHgegL4EudJp8
pXHUA3NtXzohqRX91bCsV7ets7OVUj052TjAsMAjYfGsJ/7qcjtper+zC+pXt1tp/qAQyjhiCT3q
xd42oXC3HZkXGdwhAgzaYHSY/Cyey+ktM4uheiVD2S3lppcwm4o0Y4TtjW+Lqq8cRtzjnSCRef+k
F1y6kEmd85jdJoJkkRfuYGkUvpfL76I3vjrwhlAhgoMsGB3vJ6+yTx6UEyvjHOhn+lGiWLwqd49S
IIVsIS+5E1GuFu4I51jE+yIu3KOZc5U1avWcUZjBwqRgZ6B6hLv+3CtYStT2xBXSTeswbECCbbLR
5Xobn7rVp9bsOR1KCZrh0j9vcBZIj6h6P40E2xYa+p2L5zJiNnDVpv/DlD/fm+k1z0dkG7To29Z1
6iDhy/VdVeB4CihH6N57LG11n1BP2GtLAn7yE2/fGAcLIw6SMtE5aaytbkTafUwYVwxt/jsV8fji
MjLK7KRDzI9gTp17/clEG0bCmLPRE3fe1/N362SHSCUkPht/tIZRn2wdCVivOZTPRe4PmQhdtYQs
JdzdKEQT1o0LtOZl6lHLyh8OPfGWL1zu6d+kZr2tTsp0xmMpfbeu/06JYJS/aAxR2v5dpdVNSamD
ib0mbI0TBpENqQaZUZlHbL580nPcE/6igBsVthFyMouTFsMwGPB+ZwNapw+QWI4O+76c2qMjLHc3
D6yasUz6HTnXHr/6zuLQ7uKa3V3RBuu1NsVhiNtvTGjqTdHgyxVR/TJPUijW9PxXb9gLjT0yeFtC
bMtJ9bN1/ajLFAYYKyTEOkRo84yiQRAWGWUsFIQgkSrqeCGOE7xqgoxasqDXzCZ20sQ1uy6YGrrp
fi6gYfVGdJoJDtuTotNRRk0fcDdyZuGGGjaaRH+Yz3twr2aDexnE6HauA8pBeu9gggflZLsGp5Jz
rZoYVyAByUA0ZviOoTWDOkWqcK6YZ+OO4mjZVtUI9nYo4Hz4QdZFJOhjBlxytijnuptpkJxTIWcP
LYyxUMny30TpYl5myTQKbt6mJw8hjGR1XKjMVQzYt826o2UOaBzpb8ScDcMWRmLr839p9waZbbR4
hT+OqhKSyRNOKa5egtoElCg38MRKBDuSpZMZ7ybRM5b8FpYN7esyzCipdDJFcVcxdnMP9OmcS7tS
b2LOv7tC1v4g4IcQ9sZs1twRrIlHdIHmjE5on+DEe7ZtO94CjlkBIId+cXJ6M8thtKGgRlMaizCm
3JO7aqCuMeAPKhm+IQBZ8Af7wvWVrp8vgol45iwKC4Ln7Wm/9ouMIMomArYjKPgN+8nK74iV2w2J
S/8+az8am8ky7UUE/JitSQqQ8HNsJSfTwBZIVc6WnU9P3kgrkErUxzAvbwqWqDB8tXIzrCHSUH3w
DmLiDHfjearFL7MljrZfiMR4LTXI8RYKkI2NR4TpvSQN6r8899xzVvXvdYU7jJOk5Tl24p8y1T9M
kdc7HeHEeWFx1eiR7o5ctUoCxlrVVTR5ReGdQEvKQ0YMeGsJbL7UeMfOuBHUwJ84An+hNnqlhU3P
5nqoqbXxT3R9zQJLM3QsXRZAi66ZLURRCJrwywn1MukP2KmWWys/4g3DYL+KkWdIfiJu8nviuR2G
vHF5NXEeUHuitLzYucS5NAJzdn5brfony7yY2V7qW17+rlhtfXMl3h5JMl305X1yYRz1Oj5IIPh3
L94jwWyOVJJ09i4+wQ7k671ogcFErdSwW5cb09hfGh5BgELqUzpj9zCraE+aJb4lM+7HwxrerQ8C
PCISyiEpvyfnqU+09hLb5BVWeAp58nPUWiimClwukj28rsowuYaO3dUZ8od3R597aNXxyiiDTFXH
AqVjBF3WM/QwWUptX/bul7XM9rGZ95VWT3SL6zgfSNe08KbMViehun3J3RyaPIxQAS1MqqeF6M58
WPklWg5fEh8Xvk+0CqoC5iA4X1U8ZfYkjgetzcwvZu616UxB3JdszuQgTbQuveH3HrLgKukkkmWg
59XzIi0o2aOOQWVZVkcU/d6xMSiEVeX/EHYeS3IjW7b9lx4/2HM4HGrQk9A6UjGTyQmMSQGtNb6+
F5Bt1iWuVU3SWFUsEoEA3P2cs/fa+4Fm6s1j+K14428FHiqdSMvSk8fRRBCS+UG00Xolz1b3I0iN
4lqKGhho3ccbxWa2wb4kV05gXwMfZXfjBfJASkCAPL7cQuRWG0dkb55VIX0ex/e2J8AyCfC9doB4
cEgV6PbBvNltjBIhCX+iZ+p2iqM3G0RcMIkf062gOqVJFQ0zniBYmWOzL2qLsDkSnBspG/S/VY7j
BFdwoMHTi516FY7h79SPnF3hD9+oDOrj3PPu9cTYWFbLeCrRHnOsUfu2wfHUdW639oE6bWo9fGxM
8U1h8EM8Vrwk2MMvfZ/t0an8CMXwHV7GXssR+oJJlJsKPzsK62My2v0+6LqCoptuBaRl+Br5sU7o
ieqoz7dZoJv7esoNev4ZUVsZur5i4DO5aFYZO2rfNS0wDlpomW+FsJ8LM8LLkmuAMzq9OSphTftu
nm03KJt2qe94d92wsTfXNofBUR8PdTO9wsZ90JEGd75qtkMfs843zcygJBqiQNVBB5pxP03dTVNk
ctdFmzAotgMGpseyqZ+tvu+PBypsgA09ISKJDirM5vtmR9gDjYq3SBuE6H6UCfJ/ny42xdMLUea+
OttJDbNP38K9s2+m5vx00kmtigaYYln22joWzqtXogEIC82mz5JseposT11GWloevMdj390G3NC0
5yZCf3P9zOnO2aFH21iaolUlqxeBGQi2yohrcXzQ06ja2X2KdxubpDO8uVlUbtJYZ/wEOsRm/LOq
5PS99/1x5dVvU4QszopjKBc5960zCUSt/R0c6GqteonXP5YAfXpjOwXt08SYjgGb1a7Heh7I9oax
Mt3yd4TJaKVbxa8iZxkQDfLi6rthMDlH7l7vJHBy2no8hpFqLloedSvDKhDJhYF9NKpdrRvQ163g
xnTxA0nitG04CRpxG1y8yDnKQeOglzpYuTQOgssP5dsJ+cHiVyFJMaoqGrZF8Zprwy9YG9pa5dGw
c2pJ6DtTmhiX2aaVGqrSPDx4JsuykYYMM6IOO4P5GvY1H4YDGOrifDf5v0Kraa+DoXEIFVyhGfOd
ImndJ2h1Zdpp54SJCtQjQigmFu/kp+q9fV7oHKOC7DtJ0N85hYTbCIM6o7GsP3c5s5k2fDf7qbtX
VBhQaP2d0lR9dtvwAtxXRxzHiarze0JL8ls/DsEurszuhRYnk2J/3Nnm6G0ziBivIjHRHdftbxm1
8SZV16wqu6umobanXoA6ruHpm8IrpvVpg4oqwqJA0gFSkY2epA5qFPNHxPZAfwyGj8O9M0raPvpg
HSZZQKOJMhhizdF3QTEiBR03wodorpXIP7Uc32FWcUeIb59w2W68GhOPW+pPlRvILQP5Q1/63nb2
5VZGpF09m+0dCBpzLAZXVvjhpjrh55TYK9ukAQxUE5tUTZnAEk8oc/nMXgBHkXQzBub5s+4poj0i
Yh3inLk+r3xOLYVGlVJUMFF1gMxlYG3qXMfsWXs6s8NujlVmeJDSjyXeDRkCh9q6H8mUsdy3QnbN
LtemBMKXcQxajBUIfwDiBh9e2E8bqynn6MUes1ozNk+9dAm2HLu9m0IjRpnaXks3RTMONMzOGub7
8w/Gmt8smZj7PuJJnekTLN/iOc6RhgcTi1UMJi7XnJLfWbPW1lWM64D+fjwsEc6w9zB74JudIepk
K7j7wi6cvWng1WvtJ/JKxfMCRqu7mRcXm0xulZ/tAs5Re6vX0d+NdL1VEP+0CO3Y225/zH0mvsms
as57pZ+Agz+NiTFuFsyiBPm/6cre2ClU5bFhrTsXR52vrPCaZlh/xk6HHIHSu3X7aGNFg3a3E3bI
uDCSV7/8MeiD+ew7NVQiD3gdcEW4TAZnd2wD1ipLDWsTCtd59BMaId3Mi9Spc/eNjaxP9vVdEjaW
dMFezZRji/T19WAG6b1KgLkCHbmzg6W0FbPggZiDb9D67h23/dRTm8+is4VwaTci3xiYV+6k5/xq
Krdj862fSbzOeBfq+nn5XWYwDTv0RYQiYvqtXI1yMo4BHw8F5y4tui/Yt9HRbgul0CI3WWcegWxT
q67LTV9iUFxZI+CbwYlumWsQlsjmyQKa1VlbvDktnHk3hOPiFd4ja2zPrMffZomBgsnWzlUch5AL
GPiUBTNdqyhvTe1bV5rPIB7gICwhFEt8EK2atdJgRJSml69LWZQEo/uoT1oE4fMJ1MKdavLp1qyc
lMdE+FwrEv76ulRnrQjvfm9Op5rKsy0SrE9GFF2pVvOjh1UiUm2kg8u3k205aOLQFzbpjrqH1ySs
zc9UJkOZF1VpjKPgTq/y0HvV82K6TKiV9iQFv1VRM55C4nl2fqyA2RfN8Mmo7N3Q3WMvpBPHrntZ
fuUFuD8qq0gfh8be+tLuXvjty0PkkXOHa45T3PKjZaHIcnK35yw6WTtPcUYWoEv3YTV1FLMEGkQ8
wEHNVNIuNh4Rv22jkcfEmeVRx2zEoMYSz5hBsJvpAWGYKcVnSif+PDX6yRaoTidcp8epcoE+YZty
WE2x7DyVriFe1TQeB1yRzYzdDDUuzWdCMGJFWC1xdpAKx51oUIGkEt1zg3AXAXYwQvzNIveuRS1E
x3gGbNmjvhsU1vrS9VOMrOwq4UCYji+QUvvRj0+epzReqzlHdPkRxq6OFHZsjgINEWEO2EiUija+
72hs7xy7nS58x5F91wwN2Rrv4HX+p6GNfATRzHbHaAQwipyxHCrzuR6dFxfu9K3mnIiL0zwXmIcY
MhebtqVVgjl2oEAcUT9pmDtUCiVGkEj4gIp/w5OAfGPODo0m/nfTiMKPIiRIozB3uodSJtUi+/Mb
D8LApRAiUUewT7hRnN38whMfg5+whCDUW099AE5Cub//L5pUIz8xHHUmpEmNyLPU4T2Ogd/tJjIw
6cjk6QaQmnNwMIu8cuKhTToYnE+ywsjQt0bjXhPZtA+L/qWtxYlgIq7bQLk59MLfRcxurxQD1SEU
5bGp27eCiesvUGoEpK+WeAsv8M0137BzRUQ1bqUYOAeThfj4icjvGnqvc87Y8kMY47BKbRrXgwvb
KBHhjTMrh+vRf2Ingd7qTQYbppscP69f85NXoZ5KRiOcLRFoueQ3m/BfN0GDSRaNAN9iTQJrGkTJ
YSArVIXo8tBbJzvYCtU260eWkUpDUVc1ByubvMceWFOKB9mcXP076wZDgckY95Nj/mobQ/tCUx8I
0Hy/oDInNI15hqV8dsPcfoyh/QeJf5QGXAbMZCXybvzsbqC2RpggNGJmf2Ou/zDv4MfGB41F+N7d
0CTmc08zOb4Wv0pX4S7nMX5Ybredd/Vhed3xCjN0nFs5Jjt5wXxo60nGzkgjbPr9KV461KOF43yZ
3GdvbION3js1QcBAkT5z3eh4uZum1uz9597mIWDJ17iyH6iugwMK3gmHqrK3cSbVLjZx0hQMtqit
rfKg8Z8PyI4Bl8CyWrcFquZ4Mvdugi9ypWvRTyzP5M+4tCMoxSfktJWT0Eto62mfoip+SYEcH8c5
nAhELrguITYd5iY0+emDmHmgS+7ssgN8Jg0uizQ2LOPUO8WOyFB5W6JP3Aof22BLc00yLamYpXcw
qkbbaGHdbSZs0Xe31n/xt0Nb5T4ImjwAF7zBtzbTmOsvgB3oJldG9xjn+cnv9TfS2PtHrUUUkuv9
96EPglNKZ6Gx3z4hyWo+W01h5l77ZjTPGHJdPMDIEySdnR1wY/uhahCxR1qKplJjMOlaGvmTGOJ7
Sx3YZD5ixNVv00gfG+uGV81CKjCs8+pdSQScBMB9yZmUNDMrfcLNykidozPuZ0J0DDPnJFeG+SWO
pvGHo2mrdpQR8uQPHwzaPWvR+LWDb1+8ekBd3c6cMK++xDYZjsrwUWTCg4JzC+0KjWPp8BdFX2QO
L4T/bRS7EPfIIQ8YNpMVsTHaenhc1k58QUwZogi0oKFh5JkYx865B9m8JcswajZZaG6XvKshBAgV
ZObu81mTLa7rVKlv1kxmLloD2k3a4ENpmIFO5ohBTHP7w5DJb23YR1uYF4QupO0JTx2HDB8nl5gM
dQoM9B/FaODH0+gsRWH4kxttvAmlU54RTKxD1Cno+Rw1abYHITLM9LECa58wucKcmElPPmYZ+SG1
rPLH7pCJpOLsn05bosVQGrRqZUwNPQbDzDAiCu3gdVTKea8hbZmzEwsTqFVd814MSnSb3gAPYnfV
GhHDcLOc8lx3+2SQzZ2Mg2hdhqEDupqTUopfZrlby1JIQ5RkWCWjjTuvDJ6eYkGwzPYUDzPpOEq3
xcyloK/SoW+d5A/fANbabxZ2MV87T510A9S8Q3BrHAl5rMM/u9y2GFfZ1jYORCIWd0dQfbe+sc2i
Wj/Yy0pV6c2uZGK9KyXeHGdmynaFDQfZ9MkPcNyDIHqIA/rH2BADTBjH+/K36tJ090pPaMLPiSaI
fturLCWBeby1ha5Xx7SNp101Oj/8Rr0YrdM+WR2vQegFzHgRO3MaH+o73tQZmlHdZDceZZFZezWY
8cdYI3IMsxh/al/oW79NiocxQ3AUita8tZ33rsHU/BjgEqNlEP1e52FY9dWQ7gDeA5eZX56Bkglj
AF7SqPTXQd4nT3ExR4qg0srMunqsOyaAemo9OfoIVHPuDFcBZlcn8y8t+t4bNPIPTbjtsQBQRpMb
BHhbQDYhVJdEcxIhY+Kz6aBx9DY6Nu2ew+JG2rM1hxDJh+XWMKJEgUVMcDVP4slsbg/E18ZnP+Yo
FPlKO6QyyrEzcOByKQXOmplfgxJ66lDX9wz8NRAwLpY4kdnWcMXMsGnhOq7NyCiPqQ7ytIrg2Cdz
yO+EuxffBbTMhDiuVZyicFFErx99CSmjyxLcsXOMZ6nb3wFF2s+NyaIgs2CeV4Jgt2qdhQVazKnM
AwuDRKlQ4RUu42zYvaObKSArSMeWNM6+tqaV45ThpUlx60k9fTXHevi+rAAMr4rzgON325a8GaMq
uo3oEEA3kuW/jgYCrjDi4PGzkluRBh1HataupK+QjxvExwJSYk2WKPaM5H3o0FZYiBQwqCe4j7Ms
vYRNOMHYGFGy+v1DMZv4MtxpG90p+CNcDWpTXxLrFeNHCvJquEa/GxZTK363q7G9uWFmr7PYTA/g
9jFIs62uXKzDT8osry6CAFKM9ZtC/7XO8PXsuET9QN96NZb9NrApa5c7XgUqx9qP973w+/iCFsPa
TZngVDr11pXeJoY9gebQoT+zLaqqOObV+JOujb/O9a7aT8NP6MBoGTvSBkwQP5WjuVvPRnfFdL7E
KJVh5fdrdgtPWwnUnV+bqhf7YQg7PJ1T8C5gdCE04IHqnyZCrZ4EprNd3snh4fNuZd0QIGrljTDK
FqsMkACEQp8lLOBYwvsaZLT6gdb/wJkA2kmhsgMMBf8cO4qj0Jz5LlhoNzVH9+2yH+Of4g/BWSkO
LXJWXj1qSxNZdvM9EDRpg/k4LswGk2utIRwtLCyWQ7saRh7NJjGfw9JEdzWaXLuOjnpe8wB+V+IW
Nl53rUo05S4sgCWSYFKU1lNRALYCKrIC88PkhWJByfxOh8zdVC6mUo3fsTX0PgAvPVO6hHfxCzu4
501/UI32COY1YvrVwScJEb/gGqKtCuC20FL1HJEJiOmoIhgnSNv1UnB2QXR3gra++HWJTA9B1nEp
UvPaQLzqh8/9eF+e9czBtdv3BdyfaLjTJbXPS4kKlBopmCUv7hxryZumb2gSVyRYAObvbY0NcXaK
aXOcDdNQtdUazAkuXpp73gebZrBfDF6jJ9WF5hUzwFMl9PbYGfqFXm2xbhHcnSYIcOgXtfrcmv5r
6WfbwhyxeGetujjSfM/tgSdiPkIZhBVhzNbP0Bqqc52tsxrHma/oRoIYofIRAbzTbjhltfNgAlNZ
KxIk19j5+LY67QJ6MbzC9qORgPgfvZyJ2UXiIQ0rXd0Qw3eoRGPtSHiLGlvzEiRlufnsEDAEs8Gg
3aJGfw3HFChil9S3jPnutfLm+L13+ik5W5qr3YNJYaYwplfZoV1HwQFi12oRm5V+g430wa8w7Du4
EvxEbjoHxgIKL+/co1BFTZ7M32ykUSzzicl1eGjy3tlim1EIsfrtCLbDrBLtIZGKr8Wx3HU4mPXb
srRPTfM6EGo1RbF+HxD6rVMdV2kx5cfGNI2nooUzZXkceyZaOCfhaz+cXLxNoQg+TIeRb9YC6kFd
84I2oGyQ31iwsO+iLL9QWA0XlXbl3iPcAaofbaIxAuKii64/ylqtxhoX9phC7Pw84Gp5+K7xjr5l
pTOtwri2rvRAQYeOxXspkv42VS1JjnWAfN74YneA/psxDR4wKtpbmdAbayfbfyjP6WXZPnoHUs7n
4h9bk7c35tGc09TJdflV3eIy7XBkHrygUw9alb+1QoZfazSk9tDfY4V8kzBD+IUA87lojb+X0NZ8
MOn8wa/vqfZ3/I6dyYFx1tqGZ/yFB3pD+aGFs3MeAi04U/0Q8IDKpdOPw1SFT9QC0SsJeG5Uilc7
tQ4h2DfDsUjOlXRXfZKg1mOsD5feHJE3DP6Afq15qR0dUktfPmNIYY6A1xSahd+/0oLB4lz1x8gD
OLM8J9LHxt4MG6uMM8IUEkDgHWmxcez/WEopFVYfYfa+/E1ol/TnTLEk9u1zEE3SZYkbois66z3N
JX0T6gzeY42BQ+ZDBlNz1itts+GzgcBkFwgHD9sqJaT4onfl71JnFOfLJrqNYbGUPRQejg6Bzx5g
PbL+PXdIl7ZJrHU7fZi6p8+FOSD63cBZvDxcGnzSBMV+X+LgR99r+Ee94fSAqCl9wTqtOOD2VKOj
O8k1RxL/mrVfmK2t/N6jtk30b0ED+twcip/W/BrGiJj2JBMY7LRt8AwDYzUUlXfhhAWEq2PLDsrj
YOLKS0vzLfE97XV0OFgEfJtoD2L3bnMUhR8n/R9T9CqJ4fk5NSwhoomzJ2eMKUunID4si6Mg5vJt
NAjGzYfksQgs7RHg2GOd9/XXqGTMjgXM3+lYLb6GzoCQTBMhOKmeuhER2byHo0u+RoCwxqVAm3/k
AE5GNBvHpQwUkvyiJDP6qxaMoJzc8tXBC7JsM1ME71qpttJWcU4MwWfch6PEWwkwLo28ZusmIfqx
Mcl3Zs1QiAJyu4ReJE1lnvKhfpb+4n8QOh4vDHddUZ7/70eRklggGHSdUYLeUaVI+hRBfCG5TN/H
VsbiPAKcBSK6cTwGl8vGWI2avHEarw6p4cp1yizvF/FdAMvGCtx4PQH4D2AnOozVLyJXIYPloNpH
Ll8ZPpj+JMVcX9WoanM3ZKJPj4vySeVre4pQRdCZts+wwdy90TSnLgg1SJRkvBGpDoVFZIytCswJ
oSjifaboQeQ5h39vbqtGvZnTnmofEseS+87lT7NQ0a2kVTQPtLfyu6haLm/ww2/ZBJlM69Ah0mRm
vTGap6iqrlU/TXdg3YB5E3zjISqpE9NM9cK+421cA8lx65r0VTgyLKWPNTUHX03gWMRYHyxoJjRE
sIrkvjUc6h7LR5F0zbmdnGAz2zkx1Q6QpzPyEtDFfVS51q47izYpz1r8pU1O7hJfhJUTaE9kQxEq
FGYbyLN+p03HIu+Lzx1ey5DCNlaNU1Tqv5aHqbYgwEUd758puuox66IfCSXqxqAJx4JgvMVeANeI
W8vOuokMEXwdgU0FxviV9ewQmFW09mNhPhv+9JKAITjRvque0ZB6p+XhSy2wVmWRvMbSlNDV0erp
mmvuqwiZFUrhVoqfVpwcYEJgaByuc6vwcyKBZxbOY+4Hx7pS+sbrOAmH8dTcyAl9dIw8Pup+Z7PH
O/5VOeBvAN26Jti0jhjVtYXJAvCGUa/SqE6vykPSA/nmGva5f1y+hkpD8G0O+oUJGnNpx+B0UBEX
TKm8DnXl7UWfeusloq0IOaDRQniBD2XvcUAEa4twZ6YkWFqULQ4CX0gQkFxfT8ypwlw8+lZm/RRW
dWsNUCkNDbgN5841lZp8iB30XXnOITeizvWHWHspGNKvsgFxBezUa1w4D6XR0WIMaYEtvVQYh0H2
oOoh2I5Z9xOI1YzRbIhhCnBEIaPqkVsTzZYm3WOfU7UD/4uRmQn5xUu8aMeHJI1k/jMcse4NEsu9
zvhCDfIzTukiI4GfwG1QmItQo7Prtv5lqec+Owvlt5xEt6dKbaZ6trFrqTwvTVeDA/Dc/LR7c/b6
ZL9pbLao0A33OvbkBywP2XIqWlZHTRHn3Eu0W8u/i+2SjktiPU6l/TbMnXxF2PTRibFLggDeUQy8
Mox2uImGfaMNBx6jghK+/KMMHaJnUiFmJuJ7DI/wraUoxU05npDunTHgZg8W0TEPOpv98vdNDkje
MFLlxstE/2AJM0SaRKABYHOxyltSeKxoDJ/CrHiwZICpMHX5tupZlSvqjbDCZuuPXb5HfdGvCI34
ilQeN9PIPr+80WZpXkuD7DBtuul6a/30vPQR83XLpk/GcWGdC7sz3vIpe8ICDOu2tztmJODAorhB
xx5l5dEco4+4ydOjDk/m1nhonNg9jvhOQdsKuh/EC258s/kt6Mg9ObgNV3Vs6CTU0IlavsLl7zI7
Igs8qotLYIvusvxKWbjqPjueFnpu7DL1PbFG9FmS9m+Z6S+wVbxrztGOdYmRw/I7TCR4cQI3w/Gp
/EPy3xBd4RQNm2mvdejRgZaHN58Xd08CAIqpeUGzkvj7hA5riZOaiF8o65jsPiTCX210S3OmBzWk
zOrDcskpA6BDb52ECqfd5+vpzxz8Cv5qkXbxelneUTQVpBH75TlZMr2RYKpLmP+q7MB5F3iIdwVC
eUmkDGiheNdHMjp16fCc1sOr4ki5lDFZMk63TkNZXu38tqQGFYNxCbp8oozh16lkXhq/JWCZr4iC
PnoDzennMaVwC3ibbtg/ZIL3xWqyr7FEym6F1I1aBJtwOb5i6nU5EtjdrkmeDY1winLGeC1vXEY5
jC+eNv1YPXYMBM6jGn+EmLYfsDHZD2kyhcda6XCP4+F7IZIrqBXmCjpxGjyqOh1Ofpg4yW95O1D3
uivZWfLL5IiHz91eOfJiwJLpKHZvdaaqR4snZS0dojSWprlK0I73bJRh6pxbDjl0bmB7EN5q3f8l
7PRvKekUAkQYoyagM2RI+ZcsbbfOx3r0GHDLwbAhCeWQA6goLn7YPo3GeIiZJW+W6jNDhLNBBy6v
LhrivorBVjXXgsn9kewee01/3j64pqXtKbgTEmnM6IXp/U9feD5dBY1THMzQU0+Y+gpepLOvTSt8
boW9903oQdTIxiaqbKoPTTG20EhrIhej3LIYvWej8ZM+P8soOOdqhjWAKQlGdZB5ifXc+l0qRPt2
/y85tcYcY/rHwF1hSZKebUcI07SZXf4ljHhMwXqD+CdEOWJoajn0LdCllpdlJRQ1gqzaFmggmzZ/
MNNVRD+h6Ejzi3MEzty4vB9Ak3pafMpr/VR4mXnWotLg0xlgDqweOSwk9JAQXh/hBFrV5iQLBMPL
6GCy42yrlQKgeFcHzLEafR+AjQOQDOoM1/tW2fbTPz8P+l+jrfnEhmXqtHKE4cJh/MsntkAyOukw
q796KpduHlURVPn7f98uKztiFhu/+RBAVBeN9NXDNeV78W41Ykd7UxyniU15XoiAfSSOuAxd05O1
Nw+n/vlSDfG3L8dQtiGFKS363UL/S4gwQr/Jb4GybpRe/q6H0jhRBSYADDnUtrp16aNZLaIx/TN6
s4O5HZZbpqJf0zJ9tkxP3STPjC6UOMPb3xB3wjJtAdceovhVm4BQI+HQz7D2MLRAsTe1TkCYppiq
Y6hAoRZdQk/lx+XlMCP5bzH3Uvw1JZnvghdyfj9dmq08f9yAH9/Z2/z6v/9L/38aHesgjS1BQsiq
oVJ9MiNyzuIG5hjqALWORDx9ixLjazx10xOyws8WvsVrg9sxCG8Dsxt7VgJo5pxnUU4xZ3R3vFPt
ZbyFi1hBZ/ZguRgRzUwYXyJuKOnS1ckqLCLh2om01SErmJamsw2OFzMep+S1D1t3DwpsGXKjI/zA
Fj4eO+aha/ChJKNQbq4KfDUrFffl0Qer9TIU/HkevU+fUuxGLYoCYBl71ToK0qVZaXkO3ik3IRgg
IiEa8UkK+Ir9r9xlhVtd6qD+RiSXjcNHpLvRIw1UDVP4sjRX4szgcO/CdStS6R2dOZ7QQcnmWv1P
2WjDO/06NABSOXsUb/RCVEo8QlbmeyI7qb4YXhHA3F8ax3qYYL9nrIPwoMK9LOOrAXLrpjG62Q0t
kQz4BnAM2yxHfbMbC5SFVYPNivk58Y9dsS+CogfNFIiZlXBtYtR8Rdnil5jVCprt2buWf780ebKE
XNUUTNmgWnHxYo34IHUrO1Y4xyeTpA7lWcniTVb6pzTAKK05wY9lsJrzMj9/WTodjum5ZPHhx6yC
CHdqqtuIT4gtsuzunZkjrN4qdg8uTKtjVk0fn8cM01QloN2kBg2EILIvMNuZRJtdpHLdgxmCqQ6p
z18gnZqbhKJDxN+ykf6DG/sSygwDKjmAQ5wscqjaegz3RtnvEAhn+IMMAoM6xOzLoBS8TL1qzTD8
aKvpVbfFfTl7Wn2AJ96d6nuLpg8uM1MaIuM2hgqLtyH0MHCxxfM4vOk6kKEakhGys0Gnw9mmL605
iXvYTl/yOqCfFEr9HDSYox2mtWRONIQDVcOrA0SAcVBXnUwDy+DY8vJP4FoR0s1Az/SX1efDUxM1
8TmEGLJJvCfVk8gKknhbIa1fjuUJJksihzxj3cfATiwsA2t9kF/6hiSd0Gj7S6bk23I0qj2mfj7w
HapO97L8quma372yWRv/eRk07b8tg1JSL+HpnLO41V93cAZ+iQMPUd8YaK947+k9GgXpr2NnMjG3
oOr4vMBSC7Tz8h/nlC0R9867a1aHUTDM0M2nz1zSGq35wUxN9zRyjFoWf98afwDCxXlt9vWhKFhH
RFw2L8uz639RqmFC0FnqPMSWA0iToJRWYOrMRjveoR3zjgGThItj2OglTIQ6GwNnyA7rIwqb2oP8
FA3qY0pHoht8svUA8x8cb3hurcFZu80o3jOCo/CgylefA5YFM+zsVx0xcA3cd0OSf9koDwe7Jy9J
W43bwqZZ8c+3WJ8PQX8+BhjKQWaiW1ybCUbtzwuxOY4MdQWpestUQfZteMvSAuieJmlrhPlGN6Vx
BOpHmrudPQmBUNO2osd/vozlm/zbZVjUPKalDN2w/nIZZUtT1ZmwNEK+4sigXoU5KOroJHrWhueg
gqZB21Ln+AEyMELLtB0yDg5FTn9EtMZJd0FfhC5BiCi3XZgP5E52JCGzftKASa3+B/S1cP8vVz1v
w3+5aqYunKDoz6Cr1Ofn9w+72ADJJQrjCH1GhWPJ65HyQmwtNshRIamkREJ0hHqv9IiXmK2AbL9J
+6ozobgOof2LTEbymaPYvgQaHg1p0hasLZbYxoLn59oaVVjgn8LeP0BDHN/+5eL//s1L8u1dV7dd
aSk+xJ8vHg2OYdNyUJtYjRuzhD/JoOxjqq3sXCQUaLQOsqeUIIGjZzYQ5phAbyt87sEs/0tgXqCA
YlY1RLN4zT84aRIeprjSdiY+WYoe8QI6//s/X7T+H84NSlcsCsStOYpX688XnakhsHFGqI3HjHZE
y/g0afkBsdRrSAeECCVIE8UEldRRFtJp67cqxDATG9ZFWhGxjGYuDof544a3f7m0/3C85NFV3E7X
FQZHzT9fWtN5Im91RL/LIcVIvma16s8OIgJwm2b/9Wl0AocIT8t4TGNPsgm4xqmP6G6hbiDqOk0B
5zmxfgs9UhELAB83J1KXf75K5XIVf35khaUblFRSIV3U1fwp/vDIhkImjDlbotvKUnJ+p1mb0J21
qjEGetADXtOILWBOYUBHxH6+/OiF+r7UBcWYj8dqTjqGb5mtCxWrXWqjvUlsYpM5gL15Xhefp1GX
xzIZ1sagq3vPGW67LCo+HdMNlEWgNQo7YedUwBUUtqLM0qpDENXnOML2o9Xefvb1bmKRS0LETwQW
1VDRaSwtbSHlimtmZ9o1RLJk9VzqlI/EkybdS9UH7oNDhjI2kDDc/vPNWyqEP988afAVQ0Fltfz7
zcMrQ3Q7BfvGr+jnyzS/8VC1rYsbCh7pBeM5FlZaWJwYtK95TXHoskLsKaaA02ruyTE0bWeMZCT9
y4X9p9fCZa+kaOBAbdh/WT5VLuyg8SRw/tRgglbO6cjYfGhchNM5I6N+vbzIgO7t5zLzzmYor5Nb
biA5Oh9+M4DHCrR0187m1g4777/cuOXZ//ONMyzOQAoxmA35bal3/vDUjXmetbSq2WXm0/XS0sWQ
6bNQJvoFgfAzwtA1Ev3hhXPfaRlEu2g7b9heVst27FnJs5e54lJ1ItggZup3fEfypevTrQOS/Kst
/JMIrA59s9leln63EznRLdAr/6YU6cg1UZJx4O6WmPmghmLguRKVIXFPZ5JdCO5DmKvrifcvH97+
+0LLh8cOyZqgKxqy8yv5hw+fJRkqidr83y0W1Uu31QFtBJSOAwB6oBMrT/ODXR64OdNYtDa+AUOp
0n2xF2bxhSKhbVZwbGDTzU1SNAnODp8nphhdoJDDM7U1de89kMjE8zHqLk6pEeC6FKYmFs+lmNrF
6ZwCPTUfDMjlIdWH52WOo9B0Qr7oAAZnJVr5fnwHMH7OvTlaKB9zioXiPZoF7HqEkB+ud7SbAwdu
2Kfui9gmZ6daVYn3ldRirB6FD49ekGGY9mSeMccVG+gY6ibG4SPt1F3MolevgfG+G4OSFVLFDu1n
9GWDW4Zry7HERWaN8xoU+CR142ICwzxNfoUdRDkT7x4IZdl3p+Ud+v//w9yZ7sZuZWn2VQr+Tzfn
oVCZQHOMUaHQLP0hNHKeZ75WP0K/WC/amZXp7K5CJfpPAbZxr6+kG1KQPOfsvb+1Pud/jb7BGedL
VJXdn/+N339WNRhXVAr/8Ns/n5NP7MTVT/9v26f9+4f98ZP+HHxXN+/Fd/efftADRMKq+McP+cOX
5W//y6tz3/v3P/zGK/ukX67Dd7vcfXdD3v/2Evg+to/8r/7hv3z/9lUelvr7T798VgO9Yb5alFTl
L3/5o/0Xh22NJeB//P3X/8sfbt/jn345/+//Vb5/Vv/XZ3y/d/2ffjF+VQnaWvg5NF1SRWlbj6fv
v/yJaImWpRmmqRls3bnqy6rt4z/9oiq/GppEpMOQLFZy2eSG6arhr3/EZCv0sq1zQZ1G+uWvr+wP
7+Df3tF/KYfiFi5qT93A+m078HfPHRnrpqaoNHdQ4XJ+kLc6y9/dekYskiIaifU38rVDFOsOx6vm
Lg5lXgfs4e68GOzpSzu6Nx3xMHmli7wuMC7rQjML+uZiH5+ika5h5QRK0HsgNZaXubUPg8+8fepP
L5SjD6NH7S/aaVSQwfjCpb55ouBqF7tiB6nIl8rEhb9Nw10ungiuoVuue5v5NBKAdnEetTvE9Yxt
OXSh/BFFgDcTwbajNwj4znXgJVxJxxMHz4N4r3txkLhgqY7xFXS/vpwGwH32YD+hmziJN/I13zPa
foCq58uH+qQHclC72utRcHO+iOCKz+quPcB3/0j80Bt2T/CS7xlNtre/IbRV4wJnXTmF3OQeDUnx
bnyVz5SM7Sv9KE+60NjR7KfD9enJss/H7TeL057yfee90XGx4fGe2hPFiEOG08k+FnZhv/gPD5H9
Mbv1qXcHr7gDmm9nTw06bgOcjmEf4Tkwb2aAx3Isyx6eyFwlrsHXNuy3xH7gZ2Wn+97t+X94gj4t
GyOlY5j2R/uquNld71KfPgE+uQFO4CSPklzeJfBLg7TvwbPDuWaWTLk2n2sg7hmUOJI0AAJQKb7E
X8LnnbRrchs5ddDtOFVfVn6iyXS/NijOCXB66Gjt2A3d7FTa1r4NgLizI5ZjnO/HDr77Qb6HEBck
lvesk2agtH7sPP113j08MIfMNHdAMM7p3eSQ7nFAuIob7+P9HKhHWfaeVHhN39Iz0OxddiAM65OS
Gdx+PUxOkRxI7LmMijMLBkPRpdvusVhv/2Fkzs5tgKdkqjT+087750dWLwhWfFoPOvuAeEe9nx4Z
WG/eRtpwmkspdsYeCpC7goi5i/HNkn0lCypN9JVc49SJ3jg+Q7HQ8hvrSjXOJTbyXJ/jk3xW7tvT
FAyPunErfFgf1Sq6oplQyrI5O/AL8UC8xRUu6HIcknBg1kTUH6cKcbuGkx6QrsOvySIjwNPrYDpt
GVDgjliNMb+4S+nJ0lnp8ArAbreHH5IoMgOIeKQ1v34Y3uPU1k79BTNJW+2nBfKmW8U7xUUFe8sP
9qSBDf0hTu+u7seKq/T29nTg9TeOeN+4Ajf8FsNmQPGFJE39gHRLUZyEkYcf/U0/wxUIrH1o+gil
BU85oFHmiqKGwni59gmngvdNClzoCrEDV77yoyvT4D0Vxgmxiz2/cJk1KIefpdsMZuKrK5A4vRc/
U9/GZ2mPwbBTz0hoR2rtjvbJN2bZxNn8wb9ddgy/0Mk+Qmrkp8OU2OhGN8olfARB4m63LOXL5Zlx
WRqF3QevK3S23feLxoPCcMaX8Ar49zh/UaZovoWPAcEygQK6bYrP9aEFZfTMVK4MQUxxpd1yLn3V
8Rdv8ZhG6fere6l97fiBofzMfZIc06/sRkepZevvpYvg7DtEruCJUD1e8w+g7JTFXm+js/VOGqu1
CVLId8ptYj0q6X6UX4kV9Y50BTb2ypaYqGoEmH6wP8W9tJ7Niwd6MjBfQls4F6fRIR78Id/ulbvA
cKSb+Ee5MW9HR/GWe+Vw0+zTXeVjdRSjOyPbc8RWnxjkoIF/U1MJ3JEGdVPv/T3epa1j7UX7Pt5V
twci+s6zV9uxfbO4nnaVY+9TdmUX6t6XfOJXtuiqL+X7K2V1jxNGaS8+w9ru5MfvSEZtk/8jObM3
e1BkndWbTjeyLzk3pd0+dbGL1/bAtwAu3in21Ylb1TMv1V7kQ2hT2qQhHR0MqW3xMUijGEq9Icbn
8oL45/lEct6mJo0c0VL2RDiys/6aAXk+9D+aZvPL/OeVPv/2Km76p4XY/zEPajt/gibNg5Cx9NHu
Ts1p8skXbMP19viTyofORXsitTanTV+3GzLLfE/Fnl+ekO1CrAZqT4+KqZrwgrkqxyoSDIs/EB+1
qf0FueYLuYvOleKUJp7Vz0hkmpuxSS+61YJX4cxMlItjmKFcHoYBV6VrBOCd3Xfl/TG108O9s/uB
PT+4zPAfTf/xZhOCJogsbe1dc+B5sUoaZ+kmm5zlln2eO/iN27hKsP3be8LVqB3hjRWVl28EQEij
h/IdTV5nBd2JF2W+lPwkpxN7RTi7kx2freZtCR3hC4SOgcg0shP1EnpXCy4s6xVuz+QCyZteD//n
FXWby3wYDPQOIoCwU8ad5UpMRajVgQnm3+tq/9Ru8v+9BfzDxvI/2kr+d9wnqhSI/uN94in5/ox7
VEL9d/LH/eX2eb/vFq1fiZKy8TO0LeHNZOG/7xatX+nnmRwQVZlmrchB9m+7ReNXmVMt5V9LN2Vd
MijC/XW3aPxKwdCk+ibRYRI11findov/eE6TdI6Mokk/ir9HVbWtn/x3m8VBnPACtLQgarng4KIv
zPmiu1XlxLGq8jqaLJZT2A90RZTOU8WIwjGXaay1mx2omVl5KwmaLsluFgmsbotlOumE3lCkjYJo
0TUyDJFJygONk5XorxU0KoojjtxHH0le7qxh9MwiwmalJqdIAfZd6BoB9QxIGvISavgnptBtuija
LmLoy50T/UCS+HnWZI55tCPsdp0PGVFqwj3M6DVMGSLVMXYQcErgDH4iEV6J4H1cN4WdnhvS5kFB
40pT5o4q9I8Zqr4krQDHxw6edt7YFOHZ+a3wknqQV3tw9R9NLj5oRp/cZbKxr2GLUbzWiJhqTEqb
VcfQ9RSYZq7ifYX1EWc6ZeRqvrUOwqZiN0VAyZlE3lwhaUlInMF0axBRNqwgRIU0RIwD2VuoTkk5
z2c0X04eITb65897/4U79P/vSPjf8j7+z27j/0mCoE2oyv5+dvztgMi9+Pv9Kxm/0ooxZOrFiiKC
iOJPfj/tWb9qFJ5ES9dk6hvcJn932rN+FWl4aZBvuHkler1/u3/1XxUGEFSOeQqFC457/8z9qyja
P9bjZUWknC0pnPZ+K4P9wx0Mt6iPzRUVWhhlmxyvLPx6hDkHDxGlXjEf5zn1TO1ZnkUu5mXZRwvu
J20+hqPEoq3ryEarJjCIM9IwVdwl6t6UIlYDtU4c4gHlwYQmbGyhI7Ju2HsSTm4K/jU1Ckk763f9
kDAZoclPg5Y/iLih+hjLdRzrojf1hF6mEs0hgcNhYrjAUhICuOTE1wUkriybGFCG0xJN76HZ9448
sc7NY/ZmCrAjuqlJnaMJy+K2KCRWSLOl1G1V3J7wmbK2RDqdPcLlQ4EbSb5cDc9k62ikjtYPsxA9
MDjQvD0hRbV3wGxJN6YFWikKrb0GuYi9CIRoq04nPCaQE0t66zuEzAkaqEMsQZNuo8fOqylc3U3q
aJfWJS6a1q+3xqEVxw3HDZI6fXPu6vUuFxfgXPHNrBVPRdmEgRRlL1LMbhM4qqpPjSeMi6PpSBky
jS4e7SVEWAK+uxbYiibez8Rz8MG2ZZBF5IbD8EPSRwus+HTSagN0F/Axtxc5AAgAT6qIeDLas9bL
lTgk2qBbzHisTDmUeueq8nqqR4ZR5D6hUItfSgLZjnoFOAAGZSBDzMKN5hQRrQoDdYHJLCpp5qw9
burRXK5MfzGNrqynJBYkBim/GOKCu98LPyBCF1uakRF0GX7GdkGrhIdJPhlJtlDGSU0CuOVnkvw2
WY9rKoyJpSCvdtoQUlHbxqmTC93qKTPa+nAz7cnr3koQQRZspLLEZJyxknZSh86DYV6Wln6BcqdH
gIC6TtiJhAZbma+ksd8n2Q42KUUEEu8ZUIbOMqJLM1JTcMlwcVAZrPlGitOHmeBS0Rt31IyNza1N
e5PvZ8xA1K27CKuyNRoaKAx94D0wOk6IxtUEEg+kJDxUdIl2HdUr2xBKiM89Efwlb920oIdVKeDn
mP38DmULVm/ExGPHzLwnSFUXlAnGpt6KHCbXVV/gu7fbfvwtmHMrKjMwSDlLmarAFzab1luRa2BO
h156tNaU3nO3OAOeVM86qSvZfnytrY1kt3EZNiZNg5NyvwC2mY1odMBmKocGGj2AxlF3MdHBGZdl
0NNQeLMpt16Z0+4gHKoAbyvhzoK3zETrmjtaC9acG4cQV0OFSKlBF3G4mM0x8gty8xjEAMmZyxaU
NLcTH9IdJgfy2aQ6m8IRKI3uYdHBocj9dRhMaEIZTjkJAnabKJ+yjO9gAQaoYHXY4fzxNoOmLgFo
EBj4vCXuCj05hF9X5UC18Qp5lRiy4e+n8GjVPdpBWKWeqHPOIITldlMI+i1TZr/pQWMU7M7D+o64
R/ysi9ljytvn6kWSBcgzrnoL+kCBtopDguW2qfgMHexDpu4ILTMWO2htIJiQbOLSrDxmdDfni0y/
NVO8iscgwFWZQCZ1m8Y0BrtJkFGVYfbS5dJ7bBW5lyrFV55s0++MwjFthIwLbxu9LuuQWghf5RD1
S6oTJGV01J9H8bK0zd3YMDMN9JyKuBGem/S5VcCutGm6r+X4S9Hj49gQUkFfgES3oVqtjbVjROmD
LAw1CVjS1WSReycx9RupUEV/6Ans9vPkllaW7Jhye1IrVM9hxG1kmoyhLln6HqZ9zryEIwOXHZqp
vmGsD8xpKBwrNLB8k1tYSLpAVrLI+FL47sB4tZbBHA49WpaF5xzoH843Bc5CCEdcmd+H0GS2n1ax
bVacueP1II1sHzsxvpsH2lcZpN9TCOxAqw9ZWh9LUYZDQ2Rg3eRW3Vgi8GsQJTFjQykyGuQDc05H
0YSXIvKQNs3WtPs6vdWaCa9laYK7STjR5H180ONY2xm4e3gCSVCI6OGTlX6WqM4HVsVIVNvT8INL
sl81wUkqb2ilcJc3QAzaXjqDQFZcE1TZWYJJozMvLJj4ORZJD1pTOZiCqgYijUmCDCmt6rx7SvRn
rUUhkW/kIbHBE9NnQZJbZISW6NSQYYYETAgalgtGC+2uIqIjNnHrEialqJCLzHhzZC0AgTBC+VFp
Fp5CtpJd2gdSzVG41TouJGu4TYffrqz8wAgDcYxqAWq4XISSZZNJzIvOeFOzTLuQuefICLX7qT+Z
WToc+pQE5CJDcNdgWPZ9qnENwau3yp4XIHPV1HNuG8xs+8TjAlkTtgqLkfrw9aUeCd68eOtiRHtw
TfHG779wO5jBHCo/vQpEbRCk1xjhnKuQBom6+pq0K+iybCR4gQoyYraZjU+QkaajxKYwhL+ychM5
qXjQvyQJo+DZ2E6M9mgFhL+N5ontM0njYl+vtLl4cLAV6dEmpxQDBvEY16/TMO/JdO4kDNdBAXSd
HI0FOw8vLhNtlHNA3k559ShKLSFPCCJ2nCR3KIFTsJhjg/YcTkuYkE6IOndNmOXiYoVV7yWF1F2Z
ALSQGXtqFeH5TEm+s3MvhkcVs4qPYTIgcfehbECnLR3qZIwwQ1FrwIrVxOqibEaIpsE4NR7ZZWVC
+ryEFoNXvAN08w61CE4gpuTKMMK7Anfdhh36bmCNtkuTI77R7WYy2lNj7NvE3OdKD1+reR9jGQeK
UN2i5D31lfS8tKnlkaTi0zJzX49wdjLULUqF0B3YHKJ4iaYnzwBY0iyNMCOyBThGq1IsgyrL8J2M
xXKZL7MMJrHY3AFQ8DKeg4TscmIQ5JPIkt4SvELBlNBBUxbyl/HS8gaZMqwbgnjwa9uZkYiB9DWa
LjnZC6MBhI2Gehvp6S40zCfx2WRIaTdOk7mDs73aWeOFxMxO2oZUZLDjqQ2lwU85YXlTuLyyh6E8
EQkZMfrkeWUP1EULPK1NQiJIvHCU0GweCTqM430UTWgilOVRBK4FYTlipn68BQaxOoM88+aI08s6
FSa8SiYTURL0pCIYt0TXoXmqFC8n2OvcHhSaGecSwKI0aHpS7stpG9cr5lTfKRKO+FJOkXii7yXL
6IB0rv0sAvHLlBncftyujiBARcp1xvCZX9+pWBmAF3Q6ECxKS7oqnBssCc60Dg6AYbyO9MTR6CjW
XYiYF4McteoyYtZZfOzFJ7GIogNzkFZfpj6nZ+YTVKQOSl/vZwnDxixlTl7qGsiqqLOXqn6oOnbw
NfwE9pFC6JuWBLmFZ7Cbj0FZG2Ig6NaTFU1fwhyd1HQe/ViXgnG2in2s5ywga6kcUwFMXqObwDLV
GuxV310EsQjKAtNjEPLmXLoQRpewIF5viiwggRB1dD2G9juqzVOLjMHWRU7sqf5O1ibcGR2C8XgK
8dtkbiXqzKOhQUlb7VnEPMdaW95qkqwiIpdAeq0rmw0kJ0yXr1oO4xWTUWqFRAJatXJVrDlWNPuo
zseLSpiDizY7r6mjJMTFzJVHrQIMyxEkYFHZTEVvsCQeb0UxAxVKwDgpx5LFHTI84V4UIAEwqcSR
ok4+5KIamFmCakz1FQkhZ4bCws7SlomklMfjZCkCxxhSM6bRfpJNFW1hXacLXG+q9MbopPxRMUXN
Lu/yOkjjI4N324aYMYhQV3iWoMJTJy110vrAEABuFmvYCXLdOq2BVEnsN6fZbHpdVqQed0rqTGP8
Uol7vTBLv+8wfqpl+5OiMIEMNWd7wywthmPlH40gO+jUihFi2gx6xKMvG0Sey+jPcuhhaMOZm8zU
0huN5UWES00wKXSMoYJHFA9Bkq4PEQlsTKVURZIlPfTbT8GKk4OUhMYxU+nHl8ABG+WzF7SHQjYX
Nyx4vYZgPatp/5E1rIaTtCOxNu2UIvzZ9tlt0//kJYO/MzR+THFyTptC1pCt7gYFtrCgyqWvmYwu
9XW4k6et3EFfJFbNJ7mZQFCE+sFYIpqWeKR43t0vCQj1QqWBuVjKbSb80Op9m5ton3I+0A2e5kqt
3BjFsVnmJTCLU44/YTfHPdBSszqaZRkUkMMZtFbfcTYQrLbMvQEPw+82zVMR3SkAGaOxzR2pm95N
a6UMhO8PgbmTt0Ag6b9KSBnYgZdVPXHUAk2rsB8kjQ0lqisYhhE0NoWLwiKxvuWb0VAVcm8ZpMOg
sAmf0mY/ZmYYpDV3WUtjo1Mzr59S6j3nEeCti/xkdHpDgTEpMUmkNHcdWx836utLHCsmtE9K+7rB
EtwOFNReFTAYfBhYTZIkSKEN7XueFv7ewuJnTrTJlyeDTB4hfDY9emIXJBD2Y1FTGK/Fu0HCD61x
rI3Ao/glpeewgL0yR+lXK8obNkoevdmIVVtahBdTA3SQInpRWpWlCHgQ8XKORf21VfphF5rqKat0
+GnGcIHV74ZbdLnmgeGYDzwNLQIdBgvOSqvRZELOyyLs0IZmutM4PYZzWsJHLJGY6y2HtxaFGKF3
hndHMTviEVI9eZi/lhiHqI7LT+rBuBc1wsAxGm87dviXZnyQInpPqGcfJi4o2HZMh6vK/DkY5o2g
Srddq9razTr08wHOJ29rVEknEJw8QcPpThHER7OvPpWWQGbc8EwZeJyF4w5qSOK1Wnvf5tw8ZmF+
VgbjF1r+KKwE7NBYPbGNyWivs3PQYjKjukEDfJsZsNWZuVgTq/qUlqsrrPNlqAS3SsQwMFXlHfWU
rcgTaa56l6oYzpgZ8ducN7XAGysYy2XAgOBiAGVJ1PKDIiI/lkEtOFUUpkeZ4M1KG5cz+6Ze5ewq
aN1hhtVwiNSyDmYCBnhvSna3igy7ejDvdewRGB0bCgaK4LVS9sogar0farA9afIA4VjZRb1yL1d0
hKUidA1lLrwepHHHU2InoACMxVo6xzPokUK4ic7kXXk5Jc4DESc5VnnAuq0h+clhDRFXM/94bZJV
OveL7tcmB8cosegmZ9m5SWiMrbznVI+avfgFXDPxo/S4yEBFYcfu9FhgTlwCW6hqcJnK7U3RExP+
Uk6ntS/Zw5sZfVS2M5mTYDmKp/os1u1R6fVLipmIWWbjOVsaYE0GefIFrJQfWSJaeyOVvIkoZ8mO
y49RG621clJ186Sk8pO1sJMCHRm0UEfskWo4exILu9Sw73gHfF1g1JN/V02qKNhCTUkYOSL2pr7V
0NglIY/oy1qYtlR0Oy0D7QTx6ONywhtJ8Wc58Zoc7wya8fZlnSsQajMMVXOEmxaF+9n0BU3dIYs9
R3r30wn9WRVJ1wOK5fhW9QFj5jf5MiKlaPb5ON+gIuOpr670e/qas1QavkQJb3EShoyyTcueNBDJ
ngWIrW69D/lwXjt8IM08H4aclyxwbKfcCVGnfaabFwpksAXzO6tAKyVR7akc9NBFb2oBlWZeLUUu
5kan1qzx2AERwMmdHkzcdg7qhi1oKO843j8O6w3nxV1nFoKrrgnr+Ghc9QQRFI8rNyfDit6suZDX
53kkshM2GLf3tGh221ho/Waz1Vgx31rIYi7E7YhdXbrrTYOCXF5+ZJmMgihhxCLLoChcU8BrdmWk
bxahjVgQr1VpajtL3SDcSKhH3GD+wBoXLiDBOSTSLAQBuLZtfpzwxoe0bOzV0t81bT8pw5s5YLWG
awC1mOxexNhCJe2NomA+AxWQVUxQkbhjJ5b4DA6yIykVp0Plq+AgxdkkWfsX6kW4NWGRiel84OUx
Fk+7fFRNTsXzh4lwgNVD98C6Uh/lWuKgxRQcmJFy5Mkbw9HTBaSwW29A1bIL1yuOQjOo9IHUmTDI
QSekL0sX/5BDhqkv5F9FmMDRaAb849qPoBoHgfLbnEovmcV4bb6GSDkE2hGzZYXuXJu4raxQ89Wh
P5J7BIueHE3InkAHmpsxxvHaqAhKTL2LgyJr4VyxwIoDbIcly+6MaFbtfo0OSka90Kpr2CPsjte5
9JHTtlDzlcZVZ/YnqS7iWpTUu8GILiUziXi5NGSRElMCKXFCAi8h+3HVHTeEZG2K7+kcwgnmnpHQ
EHXgkFVRfjAEGFNTxQOgVTFy9CX7LVM+9hkRG9wCW/Ml3mtrctQwqeXVLB1Ua/rMbuW8LF8UNlV6
fKdQjmJUXQzdJi7uh94C4VNk+2EJn9SJJ4NsQrcoswX45kq4SGQaryPu5JUdmfO6e46k9KrTo3In
04TgoOl7xBvtttAVx42eTpWPOZ0xLw+hZr0NKx+zDp9i0z2h/A0PggMzZnQaabs99fjLMMp7GAEf
6qAUrp7xMyniwxA/NfpJVEJwgY0Q0rYeeHaBRhGtnzlPdC8S5JeakESV45+vgGbhl+baY35UkUfB
GWbBU7moTgalVhBBzGsYdODMNCNiXpfrrh8kJxQmxrPaPXcxYxiC+crLaQPefFeWqqAK2agrkeUZ
qrRXMv3LKrgFGb0QBYna34AHrrQ0iT3CdOwjXp/C7K+kgmQUG67mrKo/8ckOdiIjeUgmFk6J2G20
AkJolDsp0pHWo25rCnaTkwzOPTHAKJfLQZzXJpAwaUDtLMnEMq8jNmnpzZrwEK8KvofsCEJRYotn
fS2w5UZzzINmGtkqhvMuyXgIMPI2XfO2lQ/c5QxfVeqLSXnhxlqMU5+oM6RYHai8BVGE0mCnjc2h
GBq363UGsOhyFtn0OrfNm06NXnhijAAwNLDpVCh3HTyoNbkdhZ550yi8ScP0MSooo+ZgGhReBDXw
l4jQYmyYH0azvEYztmdm3R8z/WnsNbbvYjJ6uZacij65dsAJvFFm+g7z1xkVJdo2ZXbIqG3gjYG7
dZI/2voboC7VlU3gXIgM7owjQpiYNF8V2vKEfzJsX4dYHpxVFt0Ioeiuo3EK33xiqKmQrnUvfjXU
6wtmFIGZJbcVTGZhPS2jeBe3oT+H1XOnahBsNv/AqkfuLEm7qGqj/Raqa8qJxaHUGFpq6fj00M1V
fhoPaq5vwaFc4d05UGN+AACJH2lBnrSlYGfifMWscX4wCJ1VFiebggEKxULsNoUHltMNcohNMEuS
zM+QYyzt8yiW0qG12N5KcnIVSv2qZRkG0u391WQoGPp8Q4ECD/Va5K4MoWhO4nOmCHdyUbBU8Dhx
QErv56zy0kG7mvc0pIetuvZuChLnlOVNSxcawiExuDjQVJ5cJcPrlnU/EV1vVuU2l6ZdLXP6Zyeq
DHSnKd2gJzLtapv4jYnYRN/b82dtfvJK8tqpYBpN4UBK3WWvSe1RZs2SFOuCEOVDF9aHSYRqzRi3
P/Ov1mkRKTeduZUbxvl9LSsCAaTBfV92C3mDiLmn6CaPdxPcdqePKHiIxU8O5cahngCFTg5tTpr5
KTH5Vqd+Z9aFeDFW8zUcgZZHkwiTp1O6Xcr6IVNNuS+ZiV+prAXK4gk6P3lBWZjk6zNEitaF0Ofk
xqk++BjMl7uhoj4VsblpKPwyWiNRGTh2rVkeR/bqcwpGY1CWW1D0DiauZp+JxSMscOPOLNU7GJ2R
l8v9LTRHTtUJ+quh6EqoK+uNVcQw00zjVQZQgaZDClotPpcleN/CpCEydunr1Ht6A8dVY4eB40A5
FiZvk7g8tBu0IdQohOjjELrYcZxuEHdkC+/DRiwcq9UuRh15v0mVB3W4RW+vexYe2r5rMi8srDSI
Xqn4o5ioQmqI9BqGbP6I1eanYrACMuy8K8Lp2Ww7MJfKt1mOvmUyvYN8NXLWIb6J0g1SvqZ7ek0Y
+Ob+1ejqczYVOFBxa6xmeFqNiY2KUF/ktECxJ0lUPOnatWq7aRsWwo8Ex/tqvnQdhRoSd0EtlSNU
INRXlEwf5tKKb2vkr2DrUPNR1CZ3tSAoNsK7Rphp1VSIUWXuUHCOHNpowOqWN2SF5nZxq3kxaUp6
o6pJATzPI9PJUU2BxJRY6rf2qrKbRC2i6/So5sL7QstDGopvITT2wqJARndUGDhxIIoTRCmFPVWd
vwh7QjKRlw2GxmDUQP12w8A0XK8j3a6Pe6ZIjCPBjsKvlOnArITXl4xn1HWy7Y2YaJzM2Z0EtpQT
y5vLYnQ7pnClOXwpr+lwMgbmS+OhuNbFVNrKzOcSi6XRrE+OZsZnY9Hv8kFoPWzpLNw9Q8QDNBub
mDRUdOGnHKp3PNDyTgecGOcVQxubKhz22ciRSn0MxV6nNJOaO7VIFKeJ4e0ruvypEA/wkhyaoxBV
sSMawEEl0aC9l6RuXkimZ0kDO7aumzxKyEw9Q6MFW5jzKmudDu06NeMeT8S7xf5dKtpA2kwZM0X5
YUzeR+AH1GCarcuQPsuU1u1JIcFqou3muYJ/LBI/l8oI6lQa3A4wQ8B2GytRUnLla4Wvgcop+Cnu
1UTZ9Rg3bKCDFM5HXI9CuJUTCp6BGV60SoLqS6N+GAy/acLkZvOcAwl5YOr9WYNmILUMSrZyeqF/
Zg9DVNyRDyS1w9OknacDz/wWmyhyN8q176UOAkpXyzPSh0vBe+olEjYJwAEvTa+yuYdlFsIHU7Xo
psAL5ePmgCtB6TeJKIEMovY6SVzBLYN5iKqZ+c3yd+4dtL4DS8okKfhmqi+1amSu1fIC87CvuP4T
WW4P5bByh+snK4aerAuMdxpv0VRQpVJoEeCZ+CwTDDogQHkwTRHVAim5Z06DWVMr5jIbmIhkboqV
x+j2Wq7uS03cZMhzkOZ3tCuerV7GIjxTcjPWSKaJRtm7kZiai0H22nVJsTYuKkZb6SZxQmabxCrN
3GCbyR6daBGvUbOTyGPI3dxdoe5+W9c2vljR+FAmnC/ELH3jXhid0UjuCV+FNllCK5i1qwBfgHdv
dRQgtrYoLyxco/g8mtjkOtiXdkT3QI0Ti9NDhUSy7/Qr2xBpKvH0adnLEjM1xOEdZYWy+myqjQvY
1Rd6iZbXS+JJyZO7QcOVM5DPpRaxpodyEUHctstpVKKcQ+s2BByHyq3F0LM5C6+txXOipWsFkFU0
IQLGV5EK9m0ysdnLJJDgCbeSk8Q/GDLe+pBJkslU3sh8DSfdYN43ibAgD4Cz1hltMi0dUNa92u0n
FsmZH2+0Mm1ugXPOrfGUCDUgXoWh/7hWXiyujE7Nn+KWg2hiTcSwaqPDranCLatdQTVpyRsIiiad
04Eg0o8uE4hYcfRKuGswKVV06UE3L10CKrmvY0yAy+IXQvMFtjdGedCAJVbT2sO0Tkkvnhc/1MvS
zoSGhQ6Nh8zatY6ZZ8DYs0Va03lVx0eTXYyl4rfLWs7OIZOnHItmdl1gb425d9WUg6fR6L6Zv2YZ
tsi8UdJgyOr7NoTI00I8c0Tc1ACkALBTM4M9DKASI+ODkkpE4JqvItcZe60+22h4KGN2sux0KoCE
7E7UEi3gaon3nc4uuxsFhpMrarhtzohwKs8bYBczi6YVB1OvWsRJ9MDzXnhcW8qOzaQDFmPWNk7j
ymM+hSIH0vX+C6WKPQ0jsdWJjVXdzImXFaiimp6yux6K1I3MtqdTme/DrCYtAYzS1QJamDxV0l5k
pCS5X5oB/G3awezFbcVSqAHuE1sd/5UKyke7Dn0x7doWz15bdokj9Hjt2MitwRoDipCZbvPzKFp9
MAGH/P+wd17LcSNbun4i7EDC5235YhUperZ0gyBFCd4lPJ5+voR2zHSrz+kdcz933aKrKqRZ61+/
UYY4TsJowefrkzGW36fJQMlhzHIbOTV1bx+pfewyEp9L4ybThtFVAM0GnwaYEQ7II1ZNBGOX9XdZ
JO4udgYPbAhCEQF84MkQ+KAsbFpBHF+nZ48ZnOXQoQL2C9ZnQLnhaVcKmAihI94Iu+02NXyEQ0KK
wdbH/BEz+x+dJ8YbsTh6vvcRLqzJqVoeKkY86NNdcTtl84PsMgrySzyRtDzQQNSJ95hI+8eAbwZz
LHFjdTflkpLtkBvdbtE8hA6LEo3OF1/w1/qE0DMdyvAtMQw+td7Ato0I2BJ/1kPTnzuFELazgIzt
YSHpJJKkYMSTx1uLvsxWGGNW0e9nRVU0xZQ3PVsyNcD/i4zZsw/e0E/JttYDctxpyVAetnhdc+Y0
84essFIR+Xxr6KIkH6frUhrfCYm0sPCm8orhjc0M+OkqjTseAZbtZ2y8bKYDfPaYkhDD4JZUtpzJ
pXD2bRO+o15JccC9HRmU7eTAcDYr5o8onN4Gvxv2lixOcV33exKhDGQYZr+3JtQYcY6jhexwXWKS
1yODfFBOPIHfVRjpOMlxyjVnZICoU6e+tR0qjinMt1lHJC5iqMd0KNpGdvsWcxvgfEhWxQSz8oEs
a4IinfrJXQCAs2gC5wBfnlgFmc84nCkmeQgGMLz3R6SjIPNawQFY0lPq0tTUJcyZyIJzPvXvksnN
ThGExupUxVlG1FUYY2NTnXQ6wq3cNxaY9qMM2/apal4mApXjJb6SvrLsa/hkUf1lDgr3SAjmTzAr
guHCGjTYptDOUuuQzuFnofCbU3J8yWI49A6Mj4axyFAvlC4B03OsCHk4GS1EHP9hea4ib4wbnxQl
1wSk6Vw0RHT43aXBkGkeXpFyIgM2KayDiSWeCrwn4UfA3S8XbLLTaGGRJkSB213w2Hrq0RZoHzLf
2fbcrXt0/C1IINKh/NDExkmlSt5KfMsJBGZXRPXDSIDaoRMgPXQKICxVei9DQlME475t4jMVtJlC
EiEV7RujJtrY6fOdKbVv8LyP4E1guoBEUu0TSBWPaZpR4Tri1vKMg8+8fDssabSXCY8Zoh/2C9bD
kIwKBKMHQInni+AAwh/mkvXLbaTI0pv73L9xY5co0Tl/xDDYQ3q5vCdWOR9jTJXMrLjG0+jewTF0
SiLoxtx8Gsk7ujJHPcOrRC3lpSiVbNAYlS63C4ZV+qobCJwE2DSoq8Nu3LcdUh+nu0QV5QOMCj2m
TKEuixDSCf2VXxisCr2FHAGiZrgZlMw4IQrLfw3HFnuxMKBuMaqLGeVPdR39nHs/21bFYO1TURPM
3munWTJUQ2v8Bkvru2Godwe7tK2JFc4+yhRTHbt6NyF9kTxj762ohhno/mjtjFSmymq3Rpg/4NSS
HBWLKOO+B8l3bv3pZ+UAolLyCmA5PP2KqpkPKkUONnkNAEcsY3Cam8Gdqi9hjv+6F/Dw0+qUz8Xj
PAzHjDzdfEw/JqcV3FHJc93CC6VeRQMVDjvbG24aN37FRjhEzn5nDg5lr5ciyCVS2ko9/Fm0GXtk
JdhDY3+1aduBaNDY+uYW044JLuFxlZzwSQRYDj3ocjh/Sk7jTVUnJcp5xc3r1S9WQ/9eFu5Tr/qT
H/npBnIm41h7xFRVQHMhWuUmKvBorcu7IfTgeNJCHGPD37eWLbcCb8FtIGLrkjUje9+zb1LzQSU8
TUbQYER1hOzMay+NZUB740XuQjytdwwHuH1l1sKIYKoLak8GDb64DHP7Y+rNGeahBB07kOkgy2u/
TsIW0qnhHDH5twUurEkJudOUf4xU34dR3EkXjD8u7ZPlDdF+8ID2SCutdoUTvZTVuPe8G+z+6+Mw
JvCHerOAQ1fvjWAR15R8cBxVSA0O+CkcdGj9bOuuT+1dDQd9Izr7q9fkNy4cYKhf32fTRMtUTEes
WXHBoXjzvYMTHRuvewK6Ld8sAY4My7INovbcZv0TZMeDFYQoQ3PvjRXQbuNs+ZTJdO9H/WfjZ8we
TBM9n3+pOXdvac4MZ5dr2j0sGZP6YLxNNSXfiOkSLQZ1wiEXp4C3T8rwDe+CSbmm9Pc0gOTDXQNV
b6gJhh1Tky+GxXxNoAdoA4YtAQqBGKVAGKUfhJ3jLIGEoNRigljLCjwtMLDq3aIFB4mWHkxoEAYy
B2CO0mdslZYotFqskOtmocdofRMxS/LU1O4rBT0ZmQYYeZU/WFDMlnhu8OutTzju4P8UzBwf5nTT
2XdDTesNb0MPtfz3TKGlbBb4Cgx56aUL88OjUMLWZGcauF3VMnkHIB0vsXrMwZ3dNvYO3RIHGxCz
UyQcnMR7rnEnjOD5eWRymvISzDEC0CK492vrdm4m1rZwGgKc0v3s3ob5ct/kdXxc8LuASktfDZ2h
39dRfNPGdo9d0PySB6PaD9RoXLhW1h4GTZVI/Pc663gK8XAzgnsf7bBBoMTgdNfWzGmxX7laMyq8
EdvIfW9uccL+OiTLU14Zw9EV0L2NmRguEvMOHXd6Sjd29AXedpBrN21dhLd6zOpXLfJcFvxC2T3p
66wyyv651tNIbFk2o0gVkRvlA+a3QD5A0IwekkuIE8NdCWsPhRKEPjf/6DJdkhI+vp1kmG5jyrit
5fgLQ6huwSGOjcX4eKeoc2Rpngw1PBTS/6m/kKfpROZC/2OysHsmFdu6ia3xVS6wQ5YE4WeZ2Ufc
oiDBZFCZ2N+7IOPSIEIPn+8fUGmXIxoMCDP+eyooEcCryzPTR0h0To7mSrOCgljegY9v8wzrHtxX
4dYzevRQsajlaHvJ8IdI61afN9pQAHFyKK54M4pNVzjzBsclVkHR5iBb9i2GQ8oOGGSUBLmhE2Es
hFFIBFsagzXzNZkmf9M09F/RVJ7tuaZTdQlJGix2S1JHt3nQ5odROM9hAsN1iSJ72zrWBXS9ghFq
2WAL7iGjbKa+bO/IhWLSEvqERZY6AIYgQu8pUuYet+W7uWM4EKZNz0y7P8eQS09wP3hzhYUVNGL4
XUNiGIWzD4sy/0zEMbdUdu4mB8muA712maZjUJ7GQGItJ/G5RVRhHExfELczmEc77Z4JeOagaNJT
DVdRJ96Nm6FkNkFdzgHR7GRstpdZ9NbJb9yb1E2ZmVOAbmIlrR3xw6wIKz+ooXtyJxyIZvj/B9ud
eSYoA6pG4T2CmhcO1imigVvakiNiVuC2YsdsUxjfMzKlzgSuvOZJqR5C3p07tDsDFHlr4ax8IrH9
3QpN3NCMgUtAFO0NBmC4ADOfHKBaHDrrrsr86Mry1eHeqFdjD+edWR6qscRzuWeCzGzheyjBIunF
sZPzvOaWchYqRIpAYrTxtXZJ6oolzUbnBYSsLw6BDAzgmMh8T/1HZyi+dQRcHt2oZJJvPGCLzsSo
UQt2ZeGMSt6wiE9Lcjpbv823MhiqPWmeDtdmCHOkOCc2HDLln4twqO/6YiCyOTRizDYSznI/Okiv
6mjH8kcusXxfe8N+juozLk43sU9+x5T+oSwxQtoJuMqamck80O6GzAni3/PutUtoSmBGzNwl2KIy
Nal6SGS1az0IBz2UM7xaDL3fejhTvuxvSTTmrKGQBnr33npND1jUeZL9FZsSLEQxMz0xr0B+3Jrk
tprMXkabG85rvtJnfBLgW58bH6asicFyyRA6KaYMCgre/n3PJDqGZcAlQkXg1B2s8MVDRVmRVBlB
H5xMaMU0kNexZhLF7M64scsMwz8XGxZD4ZREilxWCV7S+AnhGUJYvxdzAGgKJFS21cGaLdQt2XgZ
bfe+Nkq80QB3Z+vZhj+zEe0k7vyOytBH6EdVpUpIjx3kJU3xwTX8XsE83lo5e8kD8SDhC9gT2mWU
jt+6THGW2jC44PkSPtnvQttw7lNCgc6T5YIChDYHVdk+mWX/ptzvWRwDX0STcajy9yyING7RHDG3
uyZSqhvSmoGxovlWTNGHMLNrWMXZnk7hg4Bdlo+BhSCm0kcmRBgWy5zo0AysZiFsfVsp7BwyC1Z4
JjgKCs/62uMDuQmhxHsVTm9u+q2KF0ZpKA20syTNwDLHsLRDeKQ74hRQtoL4H+rOuqjlpbcRlOAy
q4Ci78YuKA4oPe6EKSCsl8GPdCQwJrBoo5cFGkxsyXzXGerijYy+GMATCFZ9GnNZ0vDVyc4FMATN
xcXSzVGpzzkuXskUfpltuz4xGnJVi5elsk6cgSGzRG03g/5GtQOhV2QGsynp1ZN9HEHJ7MXybPVa
b2RPjMpGq8bHaPgOiOXu8xjVjMi1XkC9M//GHUq+5wvG2TpPPhgWYmUSoN2+zz4WI4ROYsRf3enB
jB3rDPiNLIbLlivlwgqrvwCevnq294dlWV+SoPmaEOb+lHmSlAH22LHNGIqKt2hEghUmtEko8q06
drZJIhWmyvDH5czUg+zk6ZbGIaZtTRLv1g9xF5BF0RynpBp2Lhd36BZnEg39XRWlJ+2BOY0tq5os
qL0LTonDgoxP9GflQdIMgaqXLMi6uzMKCjJh4iglgybaFKGdHBt76ulv/GgL3gkAO7QWG95Aye3x
6ZYjCPIC9R3VyHRsNcQhl67AXNV2Mb/kMK1yC2KfM2oeNzzgySfiiVa4Akr68HJi5owyAViJdUKY
RH8lXLM7l0Z5m2Qg55nj0Cs2Ls0okabQFgDCmuUzVLagqWyZ0UrzKLr8i5NnCDYTU90u400Uzws3
KVofkpSLuD06eJCix1ZYf45ljVkbpAfDii72hG6pFH11GOcKatKHFff2se0T0AC3TUm/KkjZqoGT
bUHeZVgxnsjgSfX+tSLJi6QRhrhkcjFnao5DQXMfyxT/d6mIuhrnA3NNdtM05Hu3Tn8GBnzEoXez
q0uE0sVhqY6J/6VT/luDRSKpUU1y6CPd2bUsnDRNX8MIbRQRiE/cKfwL7P2uR8udT3aBDyABGqS1
bLva3Vpt31zsLwKAaauFP2NRFyelMSWnegpId4GRUHy6LFI3wPW4RJG8mb7Ms8jvIwNdALZsXSHS
Hd6/9745uvQz8ltrYIUhY7KwLZdpSf8qPHU/5WZ7E/koBiKz/u4kiErS0H8KjeZEUkO6N0cTDz98
1vdTaCDTIBh84wTQc2fT/TS5vccRpGBuuF4cs+ATM6YMSD8qbv1Px60PqvOmbc4I5kg5XuF8ecs1
tlSyvwkdSIb53GitBURe0yTyiFEsTVzDoVEdgCXVTS3jm0zQqkMThWwsM2D1fsRtzZ2+2kGOlqgB
V40rWOzdTB5V7hq7qSzlTWl8mga01WhgFu1nQ/k4Cq7qvqGcz1z0BXK4722Z44KJNhjGUcHQ9dlc
zir3Hwo7NnZh5uH+gWd8yCO2ZLVPJlhyaGGY9kN1PHWkonF1DdSKUzVj6so8sJSTiVTRZJjfz/vG
7A0u4Ka5kOF4YLDKfdV2pN8iMTvJENeMrDgBiXTXnOnsyZrD71HqbeFLMVS1CflqSDMqlxFqrg1b
3Js0u13Bqjd9EqRJhLur/MVlKDaQfuXm0S7PmdqIASlX0Ji3lphuKcBfIpXc1zWsWxOUats1vtaR
xMDHOGI3CbEOXQArwCtTWAyEH1RPRWrOu9kzLh5UMURc1FATtIZJyfhKj0aFGuEQ0tWOv+3N6sQl
1fyfqPmXEPk/mFj5GDv9/70JwKOq8q+iZv0Dv0TNVvAvi1jugAY7sFxSkxAN/xI1W+JfAdaePlpi
K5Cua2KU9W8LKxcrA0/a2KcL0GAcrP7HlMD1/+XiJMAPYHLFb+NL/wsLK+tvrpK+ZeOFFQhXmBJ3
hN8ML5eYvNeMyLAd4PN0XwyKoPSh/yM1mXThos44jLU2t5Bu8yb40XrTi6OCt3iBky1h2GzKwf0y
G6SdJ4gH9mRVISfxEDFDhuj2Aji4INTJ0amfjpedkz4ZzuWSX0PALaaWBlY0YbUc/vTp/9un68++
XELrsP9ky2XyoXg4Gjt8dNI3MQj7q9PC2JEk0Vo0mk6scIyfm24XEypDEQMbyjY1Sg3cfcARHB7b
LLOn0UBoO8wl4cO58frPrwYu+//j5aBbN12fObXv/O6BOyamD6CN+geU7RM3Rxy2Fo7jTT2jgAOv
zI/jYlADTzONXENcjVMzb2vKCP5i6N1DqoWeHIq7JaKdmzsTClIwdxyE0zl0HHWOyWjbDO2t2aEy
D7PkW5syZy3xqR0FHZ/vKTp3nMLUNOE9US+HoaGYaRZanGOK2QSMgmBmuInluEZBqqaCxxJKILew
f3CkWg5hDecoHdsjHAf8bSDaArUR4aZ/sxE5wzaYjWcqMFNBLYz04ohSF2/sZoJQ4QbvmUPSWiIH
MnTx1228GaxlCJ+BpA3U1T/bcnqck/nSNeiTgg7OU+J/jGHTQudmLWG3hT48DE5U0pKsd5ImYRpk
UfRmYgCB7nUh7HZqWZEgSNQYHU35Mh4JbMS5Sb8YcxnV0Qmu6wckR/ABa0geQ/CozYRkk/wPe582
kL+6YSYcHoVybctnMi33k52AG3f0rGGNd/wS8kqMySQzQ8nnaEzxwFDNYZkxaFsHCm37WjSmOjcT
2uByIEsv9UhURPB7nkLIodWY/Igy78pw5Kvtxjit+ey4No3OeSytA9hOfkjdoYOx4C1bkj4PUYcN
mHcE26d3x7Ee7Ezs8975KDltrgxPxVUVyb2KJkRj1LIApI8jv2yjSFa6W+ZQz9UccDBeguWlwDb9
zoQtMpKIFedODAjYoIPT7ymqZ6i0Ix0dJOHnwvGeCWB9jtBAwroMn+sB3kfGk955Q9H+MsyHuc7x
YJyNZI6vFZoYtBnjYWgheTtpQxltts3evHdnYkaEJzlOoLGNKdqgetjSQVqMWJcck0oAHFxRmBbb
3uvq5Uo5BiNiST/DmrYuAyTcEpm2Y5kQLxry637o0e22JQcPGTMKtNYHAw/N5iEykmc/oQe3C12t
LglyC39+jObZvxEuKfJlyrATFxB3dNV5Dd3uDJrZAeOvFl9gaLwlKRFVaNGiRuf1zXbtgHvclB78
WU4wgIfg6nxK/coSg9gsLloJQQKyiXzGG5KBvQ9S3waXtIwff51+DSsnN5fmzEHjIMEwprmiT0CQ
iY8CxTWzgT7wz+v78+LuS+35/taduhZojt/MqQIBtk3LzYjpO4YxgXUkZIFoi3hBkpVgyhoO575q
nmSMaW5oo1KPFJyFRR8KnWPcpa0DcKyPZSMwGDYidJ7JCLgZYwXy4/PURPajaBbjEEIluYaLBSUh
my8k7vJoOKSJmT+VvhPdejTx1ezPB5nz8oTK2GFTE97od48LubXzMaWNQw6WqJrrQy93fdxPd3Vy
MSwzgkYHgOET3kK0HiqGdQ+XYcMgq5k3tj6xSw0Sqajt9pimvokGwsgaqc18FEaCWbfLIffY9Kmw
422Pv10t5Evtl+c8HzkzUvlQV9rgAe34oa3l1/Ua6HNOiCKBVEJQz8Gt+3zTdmlBNENyNGDsnMCo
+XSlwa9z762KgFkRwDkbKpKbFCwK5dOmtLqGbXllhlNKlIkxm58zKAuYmcnYZkKIfTPjGhZoMhFz
SBr51Vz8LzLt7h23RPg0DiCUfLlvnGMUKDzuPFjENoQn/dZHfUokTViegtQ9CjOqEA1Mv1bXaCtx
afv79mMI74NUfSQFuzYYk7cp607rqu2tmc2s12XE6HZjFGSEeRaQ4WiIkzbZhEjHpY7fyB8wOJaj
1bgf/QLL95/vPN/+3SrF9G0Mk3CrFhh/Ua7oO/FPZkcjVh3j1GP5l07mqwWheku7Bt8u1leUfn1w
m4arDOWNA/EN94sA49avi+unxyHCUaIpf3rwGNdvbQwT+As6Uq4KLi8iFVBeuO7eqtHupFG6HIIC
BN9HTlZLwTQ2rrZF3RiHqGK2nyr00M4gooNv9XwkccwBl7sMGHmKZYTCcP21rt6gTdctWNpxdnuj
WZ8qUMT1TvLJDgQRqf19Drl1cjmLEQrQduGUh32HPFo2hBLeMmlpVg04nBBZFdFL22H+kSQRATht
HCGZle3RTRNavUY9YSYCKzUZkEu1pf8oa27cZnJ/JALDXVgt9a+/bTLGQk1Rbvm4ea0zUxkCzI7K
8fQ3cJt7+hZGmfSD6ImvsZvJoyra7ZxTUuQlBjLC0qON9BqUMYPiunizwk6rmdpdWvf1Bl7pn3dd
W1Nj1PldtcAlQTP5k3QMn9t9Ua/De6kpQxXnWqWs5hCJ7jUYu3ybLUz/1o9tbq8wwY1domvAyE16
9GaF9q9HXRBzj0Ir5NCe0hlqcGNDhQyHJ3MxvsUzXM+m9H+sjyHt+WnGnmQKhihyg3q4BBkbl0qZ
TeYPR7NL4BPr55SGWbQPISS3+oLLHeOxLIePcAhwz0qaBYIKJUUacY4v3FmGtEOcDFR9yVV2ckex
QxxDLyeH7+uB4pf8a2u9VZHdb8y2MC+urogCnAejZflut8a+khwjU4XJAtkneEU0CEbSUdY36yHT
mYpFNRUvSWMpsFtLnclrcHeOsL+vzy+wUkZX6cfsshHotpH2xPv1+wjBWg6WcrjnxmpHpSqBO6z6
vNjDS+Fz8a8nUYsci0pd3mR9Bn2m+Z540TMo+n4ta4bO0lU3v8iXHA1mf8gzCt28Bgsw2/jVmsDp
+tHjYB1KnIbsrr2oCjfCtHr2UlKz9FpumHCk5R1sH4qtkdOPkT4YqM0jXLdvwrSFcog93HnM1pg3
rYeaXGtExewEvjZLtuSvywiFgh1eMYn5XJdEV6HXE/2/fz61luD4URXcFE7BKbrWZ7Xgqz0Zm+uN
ul4jVf/eOlSwSheO6zHZtskeyuz9/3zPemekNmg403t47xEb/lc9mYTVnosn23jnTH+9NvLlAGvn
ocgx6Oy73mFGk98nJZVi10p8tPuyR2Q/sFTI9IWktwA64mq+Pvr1ja//lddITzulhdmJvF0Po7VO
Xq/w9U+v72z9NjVyFxBODmIADrde2iaD4IekQWGMcvumatzHpUezU6TWDps4A68Taua+rrr9+u3r
r/YzCdkolz1/Vz4v7pHZCAh4NzMrIFIc2tOnEalnlA+au589Eamuzsjz+NRqrgMobcl2/V+Toxli
PSPJcBqHo+9gZshni7TrLnKdZR9BNieuSx5lzog9a4OPUOC2gAHzfqxeog7Eb93THox2HKXKYx/b
dDQGkU8wTz7K3DiUBjTxuaQyw3VJceLJA92myy5PjrNn9ueqwGXVoU6ZE2VAYeAul0SLHmgN8Rjx
9mZSV8f1aVdmx7Q0N5AJoJFzS+82iy7rfTf5wW6YvP6Y6SPDl/61T4P7Rh8dthzesy57xFZrI8M3
1JlsQ72b8z57sZf5OSm5iosO4dFaskfRHLJ25mMF7fGw4C59Leprrilhc/0lqzhRCBAo9U5cy6FA
tOK6vjyh2nMXRT8TD+NdHAqv0PVi9sr46iUvaVNjLD7hKJFiXbJ+yo3u+0Z7QS8PCLWfUFzgYQcd
p0O21U7UuQsIJIzYoYdNN+k+aK3bwoEhb7o0b6WB749fdenWz709CjEupwIAfzYSmMH6zZPbVxuE
uq0PqYZOclqE9t+ijZsTjGJ6mcLQiCvOIYoOXd0Da8Mxbmgc0dPrSi5quVjLhGvC0VcjGhZoVs10
X5sQQokhuVX6/J3wXSSAYLkvWtRUQe/dlYqVVveUZ145W4/lmNw6znLf6qtKMaED5jRO685YLy5y
76dND8E+5GLTfxeCJEo0fRAFTYwfLRwwKnFfF8EWuxaqqbhdUBrvvWjstaPLVvgBStKGCrOBbkXu
7IYpBkw1cr8O766JYLqNdQeXFR+LNROeLFuMqiR86JALbtsPmXdWTX/0+uKp8OHUpuiUGbVhoT8b
PHYkutG28pBl12Zr3cfuLUV3w9ag+h0KbzjDdzz31J9sGYPVzEaqvSJF6wYZfe2mU2l3e2D45xUb
AaozT5Zgd+hv9Vs8f+iVHkXgIOHJmNU3/ptZNwu5FDycvJm/VClexw3Ry+F4mnsjoYRHU+EK2t75
ZKfMMtSArY8SP9fjCW2AYGhAWjbdv+CZr42jNBXOxi2MBZtWDuYGhNiCAIeDkXUPaqjh/2lwQD8D
ZN5E8u5Nm7RGVCkqImSEDDiKL9uHYNt+i4XmoaXueKZVb7fsM64JpJiwBwmW0pdg6zgQdIM2vbSc
+YjUxVX400UUTHqmrBa4KRWPppM+ZhOsF/1BVJ47Hpjbv6x3n+HDziCyJAuG+1L3CXPOBww4HSMm
oshdP0kA9T2q9vhQhJzvMjAxzo4wg47i6Y/aIoW7b06Mmae1MWOpg3bXU7MZ1eLw+MS20R4wSQE0
5ASqJ0SENei3rAZLG6XwQXDEd/u1ZF63REql1UdYy8UM/nUVRpP2nOgKNGta2O8xQv+1kCjsHuKd
oHPWB/VQf8umKNivJcK6Cdf/ipF7c2ZhH7y+mRELPiRn+YnkK45aT527no8lSG0MHgjLIbnO7g+l
FQy7OjXv/UoNFxqmMnheb0Hf53BMfPslap8YWOX0J8cVoKkqMIwyae5iBombEr0PQ5r5hdaAfjmz
YoYd/Jn1/lwxl7WtraobM1++Dq5vb4uI+WOHcSGWCVC91+o9G2jTwqHddNZTO853TaA+mqDfskIV
be24j5oR30Dn0YRbe0par4ODCTMBKQGSN3V2RGPtiyT5mbTZdppy4jn4oKwUZgimnaS0czavq6LX
L27svZ9jhoHT+k/rUcJ88q2xFaHE3OY4gRks8um+cTAyIEBlfQ9NbL93Nr5XTFOxL+e0CmGD7Nez
R+jSrKLA06kwMJ2ZB+Fkpq8He61EuIl7h5DW9ZJYD31l5pd6kJzAPWfienYZLlsirJBiBV1xyXSF
NPrL1yCJR65CvKnqigZIa3z83rmZl+C51VVFqUGtf264rN/7LbotOmsEQTo8JvD936wph4ZT01Mq
+FVDrQu5mYKnCAE41mLOWzxjKDVbmCMsRUimCUMoE6rGOU3iMyobtKVO/NWAnQ9Jz/25NNYbhKB2
V7ROscHR7RSZ6ovy6Yf/+XVr492/QrWmZ3Etg9g6NlkKwW8JCnEpnS4bBbK93rnUOKrAdt5ksVei
uZmHgyGXG+KJc/jHl7Wer+P+AcMrEL4OiWMdtwvuMjnjEKAAeLoQUgzj1vKp9UN3ZDYHK6/FxSRO
0RiOBj5ra4dsd/kxs6ARZol4YuviqCU/B+6b4xz3X9eyeInb/T+/V+v3FB3b9GzTCYQduJblWc5v
sLSkV3FVXIaIMbnSY928r+DpincZNZL1KcYGt9avlx7hV2vreorxumPcr/VOhp0NFDBws7LVmQ9Q
prxIqTNOvFwBEwCNPsJM0Z2pHrdDF+S7qPQunsYj/vnd2PrV/gVk1+/GFS6AtvQc7/cMUSLASR5k
Mr/Lyl2XuD/xWZq3wgpPS9TCFx+je6F6XkvLXKuqhuS8Hhy1GeC/z3S6mvMviTm+FAa2nesuW/d2
bsjx5MnmAB/nq868C8xiptyLmoON5R9zOhfcrspOKMK4W6lQu9mudrBT1w+1N2dnA7AyxN//+e3+
fYMJAoYIIrEY1LgemPtfAQ1IaNEyFBUu77rCw1v0jyX7Jgz1hifhcrAlm2XtCtaKa225ax3/s76p
9R4nu/OHNbnXqmuDV21IqBfBf+NegxwRygbp2z+/bPtvoxDTc31LaHNcz/fc3/O4xmDM0sFtkv3o
xCGGJcPOKL7YOGq0qugvlUayVIKSJw2RnKUTVT1lkSWGmNwSbvG17tQn87qCimA8+Ojdty4hy9RZ
KVwVbsRm5n91PcO8Hf+PEytTnQNN206lRGytz0UmUPPWG9onCwreGFg///l9Cj0s++tyFIzJsCiF
iRV4kv7gr8/HLh2ZW/jg4B9pCuIkj6JA/lXp7dBV3r9BJ0fPOCx4XDGcnlGTyTTaGFO8VL72Bs1j
ckT3YOeI8zZw8Bgg0aYHMx7xFVOBpU9uvaR9Hawuo064a6hWrnpUoAzshua4vq5PP8i68GYJAOQl
FoiLFux41cu6Esr4Kcs6udW3Ng0HphpUML3GKHp/UGcdLIYFHHZrGgb0Dbyjigm2RiNAVzUq7euN
bAT5UUyTFhzqi9vmnpfRvsoaKHeZf8bYN94Sp2ni1HVda/dpcpnVoLUSorqdxPhUFO2LTIKX9Raz
S4ppUlP/3VqvF9dEjYzNPRPuIMCQy7G3Xh8ntz4uST4Wj709MNjPjaPFMbzD+2eu6el1qaM/DWc0
MEkJ8CXQyNN/fwk9QTcfVhhAMtsPE19sfzXSPRwCP0H4qB9HQmIbTryoYNKjqU8QaoIR02O7e/wP
a+ZvJxhLBo4Y16bL5E0GvwVnCTnbeIpF/s42gffWssDKkye/26xgx7p28mD4Npjzd6N3JKs9vYy8
H64TupEkpEJVQ37+Dy/r7+NC2zRtmm/EGIFP4t9fV3KZBtM4+bBLGjA4WAco1Qbn2XEn2rZ1pein
zvxzm48oy9smHneTZfWH//AytFv+bzvKNok1Eo7HaJocb311/wnClVhdq3yha1YCwnSR3VppRyzD
iHlaAl1N15crBBcVTMbCFqE/HnAa1OKA5kYeIlw9RnwsTFjL6xhu/e5lwvTCCl6NwCtPTvxpGE12
mN3sW2FCT89ZH+IlRD+E1W5jjV9DXdUaM9WgikKAxvrR68mNFXwWkbbwYdX5VbKf4UGQ+nTXBYxD
sPG7QBOq76LhlOjUtYj+M0lUibvFhA+beRp6kA9UcTDx3ASrv3B+6YUJxF9Kf5f6eC/pcnDdsWu7
nDZUDiOLuRHgMYk+8eX4McNCPAh3fp0K+yWIvmKaFP2Cp4aqLjd4Yj5ORhmdRoWrqn5h9IOvSBbA
WxFokwl//+ty98tj3tLh4LXLi0eMXk4O0M4KNIoO28UY5VGezI/NSCvDAfycZnwq633azwSmMu1x
2Kk+GDvX0GzjFW035IWY5g9GXFciRA8wMGmq2+bIPzBUFGl4WPHIFMOqPcPBX6C8F9ju0b+i4RLX
9WzAo+jZjduveek8rKXFry1aDx9zJd51RUt//wNLg/WKW0eOK1YOPQhDQU7ZiQYLFTzpuv4vrGHd
VVF8QlBTmeypddvpqqBt8AdYG5b1wjD1mTdWlzpEHjowGet7qvj1r6XeNXVUuU3RKlHOd2Nyt27I
FTZeX3brjftUuSFTPBCvtnHu1tfX+9GHO0PV1TeaxrbxCij/Q0X7N0aFrc3mg/9i7LyWY0eyLPsr
Y/OOamgxNtMPIRCaDAZ1vsB4L0lorfH1s9xZ1dWZbS3KrNLy5iWDDATgfvycvddmI7J0fAW2/peK
NiicWEW6byBGd5gTiydWby22Wbs6eU24nxzyc356a1Z/mztRHoldCuU7naXOvOkkjMI6D57krVct
w8mzgsb/OdBxOHXygq69eNzEmKzzxvvKLJ6DnDgW0ZyiO/zf1Xraf1wp0U5SQegGvRTTtMTp498t
BZ2Hs8C2csSMooEOQZvwG82+KnGB4g11HQe9RtnIpkALKX6chHFYM69pgNVEdquUWX9uGZVt/utV
yhBX809VKMsTcjaNdco1OUP8Rb/iZODRonTESRiUzyZdvWXmIfJc2Z+vfCrU6a5j7pAMlJlSKZAk
tIFSMa3hk1mItwc6mGtryr9DTjd7l32LybdcaWVZKnuoGKgfxihBmS7GZ7LfLc/s6CgZ4uFSbRmB
/TdZqhwJ/kP1RuWGjIUegCiz8f39+bqHWTj3IX0GphuZfQmShgZjOULvDRiEaPO3PjKSJxETetFG
j0zIMzEYsBZrYZoew6bIH8eJOK0S+p7nncp+6m6N3uzVoewPPWbAk/xHOA6QVscNY/XWL5Poj7zU
gntN2A5xuNemr6rVWbhEj+qxC3vnzoEfsKpt77eSDX4fBWAkBlrn2rQjS2TempeZjpjPpUrWxUxd
q5FNF4couwnIvQ1sW/zOOCaZalnrYUC+aCrhghfKW2Ec6bch0CvQrLSV6Mo8ldaFaQC924kNYwrA
rs6ahjz84mlo9lqlgbnkjPcEfHM+VzvvbNPvD6IgOJc9v4CnJNSqtfKpWcODaRfhLqjjU6PyJAI0
czZY6hp9JhfdrZPDrKSXeKgh+2QlNiPFmrEwRuqm7n26hLDccS4LcKp3RDCxS1Xl2BC83ujOahhf
4C3tOs5usXeLTaThSbaenYAFfblP2/RCiuhK2wQM/1D44cUoPgFA+67Zfy+sYiZKydzjoBvB5oZg
Ma4TFSmr8pSE7n3Ub52RW9MYTJ+VOUxMZWNAP+zL6ICHfIdRI2PqSe5a91AoDmxIbYJ5iqSaCjMK
lHMxG7j5M0KhvJ29WQgBK8N6tSTJfs5mEj5/d0iZc2yYbZv94dY2yFAWb3CAb7T+/cgpXhnbeNFm
fjbSamUjdVqpcf7Y5sDbNWLi1NepA4MMNmerhfq2qqxdVDoXcD3fvWXcqRPzwba6RtO0rV18Q82e
X3WlajBeNjX1cWF/1slwMVTGqsva13Jaqam5uszJxaveRg4Z67g37gIFcXhIagC5ZFzHLHwZuhyM
ASGiFM6Li8JZG76dEe2xdnYw2uqLs7ZRS6Ot2ZspmH5g1YcF80xpYssahl/8xKb0uH2L57TZ5Sel
9JDWwuATJehdxzzBnQ2sOlxGOJ70F1fA3vZcYrhfTHWFzbTgJTV7vls6unlalm89gZyoHe8S1vlZ
i/sTbTO6+PapNcjZ4cXL2vxl1RiQeucj66NtUH4OsE8zMz3MkCiG1LsuYGbBPNDgtcbHySQ7I0Xk
6miDQNZvWju4OE3ud9F0b+sdDAjrJaDLpMbZiV/rfU77m8W7zYIMv8E1w/tT1NbLbBFN15o0ytx9
ObpgQHV9F5bDqZiAc+RVGKzytlqngYmyAiFrC7cf19iid3dwaHeTuxyjfPQ1gnHp9Os7tURLbxV7
NSebFY8bDcHxSEd6q0fo7KyUIq0ewKrC5Ac/v/H0+jaXPiPIM2xuv828h1BXDxjwFGW+H6E7VO0b
M2qcIuUtJaJ80tN31VTOSRWCFwZSwtQd8Gc+RSLD+UoO932gFO8WatwQZOww0a8z8+I42eUuKIp7
PDF71LiXDhxNGD6AbLwrCIurXG1X134JJzvCABln6cNSRq+THVy9Arq3qm5EYJcYIZjuiYVkwyZP
hRn4KaFqCr3+yGMzURqBhruCx1HSB6+J/0gr7ZcHCw3BdXcbK+80eWcloouu4+IpH3G8ZEay1YZX
I/rSoudTgSg47gkt0Bj5EDmuPuIBe4Bmf68PH/zqYPr2IML86LmHtQNHM3MwF4vQAfKwIWR21bpC
4U+IOWWDsSWLE3/vkvUr99LFiPb1RyTiTnkXzDe9+a1WV7WZGITehQqPfEfO9oB1JGJSC3wsmLOH
FG9iUor1M1yPqPQQ7eO54NBTbknI2MC7euxRThV9el9jkwtVHOTjDqQxnsKT3hxbQeyEKzsxm59x
kGQE0bhVuNZg7MI2hV4BiDhnIAHUH6lGOvyCbndzMNS3ZuiDjiGZMzi5fEIunN6xc6AZIDIwHxbj
96T0+2lobtgU9y2QApGEMprVSTGzYyhaeygDFI1kYqUkjfC79mY0hOel9jbaoIFW6zZe3PgQssym
8t2QASNWTs/CvaLh5HDvWiPeDBamS86bC2prCOBs9fm2aQvUOtcouKAe2teQpPB5npN5p2qUzG51
7c38YOCwaSHz1cuvodLPU9EcDKRqBvanJuYaNOkRq15tiZAL8BGjk7mAgx9zVIns4uYuQajucyY6
NCW4PbrkCpmeiduuehDLNs0yaBGopSzl4BTqTbdeE3ooCo3ZcTiouCyD4BuXvidWEkIcFpIqHPdz
0on4OWo6xyizWAUp018DeX1HT9Syf/eGfWhhN3MKXanNi4ZTFsksUe332oiWEaWHveyi+RUU36Bg
rAuALcXqAXu7RXct0pettdCq0NzXGDeJBWSI4OOnnl9RC2E2dbnKaIkORdneTFr+JAyh/CPuJli2
s1Y8h+r8CCeSjhf+fy7dEXrPcVSm7XnoeMYQe2VrU232QCkj1BfVDK0L5FvvGykEw4YoUMiXptvu
cmXfa8N7twT6SnfqDIPMeArU7F419N82QksVt1Izm2zOhA96bC8GWeXeCY8JgRpOcuzNaxWlvyeg
uUybOoaJhfNCTEi08ibgNRPCO4hKajSsIHVvTJ330zuvo1c+48s+apONNzB9XGKEhKCC15pGWuVL
DqvRVuBvA3wM8DLjwdhUcfNoauG1UXGxjp75WWq4LSOsIrhdsTi1ZK+pzt4ok1s/Xno8x5HxPNif
1VCcdKVGaqStdSAGgyLkfNQ1ZMBo1bEtXnsgxOOA4q4gRTL3WzpWc1p+GIPmB7P93rj2JslFigjY
Xz1NH8LhHvLDyaWdqufpnmb5NTJN+suZXzLEyg3vqvGt7rvjWNuU9cxT+3V0Yp5/iQ0iGrj0aVBf
QxXtL+LVeimfU7c7lzoVCLqsXxhuf9VBf7SBFp3sdjgO4QxrI3JPeBm7LVXTgrzOAqwSaiTjEOYZ
ZOr7goIeQQpl21D0/UMCQI09aPRSi/oxJgNYVwWzWvvVZRPtyzBcJ2ZBxnocGUgWNnljqx/oEhgP
98Fx8rIA9wz/lsyDsyq6gmRZIsFZO8biVNkcT6Monw8pIA5GjsDldSVQHhsXr6Oy9NOxqpvwybYh
DsBDrjbyb22IoPduNx+HfA4BQHQ6UsKsYC/iWyGSBpsFr6Qv/xiVpYpbfwZxLL84mb9s4RsbGDj6
db6kT7aTsgG7U3b06lBnvqEBu6OUObeBWxOZdGrmsHiZCy878vDSmxtz0p3HHihhU8HjCrLqEFid
sp7goflN1Vlb+SWN1vZbosmLnXyBiaYoC8Ti7MdpyV+chAWtVVQ4kOLlDdG5LUca2vJvPTKpZwKC
OLfqdsq0Pnj1ANakY01b1yTzNbPbNc2+cZ8YVBTB+xzMv1qgiGGhr4TQryrjg9E+wq68JfGi8ziQ
DTUjHOideV8xxwvpi8wDBf8Qb7Ux+52cNa1+iBIEa4ldwR/PIASVgz+21hFLok8EzcYcjEfXWYwV
XgQmteiR3xJm3qgW4tex/aQHC9m0eIzcAI8UJjOinoSO53tORmfDuAXkuLLsTGX5ctlpxf+1pl6n
FarS0R38WgUmlFUODBx4bPO+YdrMhLjhl832Ea59SDigkwus3G4PYH3W7lt73oD08eMSzssYhc+e
0fo9RMQCu1AsiIKtTkR1shwHIB/9NAJnBDukEC+RhOGuW/rjrOd/RKof9Ivti9l41GJwV3uRb7gO
oCI76KrWToVGBMwNmhvtwQNB2yTFxcHsnUTHQceh5tjhuxMBWsVLpCGciTfF2EHzJGaCCKJ31pyj
BwEAmL2AKEMeoUXL8Jg1qkAOujQopMCBE4m1LsvoCmpWV0fwIENLO7myL+jPEQwgVulHl3aj0idH
leAnojDWA2pi5vgQ4FXk9kbqka9yr9vlCZDwtfQ6boty2XWqsTFb9BeN3gJKdJpdthAlhTlgQwnf
4VnsyrLw4Sh+FZQHHpFYWnVoo+yW5O5FhSWnpNZLitazHhEWlSLDC7KeZWzmkVhnEGCO2j2a9TVy
PiteFNDbF7Oi1RQEoDqcPQfeZ7LJwKJYAQnRym4KaUiMkBQdJd7rukFgGA2idM5Jbi6XF9g2m0at
v/Sm42IT1kQCzIM3gseOZvZbw+SBDi3USkmE2JgNzezTuzHGN2IRhrEtjeqtZCPcogS6KhjHocIE
bralT0usrk1lA0cUhzTogqW9LcQYGQqCmKmOnh0S1uaqPZpJH66LJNF21YuRKeaRnIZCL8q7uCeC
M462eap7F8VmjcCfbl4Y+lz7+gGjbnKwZqz5HdrTM4cMqci2dZv0lSbb1JVu43YjZnDJoQp0Whfv
tML2lSqPDo7O9FAndW7PmELnJLlBOXMrO6WciUlxOpYi8jb1qD6m5XyR6plF9PsVe3kN4jw/ZS4A
viA0TPBk7ngJ4aDOBmzebGig3Ke6eocgB6720gbv2AiTQ64pIWnUxtqioop34OEglRpWfRn7nExB
N+OfiD0JKFcq7ONMfqGRg8xu5+BxQUq3C7Wq3td5c5rBxZzqwTlpjCI4s2FcQBxl7LqaTBK9d9m3
+zrxaa4N+0ibSakDCr8na9WCdu285lYJVGmgexqq3dU1vK800k69YRJP0VOfw98xzkrOthin5sOo
UQf1A9G+UjY1ZCSYNUV4kte0hzIF/6DKjWbbY6ilOb7MiLPIbgK15a2qbgGv6MA4c7dT5ZXrH8mc
nBy6bb9XBhfDuPiL2FA+iA15KIBWaagt0ZSju1hC9Yu0v0dqE5hs4lJWSMO2M52Wkna6jbDfmEud
NW18lmJY2b6W1hPHg/9BxhepetredNC7i6+GxHGXZYGyDWwOiAa9hJ/vKHkYansytrZpUeabpDkn
qfc+DvCAlqU9DEJjjsG23f7OpZ4yNbTNAlzpZ0SlxvQR8Aaj1BvI84szvJRTOkDwhoNqoGpRS0SY
au1ty5af5KINlIrSFszEFjtHd0Zj4Yk5lxmRPhjXL7mjHEIR71YrzYgNwX2Ws0nZ6cV3zEqrw02Q
IiGPDtOKamfnkaxDYoS+Z63GOCHer9MFX3qRFqdJM3+kVdJZYSvTl5OMnAtb0KcxLyd/uLTXSKPJ
PxuF8p2XubN2I6wqckgkX1lfyOMwwM3K3yvRC+VJDaeL1VnceEJx6HrMLzheyQvMnJzU6RrZL3OX
Xaw3D+xPDJfozmOVkV8SaUhL4clhXhMiM0VMWZG11ixw09oRQklITeyGGgBOhi9ZUhWbys5eu4Ak
gTpvHwbRLJcejdJQ92MUNX48Hizs9btp+t2JVrtG8/5Hm0p6g1jCUsgzsrMphpOVxgxXR1+fmlAH
kQE+KOZI/Sy05qEevut5u5PWGQedPJNGlWYdae1ewUM4pUcHwdIGxwWhwo56DXJXCnGUZoY5gCCF
ZUpJ0kMqilqHAmVs36Saru21l6VdTolH5pf8L6mYdMSIvFe63b5Kke2y3GwbeJiYdcq3KHu1elN5
fI26k+uTnL2HU/1IJ8KW+sYRpvmQsPrLK0Y6VLMbY+IjhXxI6qdktz1EeWkMZGJJfZBUXMuxx+w1
m7lpOcR46laKvKXCSEE6iCiS9qCDjQlAPce0ylM27mi9KAoteqljkpdbKhoDhwDMfDnYigk51yWg
AD6zLye7RA3ykSJ12dhWxHAn0+dVOyic/fr8PPUAKjUxp5UDZjlM+lEFK8u3HcQFDS/lafDaHy1m
0SQKx0Xa3gXlHUKLpMLgr9Qez21tHsQWtalUhuJhyIg8QFUK6I/2ITrCKcoc6GXcdAC0mbcIaHPp
ElSQGyIhA2OQtH0GPQPQoogOg8r+Wbk5FYR41c4ynq24YQUU3XU60WRlMruRWgHOxGvDKOd72vmN
1MXJ0fDEYam2OMJGFUOSHlSrRnt6LT/9iBgbbkCEdQMBQqGC61mMyGz4ERHBrcNrG7cVlFmGcnKO
ZKslC0G+wwGeLDnJgmG6j5tc54bhvm04Y+zk5zD1eKGa+EkuDkQOUNb19KkbUMseNBSycD5bgoxW
pFERCtPeS3VxMzAiF5OqaspPy1J2flaHxF3B4sjQE6+Bnu3lx5PRo0NyjKroZxM29HbFZkZgt5A5
WsAxwAy1vhHSPvXwHIVpqDBPCYm4aauHpmIt0ttQvy3NzCrDMv2jbZEjrHTC0RHt5TDIm9rPfsmt
tRhnlR7mq956cmPHD0FE8OBxOEsdogyUdEJqPCP9ErLZYAQcxYOtikEJ42sEGkJAXMyo99Q8JeOV
BUVINn4WTeEjUNiJye9ptnC6qY21uMXMwfytY7GVi7zZNPUqa512J2/4hgimzRLdy1cPYgwsIv2V
6G2bSe1AB1lPhs+wNN8hWxG+nXoXOUxJkvnWmCM2+Lb8pRnLXZVX7xpNq8hr3soIbRoRmqvG0pJT
AB/CIM9hr5ogNEiRgOZUAa3BcvgjX6yJVaE768vnWz5gKhXUQafklPeQGnKkF+XMQPCS31D79aF+
cQqDaYNu/tGHQPFiSD4bPo4K/5pQt3dIlYmGJHxTmLikoFAuE/I2T3RqrgDTjupqd9IzGCFc2PRO
BfQocxa2W/hqcX0JcsxdnRFRxIlNyZ7uTXhA0qIxQPtYkdQER8WxXN+tgf7JJS8tchNPoY2onlsY
Gc2yrwlQMyIz8hkYpJt5qM9SWCoG+jumiO+VKORTF0+MkHBPg/Y9Os/10NBiAGtjKoQaBmP/R+PG
fmHbOjklFQQJ/Ll0lRkrRgRJrTSCZtemB0LXimz8m0boY/Wh7VjCWR7Tydq5WsboRLwR+fjLh1BV
sCyk+r00xinzjqnw3iNC+Udemw/msqpCCy48PKFOuHaSmFucHLp2PQmDQWB85PBwmw7Kqnxu4WaC
wcj9VHj+VHKaA5fHjev5Sw7o5KBcLhdyyZOfi47GlDSt+ig//zwNPxUN0I4s1KRrzoDgX+jvILmV
g6wauw6Loo4WHVmecyffiBzLis3QtvRDhWYDKUP8ZdsW8qIIJuUSPPfC/1rT+p76sLy0bb2Sls2E
IOZ1XNDCQ14tl3+5Iampva9C7ygfkki3EByg4uZq45MDbglejZlNKWRjctid2rgDlAcmKre4BBqo
qAHor4TdmmWEMAwRfqzsSPv70a78LFIG+otxVokPU3jYnbLihs8pakKc7WT7sLDLm1PKgbKiDVcq
XRmC8/aypJR+axJV32Kr/5bbjFx1ks57UJFA/Ow+KJ06JljpgognwyQrhGyu9jsh8Q2MAGQMz/aT
hXOuEKrERvxWsIrKXU1+glITANntVxHScpR7rzpZLPL2HVX67Z+bcRe4m7mNh13S0G11mnEvpcOG
0GTZ6R84JAhFwua39LD4wUT++Gqs2DzPHJk45WNMbeEDA6U2L2KNdFoYyTVBjIqZ8L1iT1AQCECP
TY4p7YfAzt4HJP+7nOe41uZiL69Vgn0Rj20Ayon9bKCHxrqJPRvPQLHK4OXB+IG5LVUTUv3dTJzb
pxDgoNRodOVAosPcP8s/SfdoRmLu2iZZQYssBurC1DfGPVjCBPdCOMe+VoF3xB65cQ3lNCb6bcZX
KJc2S7gxpLdB7i6kWNPovU+FX0xqyNyKDxoX96eTJCBZnRzJGkLfKIflE5EuyVX35e68ND2dYgBW
MZ6yzmGtMXPdw6LCvg+QoKX+Vw7yCcOFW231332FDigM4hdDSQ4aUVjHJIPbXBgmNHnh8JNiM2k4
iAyPdUpcYDtjYqk6I7EWEbR/dgwhYFkGqp24TW5E/zyTQDkBC9pJbYkxJfgDSUpXkJCu4zm4J+Ls
x28vywUXBcQCUmBqvW08ZM+80+BomfbBsqandkk6ygF+TTtoX2dO3XovRM74W3Kd7I0x3Jl6re+G
BoO6QiBdZ3QPzkhMqDS6hC5EhMIN77BtklGA0HHU446b4FNKLaTYUV4QZwjONGvoM6VkoPbjXh+Q
BVTiqIEP+xyDMmfswW0aCseAvNGkyVRqPkHqATpzIFGGUxa8hwtaWEiGgDaYbTX9l7Qb9JFw7xCj
Ca+iiOBDqVfboXuaWBGjgsY+z6lzqQPu1VIlrKoqz+msxtsksTetkBqJt2x0FTrhofuxJEC4W/yw
dp4sDLs7B3axvN6m178Mrb2Xe5p4SKT+T1ZJRfhkLiVrmNYoWCv/kHeGLA3kRZCFdidObfJJm0vr
Bk8WerZ4EbEl0NWjM/13iQ9so2+7Kt/k3wQzXXjw1wL+DRwoBgovF7VGdDphgbMTqBxbmgmcsX2s
ne5R1aIdhEhAtpSTTaGiL2n6b6WkDJ0toaUM+t04kraaB0kL55+Xx1UoRWo/K5jwh7m96Zd9tpwU
VT/X/Vz4UvY4NIzFdXGxci7WT2E/Ti6dA0Lx4mS+ynOAl5rWeqwLogbEEyjX8MTJ423d/ZR9bdxf
FEIZAU9gCIFrcuaAd7aT/C4QiAwpNTF1aFMWIynbFu6+Xo1R8mHPGzX7AS3SW5l2Z/oAP+Ivxo1v
dWDtAsviCKmWG7k6dH3zS35yej7eMthKhkagsXyypLZSiL+9pSQ4sDO+ZF0llx1ZRySd7W3sorsr
WwYPMwNyIRiTIldAmJh5yUiXdhaJBbHwIqE1Kn5UWdI/30GH91q1Pslzrbzh5QZWEOjsgnwMLCCa
3litlxd5148LU1T4pvp6ysyfBUEEZQRdsX2uJwUet7h/0orjLh3YXWoQhjsY6LYS5DRxq76Ogfst
dw0E8coq15hjuOC35cldekOJdbwGXvHHUmAbi7vOuzIGCdHjiQ4C8T4hKdzLJba7G7c8TC/luxFO
NNILD/JznFMb8gWOiGE+UakorO+0N4LBoaLG6SuvXTz6fdk/OELX2/cKZomCFpZWbOWNIWWvWhMc
9RRRQTS/LeFMRxaHy743oFaKc5GeteoqydKTfKuj4j4ZWfJiRy3Ar4rpmfxZJeHIx94i0K0RjpWJ
IEE+GySxQ6d+N4rH0ZmetVz65X+uvZDKNSFRsMTLzO+mKIQ6KoP5piQnZVTro1wxrSnDehXvkkXV
/cCk4diXyCWki8pk4RRLhfywxL8k4iwweTEYoHxNLizcVzN8zKdl+VkuVB3uBbOOH9OQ3O36OSNC
2Eu/aUheUPMUB9XWjj87nygl5x7/bKBWDD90wT4XJQ5XNlQgZoFTZzwrKtRgMoo10pOzmpvaOdUh
eqsW11/EGlhoJlzWy6AkakIZHgeOT3RxIWN11qD45lA9hUNVnwJXu7mL2v/d0sSJknNL35IvKwcx
lJpyHZc3vfz9EotgI6PhgOKmZJe5UfsWVNvcm2mGF2bPCcf8Cpf0vc4C7RaPu3Dyhp9TlGWXDxNB
IJlLTASpM4s/olLimIftIm1g5jlqlhFKMvs2winG8gGU+V6Pt86SE6EIhTjq3peOcL/AXiDQmiTg
RKgkJ/DNiVvdpAuSowIpshnNVflh2QpyGa0FSiuWWCnf7BPOpGRT3aemc5H7Lb4Jjv0Sp4EZbSRM
q1mMp9qMn6NW/45U6ySXcXlmduYY9TnhKhgw2JhLR8+3TrScsoTVO3V5FxiCQqaJyrWx6PMoafUA
ehb6RqEyD6jYJ23IicJHO9XM2Nl5yUtDu7wqE/YYg7wijDZO9RIVmrXNtXgXDbxy2NPyyZlrynrM
cYcjOFnop2g4JuryvWLkoDWG9pZ0ziNtKi4N59Us6IP7Tki+6rTae8aAx4oBVV4X7SGhNbawF7dF
AEQwQ56kp7gaCmOxN8Bc14ExNvSao36nQbjyHRATGxsGhIWugLSIHsYtwTLjyMjUcIcKHgNNPt2x
8y3A12tW1YHP4PhDmUzy13Q6/YWzL1x2AdKPfgVBMG6wgr07VrO3Cj0/Dmhg+howQaqkhd83J1BC
J45cLHcusE0mpfdhiYpZIfE+IiQ9ycmpbhKCN8Iu3CUGj5diW/1GM/t+U8/rJSFHLCEfW/CC16SF
1KcaqZhdpEe9oQec9QMza/A1vZKGNHfRLhtueHLnBJ8xhuGbG9rOIVmaL3CJAQIA3NNjG5+i0F2l
cws/ASCe5bjbJQbTXRilctC5E9dBAYOow1hMnr27piEVL2l1HkpB0Eira5t7hGHolbslR6Af1e4S
kGhH4hA4zsp6wKyRc/CnuzQVnb7uOGAQt8syGU13bjRFe+1QN3W+mRflaBMQsxoi45HnIWy/u7j4
HTU8JYM2mSdjNK/dVL+RhaZuoeiFjJn5R0UHpmyJhlB0pfSLaLzSYaJh3Rvfy4zGMCW82VCm+hA4
qp+3Gjo7lKp27/QMo/lo2xxHDFeGSHLBRJ5DvT9MCFrzqErYb62rbbqPrVU5OJdmYM/Mx7thfK3b
/FyQRYzeADl8qytvlRPCCrGqadvg0iSdkIRTr/7wQtDSjVMgb8qo9RakxrpIDa6TPtu3nk7wJGMp
pm60HAx0J2MZPXszgA2AuqxbkX5NC7jFhhEh8CUxp6tx3TuKvXanCheiOM8xfvoInfCBkThqQIjS
66LNH4EOfcIL2xANtOybtDk1bhRvPVTJWGEEhLDNXuqpHzgvJNMq6E5RDr/c6j3GzVa4zrpdAmEc
m37COXtrJGa6jxrxfXVsiBnJLkmGzuebiWEnZ4bQPqhK05i9c9iwACg3Lwp91mXEIt6UbyYjHR+d
HhB8qAyK92iEn3ASi3OVGMgH3enkjK330usfXm18WpNn+JCnf0HW1S8xaCR9CaK7F5TGyykAawU2
9AIMhNYWBPRN53L2RmiOyICDS8q4HbXRgUQifr6je7vCiR5Jb9xj50fA75BXW2vkOKIu87Buzy+9
1jjbDr1jARriYFYJRnWMSmMDwHyuteGiYUwdMfekiUbIZ4SiHZjr2anMt4kezqkYRF+oZUQCsG9e
t0Hy28sUksXyzj06xnjfL0SFx1RRCEI4cozlR17pwENr2nhqymA5Kr9TZ8rwBvQHemPJaaoH3kY8
k3o9g8ZSxNrGaRP3sAtAV0erJU4FZV6gZgxdsFWpei4N10DOaW3pYujb1upfgomwv9YG7IA3bAtL
Iji79IjMyKkPo1M904rbGSbSW9sCL5QHuo37Owp3vTu2l4QevdIa89F28g5NGJN7lW7HkahCvCjc
hSxuaCzSUxurxHpyL/u5N6DisbgQlRdWyHJzqF7iZOTU5o/C/l9+T/8n/CqvP+ruVkINf5fQsuIw
6v7yx3/dfZV3H/lX+3/Fd/3bV/35e/71Ca95mf+XX3KJf1N+ld/dX7/qT6/LT//7b7f56D7+9Idt
0TE1e+i/mvn21fZZ9w8Yo/jK/+lf/q//EYRSOoH+cwol8ZT9x18wlPJb/s6htP+GeYNFHAgeczsY
if/GoVT/5pmuY4Npwiqo2xbWuX9wKO2/UQG6nmdqJkZdbAGkNnTR//vflvE3F5QhriCwkSSm4oL4
xxv/0wf4zw/03wMbDf73Fx0/qCgDn5FlWqbw72l/0fG7mga6JqJlrqeUFOlLErUfNjqZVRCZj7qD
La+cVpxeV2qZfsyBu5tSJYF/yipqEKJCgm9zzM39kHFmNdFVGhVCnOWMntef4gIDtv3lOgD+AEg0
VbWNq+laGvkRleGLC9k66Ij0MVN/ahxCmtwD3o07Gml5NN7lKCuGvr6YkwMw13kYDG3dqu5GG81t
Vps3a7n2xan3ptuiN2cyN5+iUehrWyhwZnUcKhi0DpktKXKvDhxvbbzPxbjDsCnkwsZbjUZBTx4U
xYQ8EnzUY3vXACpIUDDNAbIYTrjlrJCCgTDOcO8hhPj1BBQ8h7HtfTr3JCiR7G6dSt4+UsUkug0o
mruqP+aE1KX0OR0G2VYd3nmswF0RrsHXv9Ct4CQbZGyIS0sca4oOm5q8SYhrZh6HPKccAkSG7j5o
p62Nn0alvoC2ca3FshoeZ617KLoUKRnWRJQESTz+Mgb1KWox6HrpoX7R8rpeU7nAuMzJ5gx6vyQI
nlVo687Vw+yRgBFX+bVJaK4VGS6ZrLuLsl0eJpsesQRq+2yTRYZfpu2t0gOf2/ddj9jzSWdYOFfk
WXyoBoRyVQx8PFs2WEBXXWA+OeTHcddUfQJl3KNwJIq8o5zC5EptbYNCQrtC43ptAhaxPJSvA3dA
1lC0j/XFykbXL3OioUfns7ScrZLHdJnS9aImG/rWKKTQwb4G5nK23eRQDxQJKBLjmsF90z91tgts
OVo7ffurjDhUoJ6/S6Ny03rwJL1FdK+z05SUxyGqr02UHYyGwBF1jTTgNbaCOwv8DVlcMOHvnYa2
m9s8DKGJwITpeIUFA0XkPI6YBYJTYnw0Vg6waVyn/UfVpn8kkzARDfmx0ZCpGwaSEWCdNdu7Hja7
uIT5mNyscV5XBKK1mXJSjfDOIeOwJM4C40+wwWKwkBeUtxyWFwe0AeS6S9dZj8kYr0o9eBqaYVMg
oLKTaVPmCEqQZJoTwPh6JsjuHAWEmvdocCoLBhpCUVLMAc+EJ7v81TMmLtBSIEcj8lpJ7pE4MrMk
MnWmyeO1NKvyW6T3z5QV1zE+1SEG/hqfd24fmHjDCEAHk2anvnb9JGs+Iqs+lBToTlT67fwblNen
RYlHeZSvYiW4Ix/wDT4LUlHPc58SR/HHmk5obDF+1OngzxZtYiNsnqemAyQYGAev36qwMUp0r4Yz
nI22CzhvoOAgwNmc26PWOfct8PkgLbapE271Bht621hvZU7w4xgeFCcUaBcVHc4fevXSkoze2Mk2
zztyxyNi8URgJhB3RX2xF+XUeXRuHbJkrjCQvpAknokzvZSUKH2ibeHqrkD3uFl08zQdw0Ru+IoR
/lL75b0jOzeyQzo8DFpHsCtrRrfMNIcLzNjnzq5H6rUjSUDU1YWnbZrULDiKf8ZV8IC4cV97we/C
tloi2AmANdVya+rhk2c0H3HWoW6v7TuzrH4j1qkc+6SKw7qmmdRBHZ4RmrcIQP4/UeexG7uSLdEv
IkBvpuWtSt5NCLnDTHomXZJf34sXD3iTxu3bfXAkFZXcGTtixcfct3sJQix3TLEdHKJU6dQf7ELw
Wt4UaZWfcZ/RRxsmT1RcnpqGsTQ7UpSDtQvV2jx5ynrDefsQNe1jMIpoUwbDo4s/0Muqnaur7Uyw
KK1MqPr1U5bWLzSQPU7lzFCaU9YUbSolHjNavQNYD3CFVuR/DsrZusXw5XIpSANrIxpc8LZ8cHqC
vnAITXN6xUNzoS2BgsZ60VO4dqq1loO5ka+do0rWTtLYWMr5LUN+DVh0mEsYlF0JeYadgbks0V+l
BWwmqk59wyLjNwIuDqtRYMHzJkKRz2yvkLIw3DOws+na2Y59bqzyZHrFwgtjkBMPY7P0PjQLU8Q8
Z0trqlUqb5WzdbO9iSbHdzP0cIN9DpxsHoWZwsZa7wAzEaSFIBb1mq12wsJnbk8aHJjv1ZdOmx/2
skZwa+89CIxL03FtaNVJg2pRw0yJFggyOUffyHf/Ms+5ayteDPMC0R9GG2U4nTYuj3IgfBochb+u
NRQeKD9T20OJh18iqrcCBdYi+zByskU2PQrjBhDnGvc6yR88//gmV4H76AjW24W8SyjyyeZw58TM
vYFWQOKrf0ad/yVB8Z6O5V9MV/WYQY/usuYJuwA+XJF/Wqo+qXyRBB9jSWaciMzWVVNAqoXLmOi+
iDF9Q9e2NlQJHVwJBkLyM65DUj6jYJdXflB7vLar8mx2YtOlOAgKvuBIvIyBtdfLJO45jyo0r3Hd
/mMtsoY3Qa/bcyYTYkOCDqom5mJn1vqfaaRXOTEbNOKnb7lh5CSGxPRdjB91R1Whx+o8YZEKwWuM
BWgmDM1tkz5TPgG9snwdyVA0NJf5IV0L6lSltzmAiSDZR5mt8eUGK8TYg8jn4xzH+7HMnhIryHCG
/5TeUt7kkVkJDa7fCX/PuLXdcR1IWFxVzeTNOgHe6wEGJqLNIL4Kk56ZhsjwVG8JFxOrtr+CDvCx
O7zNdnZnUNpFYWv1auTW2QxTWsRcmp2LTWtJWD/ljsPU2wWOE6wL69vx2U6CqDsbMdt5zys28GqT
TdvBqAVTffBdfUqcRGBCcu3VFEG0brwnKcUhLKtT6VXP0ZDflOkcBru4xazyNtStXrDCbAbyV9yt
u7Mbh29h17vb8IFGpPkvMcJTOTxkKcUswd6f7Gve0FZCG3QqEa9rSan2YLQgs838eTnIg/HJJo6x
ij3qhPAHW6n4WzrWKFjcBGNwdMfHKo5fpbZZ1A93VpOTAeUxTt2qWNFufrXQo6MiuqR28YEd56WJ
nWcn6z8F0j8q1yy3yzEpDPniG4wBPNI89cyzzBEkw9E2Y4soW/QyAuCnng/Jm6BCdIyKPz+s9xKj
jNv9Ldwj4Gnl9BVk3J3w4JLtxNMbT3sS8Lc2t25urS62iA+RgWwZl+mrpllcIEjk9Xw0aIGPXpop
e/F0uPap11NWs+tBC9qVsY94mIomIxQ/PmEyb3ya6or0xXWWpLsNf7d7qHmRwGrbxXl0LYvsJE9T
8mR0+76RB9ePHhvXvhgoSHCuklOFzVZW99zQPlxEv21EGd+iTJE+I2IhPtoE0F0ofrnBtceISuCw
D6K1Gy6tn7vIKCiSnKvv2o7SdbMI1VgDfV7DXtHuQFzscyfYIpx88qsRqOwlcLzvotU5TYcoasAP
DHd+tmqaHWK/sTdRgemUL4u3aE7J31LnKvULtocXv/P14zB3J5FhOHbwmsaDm24dzEGlxew6O1O/
dRO5auiMWw9YHgqZrAI8pKbZrOdg5pALVvTv3RV84Edb19ka6SGYRb4qzQQ7hCONQ4vc6EJrXRDa
xN/x3YTJc17whg+DixlXj31u8RBUDu6t/5oitvmMJ7CUQMmgDTDitja1gr4LXdIGYNnnTN06/YnL
+DtLINJaExJba5xGTDVnzXomDYdfNLxQ9Og0QfPU57STtg5bo0Li47esPeGto4YF4dQSzLJBes4O
QMnbhOYTXr7rOovvrQOa1EvVGwbd18EuzPq/JjCxcK8J610NBG+KvAW7oPMYJw8TNvCFr546/8CP
/pfoqqh8bDF+EFtna8KZQ8GL/eNNY08nJEH8ysZQ3eg95ZLUUeDlE9m5ew/6kng7EnnhPUpmXluJ
5yBMYefQSctWfg5+BpLTQfxCUc0pHw1Skq1xzPDqLi80ZxO7xNh0Ep9cM9TvdB7vZmz09eScCtsH
kT76+ymm4QkKQ+MM77FDAI1rlnF2+L8w0bEfBjmNAon9maHU8ngJNIeuKOnzG7qTUXcFJo6O5kCX
oXyCy4V/KeBiQXo90OO6XrqBcFjEGF87He3s6N3qjN0Q/WiqZzMN78bnfRR2r5lkYlq6OMSTdM3t
nKmtQbXeSpAWbovkRZjzYcYcPMWP5hSj7PQzBYgEZHbc3i5AcN97UT1RDryzwuyDiI4gWlnF2QOg
PjIDVvrsRnO4CiqILPwInwMVIN66/k7aPMvtJur6E4Q4BpQ4RtW2vueSiuzOCnB7esd0erXn6pgi
62ztyH9s9DLmC0CPwZ3tNP9cE3RoeBCcR14XnFoiDDN7ye4lT+xjF4mjmz111OqsGPGe+6HdKo35
E+5v52S3UEOtLOp9nirgyNOKx7U12XBEc7maa+9CucQDhPNja9lXX/tH00IG47Cmj8C4UBK1Qjfd
z4F156pXksBW9Dd5/ALgzfpHqOnkNBmyH+MJsVcMc2vlXprhWrXYLTgJbSIfAb4C03tTlFEGjLN9
QWCpEBvPCb6WqWNoI8o82S4AYB2H5ybA9/GdB+YpoAZc9MnTNNhrw8Tn1BNRobQ7ItMeUEYKLHky
KFkT4qnCrTRaaj1ksETg0NBx9BTzHfSj5JaabUL7jHMMdxFGqe6VSzR5EkWp/a/j4eQM6gtY5wcU
74vvQZROcgvwXuKdGQxw5jcMYKSQ4hyvGddPYlZ7/tfsV+LCPKSsYEX2PWZP2IvB0w7GQ2IKa2XP
x9ojA++RTu1LcAxj+Rt4MCaj8Vw0/o2C5s+ijm6jLk5BVz4XXk1FGAq+VzUfVhtcPFGu58Q6wwwz
6fSaeRoKnHd4eXjeMmxuUi1rquHipeZmGOJ96Dn3NtHglfCcmxl2N7OvMPfPv3U+XXxsBehEAI9M
+Ymt49hKMmxYZVtbP/bazc9s1r+hnfNxFzlZC5HwMshD4iTWxqTnwu/Lnd852IQ658WwmGw79wc8
MM67GuuBelY+VZTebDLxF9tiat6G2vzwZbppOncDVJpranYODQfUoOQC2+zyCKq+Px+q3H3yLX0k
qVtE89aMu1vaO2eLBHKm9bobuvcCtcPTPK9jzV9KpZatnI/WKQ/2TMVwY8oNNPHHpqAxS6hrjjVu
JXX3UJWzDQm6I/4qz944rtqORsB4uu86woTDaNwHDARovoQJvSR7H4X9nEwsJQbDL/YuDVaWMK5e
SUwaff6EPsAaso1fiCPsaz0eEoCaKyavtehOs6bvDjpLclZFNRHwMe+HkGZIWfvJhdZnilR7oKvZ
zRl2hc5plIARokSzKdP8ZIK6ZEQDxJl+22PwRGprj4lpSwIb3zAXfzz6V5fwJhCmZOuFxT3tkUnM
LD07d8HcHwYpDAabv8zKdu6c17sMh/24oCarXz/P7xycK2FbH4SI+eP1p9VO5B29Vyel0n7kjSXA
IlRkZ9PpNyFeXVeLbeWiui+DOsWRqGSk4Nrl/ms6hzzHqGGC7SspChrPHOubmpAjO2KoctTfmZCR
lEC7095Pqzu10YsRzS7656hl0+bYR+hUV9gy0AVM44sC4pphpFOHUj0QTF8RwxUdfrBeUob8CuFi
k6YcRu571xL8KrjnSBlfWCvIQuyr8ZJGYsf4v/VZPoT5ex1/1uZblQ0eYYHyCaPjTsHrXhqVexsb
tHDZPlK6N5FjGz1sIKcQA8rSEYcqWVgwx/oXNZSUBLLgTDwugI3Xs8durnhJL17bPAy6VYfU9k+W
NCgI4TphWpCS4+zdaaObit/AcXH5sgyKzMdoJ+v2khMB1lQ2DhejjznhTBbNVTY/Orb4Cc3+L6wL
Zp+UonCfFvBYcm6BV4fJk6L8QM+danpCoDP/yxQUgda59PU95/Khm+4LALhGg6U9pKqF0h6BujqH
DiCDbqWC5r7HWrGypy/0263Ft6d5Iplmg5d0Sr5znDwkjAnwnLKQXFO2cwLj1vXQ5QZxzTDuuGl+
V8AmClPzN5VcfkOmmkvOOgtKgbXqzeGsPYk8l2IGSBarDRcbVYmTbLgrdUSwZm+6KfXGR3w1UB/y
gR4sTPVEYM/MdCHtzk3q7KXA+1CxxPSZ+pdEmz9tPe+aJAUewPJ+nlkqkQWka30SzJaS4sdkSxvg
TZYQByMyu9wwm01OWfjKtJ5Qa4LVzLnhJstKsr4rInJtrO2DGQmSVvWZV2EGB4ImFkpscPRieLsU
6YCGcysMfaKe8s8u9SnSzL5+hgG2yLJrjKZsT5T7toi9NZ6GVcNeugjnHUV4f01IDG3c6PA9zDBz
pxAeDPsY8FdmotiO2Iu5eTx13XEkChWFAYNLu22T7pDdyZnnYSv8a8M9rGN3S+JlvXTGz3CKK6Lt
JrMi8OI69AhrX4b+ZRjxnchi26ckSvotjacsiqdMHaOA1OKKzSIz2LoaBSM/m3Z89kskZY43nR7B
Z9jrmtjzKAHb9XTzIqMZFLS2oMBmVtg0UYOWIENKZnJ0jR1eyf2s1lYCfN2bNu0yiSBcOfWTVfX7
wSX+h/HF3NP0t1Xja4MiwRtt70ifS1a5nnSDW4TabfGSU2TvdwcvNs6J6a8toiat2bLeH/eTea/N
h56/Fl5FBj1BI+YytrO7N/nsNFzo7zhlJVnilh/DWz1gKLnPczr1ZMuI8d3J4pj7rMtm2tka3B66
tV9EDk6qbK5M5zO7aKyie3MApACBgJ8ACGW9KbNsn/s2zx6/RpHeWhgZLIfWo3ZLVU0LjSMpgy1X
jA2OYaJTL6YVPEUFtASKK3r1OJIu9TF/o8ifCjJRefbesKrG3kFLCey0Ne3dafXtzndG99L02RWp
i7bae0mzVEOWtPPn5w50Scc7aqT6hvInz+VkJvs9yDV9WB9lWJ1s/Vmoyd9bSXZm/gm2Jfm8QbnX
qkTTmctnraA1BM79aGR3+O8v8Yi/VRHapwQvWvsk7k9JGtxZtuPTIdV+WL68cxu6fUmvyG09ZT8u
5INTUlcYuWYedvyFFdJ1g9SlGMacKbkbM6yASZ8QbJ8QKAwWQLVLRkjEr1Pcfw1i3PjFRFhK+fmp
UCDxhuWyFxc/o09fEPkfJEMbw0cyHYYiZbxio37hmt65OSl8KMRdqPeKtcfM1mieLDowWP5682NZ
ERTWoE/0TwG9PaLxfaZ/lY4UeLlwMjCVQYEpZzJAw4fRXcNR7eow23sTkx6rEgdjffdW0TtOq2+E
iYWMrF8QXUcpCNe8P4ux5iC/YkQLP6X3zhhxhPLKfEqjr6zJ8gK5WZQA00iwGFUbG2UpzR/MpNhH
sJj86M1SE7FlgjB1RykQSpIV7MxxOko/RdUsbiVZ0cTOKfrYjuynSPMk2eLPTeN0M9uLkhiIaVU4
xJ6U0VylbLtLOhji5BnOa+i3j8M4cslQ1vOMTaFFOzzNeADPjOzjdkjYX1lZzhzJI25ZcIEcNZOx
iwKujr7h7fO4Ds+Oyl8D7RMzRCOh8pglgBpw7zBfibXR0GodNxbpno5URedjVfKTmlV7as0U3mC6
ouaEgOZ3hfEllIo0fOoh/eFcCGK23xEOvefqpfdAgQ9aTg+kYZ9Hu/xmDZ/gFdfBIeyFvx8mPnrZ
jKTpltE548AqkuIUgts9mDgVHoRz0HblXgx+rac2Dp7jtGrvY4LmsXEEdOb91Y68plGuPoIxfxWu
90OnBW426y6tnYSfGG7EfqqenX5O71XNp00ANdxFXvOlRdYeDIgIUdrj/RzIjOqU8y23YfypjsnC
iB+iyuFYtIG2SWF+YtDvNsM4hOsQKf8kNK09jbpGuac2ssOEMfiUojoVA/H8OKnUhHrBddyRw7dn
Dkcm6XGTEMtbUYusLn3yl7AA3XtO9IHTkis8huBA2G99C37DwYajBow6XQ3Bo6AMr7QZ9RzFJTdc
DBJdH62bdnwGwAFx8Ri1QbmTKcsXfBQB1pWoTM1TA/YJgmx4LAb9NlmSLhLyS0ISZW+TU3bNGjzv
TYaLfB5+XJvouWoB783dbxyW59aEYGzS05p0BVtIXKU7fODSNz1Km9BItclEb/m8q+3RufXKFNS6
efwWqycR1eoKWgXAkGlt8Y3LUxon+yGIfmF9MIjVRQb9DN4QAbdHDMAeMmVpkPutP0UwCSqPeNnq
dniejTTYUQrGG9sf9coNIkajIIH+SisHpbTPRsfs5TTOtqywWfiuBTaM/lpiDRwnCfDSXjPWdvSx
2RLj5WjNlAd3lM6lfNwQtdpZGvvQRStsbKoQdYKa1MftrzXzUmhGn0oIle6071sr6rdQHcFYOPFf
vIQKrbZqL4SRCq6zuLv1uu1jtQ9KfkrsPTnFHiBzNpsw5no8ztkmmErYFxmdVGluQFTP+XM1wiW+
KBMCzWQiy7PsiJO/IS26a9Vb9i4cPqZZ6H9ivkhZ7e2pKs6Fr4dVTeA9SSe57Shkx+NG6tbPk0db
TPCnyj0tCAHPHsU5dsEtZslGNsglc1j+ymVYogNm0/Icb2fGZsNUxVI/fy69Dg9LR0SmdxlVOHq5
CX4lhTnisu8Yd9y6OZkLSMCf6gOFzexUgyBmPvihD0Puipmk5IJNDnDieBXueNEzmTskKZssREVh
uMVMckQX/yY++qn8+JJE3blonfaWNvajovfD04O+QOEJ6f2VmsoBoIm0QawclsTM8fa6ohMNwEKe
76exeFWO0sfMNAHbkR4S3vhghY51tfXO+6TciN/8JbRNEoYMabmRQBJ3jU/2pg/j5xlfwsUnszi7
nBXBpGDkFO1T4NQFr05eCJOZh7u+7nZOqcM9JKYnMPYW2hb5AY5It+CBH2BdSZLT95MFcgxZstmO
/CN1w0EEUm/MtjisGwAfojg3NQyxcXQJD7o7pfAOjGmgt6SzJ+Y0Ihuth5CVlDMLS3zEhHaBqM74
A5y5umOM99cUhY28xZ4Cvg/HHox/GEbYCr/pOhavQxRwYDXt0SyshU9B8+1yCER5VR3N+CenFe4w
9/3OJ8V0lF0Ia6e5G7S5MSRMhw5638aA5MUujvouM6JKbwCOVKAQrhzoFdtGUbwunWITOTVlKMZb
SUkdP9qbFWHdj7oXrNO/BNqMta3MryYdWcDEEtwHyIcIoaanULt2+w8/h39izubFfZ760DuFBPBs
btlkm92jcInIUuXkbkfDSFZ96xuHORvvPA5vGJG1twO6EDwArAkeunj4N0WF2nRgO1d2Y3PhsGrC
OKV9rcsD/jOsBy2ZWqAq7r4dOxpTh2m6xQ2/rpOZPaZunOIvKLY4U03Lnq9939h3uqj7Ldop7RZT
TwjZqS6l7zyDMofaWHuHbp4z3o8gOMIUxog/YnSNuJ8dvCHeqb7Xl3r5D9/P9AUUwb/ab18wT/vU
YMO0KAjX7ibtbUyei8dMTHdhCS4ntor0UJqkXrxAVmtFWpm2kLWGNIWPNwC0UKHj5WbWnk3JQsYv
3XxH4QKLiYQ2FwvPQyQtLsBsH7ctuBXGewxmhq+ovkvqdSkI5TOroiCYoA4EvjOuMJC1ONOiHjVZ
kL5cRXZwN1nsLwHXrDWFMlt70H+hDm4irC8p6T82wri6DdCtq7gpqgtUQ/wroWYvJcFVjcWtl519
zNIg3Saa5Y+T2h6LIeuvsuWEOeJzwEZyroziS8tj2OH/RQJjnzk8xMlwqk0q5WczqfciQXoMx2hY
9eWlye1qucHRqDgdp7wzGbMl8/QU7hIdEGaeAjynpt8uTVpfc+WUd6n15VfKuRDD2/Gw0Hdth1vf
ne78HARlSsIH0G55rGSBJ8XnWuR2FA56dZztY33XIwzdJi+5+bmNhBXg0/AS4C84lM1V0TXBtkEN
2lr4beGt8dKJxHMG4GZD/6hai9Dl/o2vZDuU+bjNZmx8XIeX8IHzGLHfulplfGyM//jrvKuoUOcQ
BC5ByRq7CsEfGdmP0dXrXHSKxBWmHC7S7ZJzlmKJMbsBEVe/mbR8r8z0MuIZ2w7QjNgokmZCKDPT
mXMe3H8d2tvck+AZu6Q7kgsdgTGkwdWto93YJcVhsnHra3GfEVDjW/HVCV7cZAxcLYp53SwKB/1u
MIHCnkI8/5KFDU963b1a+lMo6T2Y41skzOwYtmpc+6q/K3LvaEVi3ENEBrOV9dBUPLExEsM7M2Wu
m6C6eEPU7fm+OWl7F+m/j2jwMrp0k3t8AJ2lirOICMhGJrkGb8DqHBo+j0KXb0VDZMRoIcpOjQmn
YY79Td5eBAavxe3q7vGr1yuWsC9T6F7xVGOEH7AOUUXzbJQIIMWYzycr6T5Ugec/GZhdCnwd6OT1
0R0qtESMuyR9IdVrH+4njZTWgnxiAgu2shq7jaWl+9ng+1J2GL7QlnnHQZ/xdiNVWJHAd2BdoSc0
aPTp+Br004cVw/uygrdKSvdWqunWozhkYSpfOjm+exidd7pnDe3U/KxTCvAIBBOuDJKAq3sNd1VT
OVNr7x5yABSuENe5txTSt2W6M4T9iKOeQ7aDgDk6G4xrbI18SLTi0ZKB2GSLaY+HOxQE1z2fso4+
w/RAz+06R9Lt0qBmvdys20J264ZL06ZyIRMNqfU+INkfvdjiz8Q/uvRrftbY//q3XBBYNtbW1NOC
WtHCNfnF4zwRCa4kopKeBu4LvPLZqOdr6R/tPjDPea7WGS93+pm4+gTviNwYhYYCF6FTVdfRYpjx
QuYEBZOOTqNNM+fY84cJuc167NMMGwBZ5HWNS4yALe9UQQEJlcu9uxhu/TPDvjhn5pMv6vrOd9vp
KpozBJp0EyY2OXld2Q8CCMsDxwJ3vuwrKtvFqx/aL76T3lEHwClMVSpGJzu+jRZSrjLG4ivz0ZRL
YUAUHSp3FzUZLn2hg31Vkr9wPGJR+VTH2GNABsS9HQNXZHEU5YG4kE/5v3/6/3/HBUmfNQYUfmCX
gJU2H2R7cHA0mxyKXMfIok9wUHhXmITLEON48BNQV4MzTltfwmi3cOIYLf4qczCvBF/hIEplHdjY
F1q7EG4sdcHy/FWqmfiS9IDnQlZni3DtzDR9NFlEt2X5bsxDxiCsAcw0nqYpC9oSrbBr3GE1qc/W
YZR9iWjsaWbm66K9uEM/Hm3hbLzZBqZBNzPQpDbfWJX1MqdTg3IdfC53/L0rsUD6SezskzbhC5uh
QibDtQgVs3Y/TMQjydhVznyqG22duqC8uqLTJ9MiKy/CB+Xo6K4fy2bt2Vwc3EjWJ8vX28hO+4fa
Hy6tLNl7mmy1RyGBJtl4vUGp6Qvo/hsEuN4IreuQOcaVgBa5B0YLNmJ7VbrqQQ3NcSjYjs9VaWxq
izhMcpspqFiFM4Y41w0T2p6H40xsxrcrzBpIr6sa58oqIUjIbg6acxMSNYGLRAKELOspddXJzy17
E3p8s0kQDytnRlU3ZBwSgphKwARZR50XZDDHC9yDnMtDE+afmcFELSblH+wJfNx4obbFPeuCnGzf
BZe6Mw80Wqb73Dg6XsMs3ppfdv9rY2VHtzUJ2swNo7aIH7K58naM9mJVj7jFCV14rMXrV8Ok2Nco
sORWYWxBRkZdGYameYAttGbcxI8ejEcl1KsGbXBoh5qFU6sbpBfCEi3TQCLuSrM9mE0bvBa5WV57
mgZIhyNOl4l8LPUDhejeLkwT42KTIgB9iptz8h7dyONQ6L+KiXwmGaz7AkUNMTvPdslkMWGCivFs
Y+cXOCf73H/wrLlftTk2BGPI4/Uc12R45Z+fik1lcS+2I5anqcO9Ujk/TsBZ21CxaznuynWMb6P1
X0c0PxAX2ZVk1E9kOPdzVJOR8BLoMpX35DLvmOG49UAKsN1im4Yqs46a0WKdafxruu7EFitcoJwK
LBQdnWTXoaGxNGowt9pTKle+72wNjtw1jQsy709sOpt14BY70QnerskhqrQEb471VSTJV+I2OzeC
w+SqwoFVFWQb5pXnKK8vdM62S3c76aCKA7M1mITrDkPxgn77r2brvS7UGuwOWpRzZOpOEwfqni7d
rYt438JI3LgSaklVtl/eYNPO2UYEQzEglrgyV2k8NuAflvUOt5UyrvONx8egXKAX/BjPRuPq3UDl
tFNaI+6M4CEV+hGX9rg2MXVTyRBP6qbx5DrLB0OwPgBSPNoBay7evU0Zr1ObJyg3bwqdu037+8kV
aLpQe3HEFe/ckX9aAB0bW49vSTvy+zZXvyIF/zcMXD1EeQPDbN78J63DDckHXNUO9my/DOO9ciAi
BCuuV9NOAFpeg2TfIF2C/euYCG0wIcK3TFCk9SkDoUmCknv0YJPhJdYPHNv3X8NY9htyLptQTCgs
A8VS7sipiLJ0UTala7y5b2Mxhk8R+MgMNN7esKqvMrVuQR4hXBWmeRxZ+w1cf0h1uZck0fduErHX
stJT4GfHMlMffEzgRRqsTjU4jknCvS09oAh5+VQ62czsHbVbbOB4a5Tu10qNBsIljgq9bNnKgdJx
aLFTi1gVkktaC5icNLDACBLioGgT31CuCzims/f2CGmFOkDq7DyOYWFUJ/JBy1PPXsNIBC4wytCB
V0/rnsv3xpH3paS+D7bya8sTaPeeXLWu5G1VES8E+bnqs/xPZVR8x61HaVefbdDf9Uml3+Y04FYR
2efA189yIt3iTqjWkSFvpCm7yngO4SAELfo2bSthmFvQ6AjCJE32HU2qPtRxhe4X1teKX0w86vba
LG29AfIp2fznzYgFuuALijv/Vo58P2Q7J4h3XIIw94wbkXfBvh4TaKR3E9bUx8DpaeCc8wvfHDU2
vQL3XQ/VNZuS12xEsWUYXlthSnNJOfEgTHFzhzUKQ116GVIzuB9n1jot7drUU5CsDBsKBupaH0vD
5JYYNN4m64atPWf+E78UVBwbEVl4KtVFiTfPiMwLworMDLpPOLWDWYV7t3cwe/LN3Fqgmmp6y3Ra
743S887SL8Su75B/u9EF+2I2R8e1p/sU0KbKs4tiI5zxsvr1kJpaCAprqmYPLBS7MrhJ5XC0Ny9d
9UhunTrFj9pgnGa9FpOGdoYPXz1ZKeMRZ6lBPAwtuAmIM0XZNpm+VPxl8VUvZfFtCCCz3xnRvxh6
tam3QTTcEyFjvD1llEB3tmT9MLIC/BerR6i+JN7+dILcUvT7KP4DQXkS/DAIgx511OAUb09tku5E
4YKRDYgtZKfC6rchRrpGtMeHvuL9n5PI5BsfYjYoYL+HHfYCH2d2Pj13hOBN/1pAk45w+I+2fXPx
fcgP2222HrdLXEbbOLE/qTVaN4vLO+OS5NYvbYKnIzXuQs+897X9mvisHTrwyUXp/YAFMXCpfhuO
OiXh8O7jIphR49NB/JZpfwrj+6GrbknPJkqbxxkzb5FVTz6Q385TfwPIF/Wa5T9mdZFsQiL3lR7H
oQ5YVTivdeAvvBb2RWVyT9h9Fwn24DVJTNwnDURF6tERPjKHJVn4VvXJIevjHR6IozKzizlBAgKV
pptwzRdp0BbRG1DE6CRI3gOMMG2GX2bMN8ox6Mj4A4B2n+Q9l66l2hSSgGxP6AAnMjfXTrDyNPbF
WF2XEIXLLkNqsP8J7wk7ItqA68g3tvgS7lrGUZ0+lNDbg+8ZXpTd40lWCP6ztOOVQDK0/PhpiUWv
OhM7W5gcUSPv25zWbHfYiadcM/Q33rK09lAMhwwjtzwQaNzPlofml/qfXdidOXvs01gYd6UgHwJ+
mxc6yC7MXweIvyvKAEOWpdZDbC8xS9PAOuGHv06+1Oe4ILeHHcODySK6Y5U5x7vZcW6dbX37DUfG
FDl7RpaN7wznWtGAkBZfMcZvo3v3GKHIp4LAvPouDVo1/DK57EyKXY7vAtL1Svk7r+e/+u4nGVJ8
Yy2kBFSOiXUyVWrle2LkX2M53TujCe2BsYSrst3m3wtUNZzyS9pGh8LiF2vA8yr9h4EJNVHTwW6F
BveHAUm6h9GgbZcr51KoF5+xD/UM6/MIWrYn9oElgNZDXhFJ9NA1NQUJMy7sDnCboqi1JShMiv6k
Me13U3VDpaVTRqy9YrpvY/FpRtNLGADnYxG1Gj2IDUpdhdvwoDHu2ehgEhuJYjtt6+RYj826do03
I2r/WQWGUeeAdRL1E7Pk4m5RzSFq3C2Yn5Ut23Pap/8j70ySY0eyLLuXHBdc0KkCGOSgrG9JGlsj
JxC26DtFj93UWmpjdRDhmen+M8NDskYlUhI+Cf/0DyMMUNX33r3nrqXQ0K0y40jsXV2zxrQzbQMB
awFeJO9IEfSpb7EmaMVTJg/0b4+NGyyyNtjnIuIwzMi2TZq7iBNw1jnPVs451/OTlRLi1Cj7moyf
MemKVZruhcl40Vp5vvHoq/6owybMR+01GTKags5ZY62nBr1aIgR44YfGlpCqE3LHZQbLALzSetC0
I1CLjXTTDaZlxtLkd8fyYFucIrumu9HZHZduvovL4r0ZmBo05Tjv5MbSraPrX6fcGL+mZNq2jXrK
8KRwLQv7yC85MEUam2OZ29OKqdSwS+OnIMRxU5H5sCi0+ySJXhubL5/Wr+e7uNbas1XCClceT7w+
Rn8P3fnd4vgn/96/Wyt/NWDi4OCfX12TfzJj/kNv5Z9+6h85Of8fNGDii/zH9sv/mX786r7k53/3
Xhq/6RLXpYv/0iAbSudP+u+6+dd/MbzfTGl5pmdJR5fCxhb5u/XSNn+Tkv3YdUnXpKHn/If50vJ+
419RwVke8UCObZr/HfPl7OKkETcGRb7/+td/cUxqT5LAKCh003As49cYvDEFUI0LmD5DGh5NO/rW
8wYFjnueRkw1iXOyrOxOY0yD7n8BAsXmKBd9k0p+6iL50djsK8QExeg8bT3JIRr6LtonefKi596S
1zxNzaWkrlw2w/T2h1v8+4P4R+Oo4Tlz9NSfPr03h9PhUsW5auj2r7mPEyI+TzHhpAWdvdqBdSo9
6munWdjxuOtzCxqxwesbsAniLgsZ7jF50lJETf63BoLoUHVsFlLkdCO026oNLg4d6Fzvv/3S4whE
5iipc6yplCENWvUFX5exJNDnmU6lTVfBp6XOMVXRXaTRs8qL/MmL2cEcN58NR/pnqEGVqmlLLkaD
/jcnEuxoH7bhFEuLUBp6HDZ7fkeZ0KTNG2QC8iI97CVKo4M7PSjahX01I3aZKYPFTO7lUBPJgXoK
QFS+LQKW1KaSwzIc71rXQTMUUubUcfxVGSZYgH4gkUeo9ZS5FdKXGLEAerJYLwJ0X310kl75xmEk
G8nRJuoXYgZM17nzgrS/kzdjwL2pEvpgzMjP3ZSF8HoCEDkOUAftw0zmo0mLCFlLtVXS8WuG1EVr
LfAf7LS4STmg3xd5cZ5sdT+MFuBRREBGBxPTGTFUmomOEB+8YUzndUmbkNZ2qh56G/OIJgg7Qq8A
7BwgV+JC+NFbY26KndOaZh7tvUVUYAip6Vl4ss4WKoHlCeYlwNzqydajJK020nylQgDPyugG+H0x
Cz8UVEym9dN9w+BlMVVYZK3ROfoVPM4oAeMw/1lJVpatVVsla8TP2rRLVH2Ec83eon8nor7ErVjx
cO5wP3zo8xk3oYira7lpIlNfltKCdZS7z7rdfjFLZgASWDokvm2QtExAPQqbAlUFUAlk7AyL96bP
U1T4bKamR5oEMxMX6wOkDknTvXE+cqtBBNkJxgUF0DbpZlfgntvBMi8lRBB8sXj2bTAI/bumO184
2MDK4fOz+vfI8+57HBC5471kZ5HNz5bSPigyb9O6fgna8SnuDk2CAsSYIqLmMUMz9XO0zlk0g88z
2ehHmlKHitNAGvuzlLg7SWbTnCgVSI04OxY+8+7AuDUz494aOOREfEpyWe7aQRzjvnqGFUL5o6yW
jtJ4MzTdqYnKN9+a8w2k/VOOqFLMMVqOynoMpxfptTQESrxsVuhQq4FuZrAjVHgaKXM0IY8dQV1L
u0l3ZtmffOmdEiNdeeNzV/s/YU+xU5YhpQp/DerPEZfgAkhCX2pvVdu/aSUhZF2hGGGD2IkC6opI
1s+Dm3Eejy+lcZM3mgP3RH8QaagWUt31wa3W5yx4mcA0XXxqDKEIihEjrRsUhPbSGohD6CRan8FA
bs8sHtV8r3Oz/KMok9kQiQspeEkLUsqwOdPA6C5WhojNiprrOAvbS8koAhEv4iFoSA7B9rYXpAvZ
CcqcHpOy2Z61qX9yE54D2bgrCx8fKKlo0VrePnTN90aBpisTnpC+fNahCVc5ysOcnHkxYL42jn1V
M1ihHqM7Cfwqokmen12TI+nUcCzNUVhVLU8mVk1mnATz2IV/tnPz0I0Yo4PaIrPQS0ZmrredgyB1
bI6tU21T1EKLtMF9G7b2D4KEfh6T2DMqto8vYVZtvZJVpRnHO9WqA/LCD0ARB78LH0Va4TTyFS90
dM6V9lJB55wSi49nl3CRYxJxnAxId2gTXoQuEZO9YjXDByHlLNpkEZLkmQmjeyktIBejRtt5xr+P
c7FnhttcyXc3Ca5wqgmZDc2nqoTIEnM8D02+WI1QtlbmlNiugz5xfC8t/Qb90kYU5Q7k/EImnAYb
75O7wxNvIYNCTl/VWYO8lRl2aAB+C8PDRE4Jxa+dHDXHR+BnWSXWWPmFmmk1CYVMyiNkpCPZ7xBq
6HlSONhpjXQ00u6JtbD3mtUuTZ1JyaCxZzmt86bl3WPHBG89CONiWcilmvy+wRWyaKtBEgCOeK7Q
DoOyPxvtjtnqOsqScSWI8orSQ2cXlwKuad4SBR+OVGbcalhyAOqg+DAnMv3JnovjjW46d6FUP7ms
6E3hvG0YTK9mTB/osJc08B4Z5arDnM7WJ9p0rJrxy+kppxi0wQjXkVPFQJV4L9+dwrGZ3gek29Bt
UGGE2sQOAVOhOeehi71lVBrTIqNEFQgccBdRp/UsJ7GOv9Z5oviqdmIATpcNhB3BH4INhiK0IVaE
gsQ5qrbHJmbZbCWV+WCL7iFmPDvOI6i88eNDo1gew9DZYc8IcS+vMbL3ibMpC8JWsKG9kYIT2xsh
TNKoLFCBxLNUdPSKYpnbGOQcbcTt7n546CXWfTxbLsiEwxABYjF9tUfegBBFAP4qer5T/uVX5Qne
wePoRwCsXWdRdkyB8ugW+spgpDVS6v5bI7RnXyUtYS78Z7le9ctcONly8rYIt3aV9R5bPVW6Xz5p
Pu3S9odjPibBtnktC+ezNREq6MUb2KyvEovWsjaYKMYfk2WrTaB4c6dCvfY8kgyfN1UhDjJER607
tD3Gc++oG5TxhJbgXVdBmq65tg/FaN3YTohDFbJsIAvKet36scYhWxYXL+mtQz/F76GFJCot+KzG
YF7tmIZBNLTzrEKcExxvS0Olm7pVgv5/QUcnlTsA4Do6UKKCJ9u5J9pqXOs5gmS7d1+NRt2RkoZf
3aKNVE4G7b0M6ADiG5T0iHQRXZE/0WyminQI4WnbYoyZvNJJdGWBO1zbleRSygD9rVE8WNbQbujp
obb3ussY15fWAqo0eaesEfehn3x1lvrqq+BCXBDrYEV3ws7utdG6RrbzZLRAw5se8mxGqpBOrV0F
L52Z67zZgUOzlZ8XaKrwCqJNdWbvNghjuyOVegCh2k34D2TfPjp29ENGOf0IBr/Sm2aTa/qork6C
yK0JEWIlooVGL4g0kl1ybnr9POo17Q1W2KxA1am68JjOyutYlnQi3nnKyTXzdAynxg/EH/oJpVqV
QtuYfcN8ti2+ssAiRQUx0lJU5Ra4Fd7xevwqq+qG3Gb2+/GhKjm7jg4KF0RIwMaifun1ylkSnPtU
V/60mIEQ7dw7hQeAqPjJqfFaCyKdsYUBvQsHZNXqnQPOGhg7hISwnJY5SmLAPwzx+mCXy+FHtTWh
eW6374Ho034au4WtYEb4YN8HIEaLaSCyMGZWx8hF2QurYhKfYEUXeYnLsjY/PeLxpqIdF9w70u5s
LP9Gdh04Di3VQOcSr8AyEdBBUDAfIwNQ7GRq7irUFMZqXP6RsI/Ko7GNMxaPaYXPwxJrAQViUSTM
kQeILiL3sC5h+gCbrK9zd0631JJdjTm1MjJtkyTI9YZGPAyef/ZoDCHYfY11wi7KLnlhFb5ian0R
c940neq1SwcXRCiGNnknkIofuVn7ML0yg/qJbOtraEOwAPQo0mnCP6G5O9KDW0wSWsaUW9woknqS
HOtwifK7ZEAaRN4ZiW9Yx0RXew9WEb3FJDzouvmRmy2MAbf6sp1AZzJeuKvK1ndp1psIzrgb9rqL
fBwjfv8Dsex2RNaq2JGXiZ5jpy2KleTcuZZavdVqYZHli0e58TddGXAd7UGWcbXrXUjPA2cqTrEr
cyK+UPoYf+zikZVuXeUUHYbAZG0l5LsAWGfumRyNhHon9hiCdmZ5jkn5BJj+IlH80b2xF4ndHq2Y
cqPLqo+01eu/V5FJ0h0i55Q5cjiXWfQW9OTVG3X3givGXaZGts0iTJZhkX5reXU3Cu2nH5wXv0Y1
U4DXzoxD6jXz8g7w0Us9+qTiMZgqjlS02/WAGZgS07vZo84rjeSdeMh16dkfttngaJx12Q3dmtf4
RaQAgMu2OQh4hZyAugemO5/G0L7reOyTtnmgnLiJm/qhsZkWp+Nnk8ivDhkWjfuoWdP9vZNmYsw0
smbVk8Wr1eU+TtonTzDEtbATSNZKUHE/8H7tpIH8lpkvPhgSk7nqUA0XG6CmXh9J8TpmFuKhbpKn
3Hh0cRs7Xfud5CUurfkvMRg5BQ5pR/66waBgKdBkaO2EtF98i6zttnQ/Yru0dnXSFhjMzLtJvhW5
Q4+6rPCh5S5HuzDGYTk91HW+I52WvqnDSKQGQUnDKF0KeSYR+d0zI+AHVXrVQgfRW3SueuKX6DSu
uT5WViN/7SempegzY2uOP+iiWwOPXBThsw3tfZejQ52/+oSH1I6R0PqxUR0cuzxP1QTzxYL2E34g
tTuHzHDmD5MO1QtwqJsyAb4/POo1J1Rl5Ve4vrTWyE/joI4c1q2e8sTlcAsMgAOS+AoQsAno1Asm
oLdurL68MFBLZTjPJIfwpqfntnDe0VzWwNgNyC5iqTN42Hm24x7S4qcIiMZTtVnsW8R2lf1sj2W6
JKD+YFnT1QgTlJvczSwcmHI0Z87AL1raZ+uh+M5hEq5i/4YcdW/vQwyY6X1sRI611evZNeS4x6Fp
vzqflTVOygweyV3joRo1UnSV8efQ42eLKbEFz8FGEfXNeSLeNBoPdY3dUDJI8gLx3rbuPbEw2lLD
Y5em0HvhEy1MK2kXwAH5xQRnZ6d6Dq0LfQ53VWZ02ns2FTjXnGmqwFpZPaBKR310/BSipwUes/uh
8cqNr4nX1pgQQruYEIIMWfNogLDIMqYRdQv8PupWkx3Gt/BvQHozgWP4pj8l0XTBScKLTXo4ntQZ
jAIEqPW3/Ms50anjxOkFcglY4lUW7Ktu9BRFyZunPVR17K/NNH0QJWRRDt41VshKbJo2Hm51B5aM
Bs0TZ3X2oqi+mHHNpWTZRaehGhG78/I4+KleEz8OVpA70eHEbIKF5Kw8xa+utx1V+uCGJHLZ4Irr
+l0l7qsWUek5nXswwcyi+kUK06AuUP61arJXptkzW7IK5xzkQzhazNbRqIayeE8RSMcTkgOkq6cA
G+8yJg93Menxt8y6CyX5XTDMgiIKRjxl5Ng6JoZGZM2ptS/87Ekw5aEV0y4QnrXLxoBKpBX6Q0fS
KAek9KZrQrB5KA2XWh4/UQgRNRx2KFmDl0hxM2vfFvinngJvpoNGBW8uCZC81NtYz0FVgHGvQD3l
fSTQs+i3dIoJEJXlmakNP4faRNnLOswvmd3uxtJ71jXy0SJxjsGUeNmLW7Y04KOjsrJTV8VfEzLJ
xZQizwxVv4+1Ytf28g1b6AGEgjqYPQreMbxNC3CImYHWhPzsU9Tn0V1CFbMYBMNM2+y3sRuKfUmH
ho+mdfNAYWHMwA1UmfhhTOOtsfvn0A883JHmt8UqSCdonyrFwMZBKeWpL5W88NPPUTJey2nYoX55
w83AgcJMNhNTkSnmCDSUOipEm0FY2+1Ss5o2Nflci8JnaGXkoKn1gUILnQTphl69nDpwSuPRFq1C
3s/RWYX2DfFe33YKftvS1T5jSsjhRcGKGuD8l4JIW/wMnAMZY5BXinVuRFpfiBeDSQe9v/rWK7Ir
srk8zlE1hpmzNlLagN4nhAL6cEYUbLSpZsBZWpxjggeAPNV8C27iWFxUC+ozJvgGhD1hqxz//KC0
V0o5BJ0jtyf9oO2BEQ2CX1alfLbW7/djO64zB6abg8kQGzvlTzDFKNi2eelyvNabW7+vb0WUXOoO
szyL9CJMrY8AlygNp2Cvy4sRkuqY6EW0UmVhQ2oOXxr6cV7PcyoNfIIT1QqQDHmfjPR3KztZ6mSo
HFFD+vjnGMKEwTUbXU7chkmsGSqirMkJ+hXdFawKN7Ec1QqemsICa1cRg4syupBycgGuuqi4K3an
3SomO8TLmAsnYUFxMiyu02A9pwHVveo44gQA1VtH7IOpXSeyf+6QgBiVte/i5jZph2s9Be+NyVKS
eo8Sy4plYhSMhmsChDLiiitIHd/gqzdkIT31ZnAM3eib9Kx6WVirnI4gJ0WwZWSVPQAzPluUMG3d
74aae0qW5V7rm9sBxr3yAlpe9ksb3461Ea5MHfuuqxuYfvtPWTdbz4kunrXSTXBzLT0uAsHNk2ev
osJ2d2XNsDvC2YSoGpWlNI39366tAUVa+pXKlim5DRQebOyFcaeVbDOaxJYq5vFk4Twl9vjWThsR
9ju71R9pxQK98IAzBG1+gySYj0hOR2dV4IDUIdR3jRUTM8yvwjnMmft/0wOYdaI8xkcR6TdeOjxj
N6B2LJvHuH/V1cuoTY8YQ7692ABGPYBzQjaSu0N0Ai45q8KzXW5pPMb0NxKU4iuTxoxlRseSbM08
nB7naRZwtcZYoJXnffCdcK2VdCUJc1qlTnscmRwA3CLCKWYcAv5ouKYJil2fcWMycK/ET5yLg+2j
UdI9jYaudldpTIITpeOPT/Ntm4l9qGcRyTdMpusUuxfyc9S7hB2WSfupFNJl0/SXUsSPUT7QDSC+
YR2X8Nw8OuyzXXCjDYJ2HjCzolU4pz96Vz6UE9+3bRvxLOAm0gLg/IjAlx5OT4+5CfRV4PlMiysa
zHWfwhLk9Sr6HssvDf0kQjYtkSL1A602pNA3aVUGJ9h+G9Viv85xlCrSG0lAkjfQ8HTm2bxmpv5s
4k6obXUCD87jT7ME/Sj1lxacK1omiFK2JDudUciczHS4upJcwuA2ovSt5UUShbsA97KtXQg5po1Z
cQr2GSEngJZtQmrCnhZ98U1D/ODrfHtzx8XfdsZI2mVzmxXtHTMNodOFVEjA5hVD9ypUTiRmxjGX
dsLubFpo44gjvGTKdRdVCZsunZwHs7nxJW+Xy9BZo4nA+xuEqI2m+9oY92zOR6vKctT+82IGTj6z
ApugtGGmd69kzJlUSz+GHHxFPzYLo2cpduLyWHrd2U+fupblXYKNAAl22wOErsgFVW14YXSzaBWD
i4pnGkUVfhkuF4ubKQ8vcoLpFiKz4XzEt9OMtyXdURMyPvPx4dp5MzHU0ZALFRuUXNfRwUPaF7cN
/Y0eFQFtYw9HmsXh2Y1IbsgQayO2zqPv1kYKjp+45eDPS0U+hOp5VFC4HyfemsKz9rB3rqBYjlEJ
G8sOjrMql07u1rMt/VB6ZMpO02uqwDkmfUKPPxdvcY4nqj61EY/eQurtVc8HWthIuzR+Yoxvctz2
wOezTUC+ZWzMoQLlxjCiY+/1zxKS52qW6bLFUOJFPoOHgKZwvPVyeS7hb4uKxYILBnn1kHWP+WR/
9ANOn5TUwBG2ryk+gO1/GKn+1kWlS+brbZDfwja/Osh/NHE3dPXO1p03ZloB6mi2Km9uAUknvADX
Ura3NtArecQnz+LAjSO56PwkBSxvgGK+mcGTREIJDzT9ueWNYE9hQTLC+StPEX8l2AXM/or97pus
mB3KkJkWEF7qst4aAwQZrX8mRu3EEGVvGGqj9QR9oGNjCyNUNZ7emlr//dON2JFCvFLuOuAwtimd
elxqIxMtLwQhkGy6RJCNUfNHWh690kX90aQEkKrz7MrMlSSMDNTeIsKSsTMCGW6jeM4ByeWhAOkT
5Gy98bySUmVi1jCsJ9unHRkTwF3qb7Knzh9E9jnns8BYY6vguDIkjMvSpwILmFldRnfea/GRLuWY
Ur8LOBOx/glGZKfH/O0GcURdjDbISaerjOS6b62/JZtnLHIkNwh0+gbzCOB/GCG+Mw8EWSjMDRaG
lrwDPmznAKEY4HqhkzunHv+nS7CXY1v2CrH06vHb86c3lBWodCebFrIx048s9jiuU4n7CdpK0+AI
smtNwmX/boJxQ/4Xgxxrb/nVc8PjWBNUnHywb2HHVDfzN9P1Dn95dZvHUF/iW2G9OlG3ryZ1Morw
lBWo8wFsEh17CrV+x0x23fH8YsLDxT1+koKEUDr6Bvj1iG7+GSXxuWwlfH0etaCW95AF1LrP5Qew
kGtHw4OH9iGOwnPtq1sNJGZTrE3LRsbWvEh0JD2LpYZA0vH5thqEE207PpNe99l09lm09PPJTyYa
xEr2Wky7g0LpLvfDo+63/SlPAsAbJvh+cjRkyU2F0s15h+112ZUbPDsmMiwiNK30pBvzPTc75Ct5
DjWIHdCEk0nH7RKK+iORs0bQCL9jY3hWurgn7WGd8UTbvo6kEAJOh+S9nzBXcmtQ0Jzcigenmrpn
ne9oYUPJjbvgPg2ZLVnA9BQRBYamP+aRP7cj9EenaOGMGW/SiVDamlv0V6hP+VCDw72bV6EYjQhd
+G4BTR2bkYtaapRnwqOmRTROj4PhnikdvqMWBio+/zleIMzii2StZL7NR/UsJjDqyXK9+wkHZhTC
qHXT/hn0FE1RvnszIJ2OfoDOSGFeBMbU3HvisRA4wHy8hZ25r2Msio2eVUsNRp+bNbcq76/zQhEL
Dn2xBTlTBo9+tTPq8FKxEZZN+xPxN9f+NKMo7Pv5N0sn/W0axEedmlvVJCi761t+E8oV3jlPdLsB
VzZ1eHMrGKavxmB6U8I8DYIRezYhbM1BKcYA0zXMGMm9YHAQineNtr8Yoouo4wvF8KMjtMNI8GES
9M80u7ADfdQNxuyiA2sZQIOAxLOyDAo6fTr7XfdsjrSPo0p4RGeS3cDRtKp4aMtmS/v9zRqG5/kO
o52mFeRobFTLhAI8GXjjOW8zlQ+Do+8DVUqQSE24KqsgO5NUMa10AecBMxSGYWIAIw6dXeZdwyqo
btIBhjVa2jyC06LPvuPRbDc183rAkbI+GzG7hoCyCSGqJirFr26d/P8CyP7/ox4IIc1f6IGmb/Xx
Ho3/+3/lyID+Romf5Tb8N3/XBAn9N9fxXM/Vf5cEIWz5uybItn9z0MMg7LFsnEG6Ban930RBxm/I
XXRCZj0LCIhw3H8nslvub7OOSPA/28GQJ/9boqAZt/4HVY1OvxC5oI2eBj2Q/Nt1ys/3e/ofNaKl
/5G1cRhnZkDuPdpGuqC4wNBfgEBs2J6QmP3hzvxXMp5f9W2/Xs7j4/zhcpar1ZxqQnNNrMTa2iSM
zHiTFqhYVsYyWBa3aCCzj39y0X/yO7r6ny8aT5TfcDPNtRm7rz5vy23ZU99mLQJnY15D853VJksy
OpacmFjdEE2vvK59CQg/YRwYvJQRSSGSmOEljhDz+a8/3395T0zdMwQjAcsyftH8RUBcRporJsZo
tR+g0EQi+Se3YL6t/+lb/sMlZmXYH267G8RVqyrPXE9DfMc0yrvAxrgZ+9JfCpTGplmDoJ/WdooX
469/OQRvf76y4zlCnx9WT7ieNT/Hf7wyRnOEqgz41nrx4w5zFuiFcMIVlrfNX1/I1P/TfZzVdbrn
cTyxXCR4vyQLBKXRD6iV43VVaIjAKZzPaNVwVSQ92yGE8vHd90Y4jmauzpVJlE5cV+G2zrXp08y8
RFtUiL/wqcjAvrHccbjEZVaQ29OnB3/S8HNoDQf4EL9ax2zEFc/UK8UHMcnjQ2CWSM5MYsWO5Eya
GQHV5rjthJzhuybqqkUX6IwJfEI6gFAzDwY5JV8JvZ4ovDDc+3Ya/xChoT3anubejJYpYcCgoFrH
lewOdoqpjZxZJAYDUiFRUrE27ADYuZv8kxRS/UIpoVBZG4zV+l5HWdI7dOxb8kFOWjMS4VRhKVs0
nTV90YYkNIDUmgMQ9/jJbkRoLIHFkWZMlMfwpDzP2QMedR6T3q62hjXAN2vT4tDmA3KuknSkU+4B
O2phZcF+h3NIeTTrxacoePDSsXuRljOuojhjRDKl9o0eYOtl23IxeLLeteTlBF2Pk2lKv40cQ0dt
pe46raI5MtjhJOG4ff4xpvZE7U5QFaJADNvFJMVx8ip8LIXq1tJS9tayemsTDim6aU6MO6UVBJ0J
3Vk5vmnvm7izGJ03uIkZ5T2Ieq6eqjxXT7lPxWUoQunsgXlmw+NxrBiZLdiD8ULZcX9R00DztkJM
9tq4BcVxbnQbY9LVt0Ou8bWoSgRegvZowxlxM2pFBg6h9ndIlJnPWEOKWwf3payM8AQ9j4BFN8Y8
hicqG5R511ojzQQZIWQ2TKCB/shExmQSkllZeFIT2v5Aj5KtCd/xoa+hSZD3E83AW2NL/rq8UTLx
dvSsvX1D2Oy4MJgHL2tuyKGgD3Y/9r6zqjWO65GJqQFpj+F/Z5ae7W0jMhDU00GpcKfQcJETuhZn
cDog6YP55qN7vqiAx28NkIDY99AxviRSEA7CgoNr7XMmVzAk1iJnQmvURsfcO2vTaukFo7UUrslp
FGpssjaKPAP+10a7MjbrZ/5TukDIA97KabS2RWaQhTbUo3ly9Cx7igf9zstyH7W9My2TcYzI0YOz
UqHJ2+swIW5NQhpQs0zEklWNSg+JCvs3MwR5urbSwLiGpuM/l9WMaLCVewdAz/4Ik+AHvQDHsb9e
cgy0u78ub64hJLUVkRRCSN37Zc1JW/gXBi6ZtV148IENd8BrYzWQi1WD6HFQpHMMdBlPFdS2F3ty
JbaoSJSzOKa30SkxOqGLV7fJ3lCBtbZsdDcIqfA6pH25M5rgY144lr0X6IdCJ8fBoqtNTQN4CmG6
w0tBbPOl0aFATl1XXwxPFQ+US/XRhqQ5Lqkf9XeXAXCMyiXpjeU0ooaJSIBj8EZfPCr8aZc1vXxq
+6L+yZxMf8jGGFg1NQ9HgUZPm01H0EKziAnT/aG3Pb51QkWgSoU3bWzNHoiRa0UGeGgA9VIXxH00
QKbyZT6U40/fJPQj0hEHfDQZ4WIOaNqFEWZ4CJ1Ms5xaj5iuDuIFv6zckhhpkyRhDCju6n7Z2qzG
Cw/wI1lNOmUAhje5MmLGIStdB+VEkztqtY3yCeBzbaCvXgpsz50ctWzHkLg3cEUPeQZxM4t0RgGB
N2nrLADgllehvAoHRhrkO3kbW4J6xrUwIXRGW77VKp41xASx4I6K1lKfGHFZpgtIAUhVzWu8wddq
0wAb1Jah/DeWXNRAwkh5i2K9r15g2KNail3HdPeaZpUhBGE/fwM8XL4oLGVfxlDlr1PnSPKU6n4j
CdQCjqZCxByNSZphiUm03DtZ4DHNlPqpDpODjBgquxS/EbE3JoDp1sSjgucvXzeyonFX2aI5mYHf
7RyncPfYwuxr28TmowHMfZzK1yEPN8KBbbQopPDuVJDlZIV03sNkxNfJmo5lH2fbtvf9i4PLIF1h
bk5e8RlyQHRRjd5Vbcss0heRwTbXiwpLgo4mrZdrrbcBZgtjXFd+juRpkmgaNdd0sPAkLPwqqBY0
MW5IsmXqapLZMYzo/rwB0dUUHQkpe2HLuE4mbUuSRXqkfLX9avfgPk2X3mJQ1fVS9bSbA7JJOHA7
q0bvm32mt8wO1cEtcAZipbGi8mWgFg4qDwt0LBEO0w7k2eTe5SrvDhnSNep8/NtMQaVRMkLO3W0/
BM6RqQS6M6+gyeX+TGEbHfSx3ScTbdkKwotR+NZmVPP8rS/Xove33kTbr/KNeYYUgu/03HFTGsCT
SfY1D3VnWjxvHYb5iaSsMEQX7JQIhw0mzj+4eeJnw20ps33Ee3n5EKOrANayH9xwm2IIRhA7LWMN
dbCWbxMz9S9pBWDfSO45wyJOqlp9xcgX/RWoz1SHhzzazcaAeeqAdg9r+1qzaW/QoD8ikVqjNnpr
B+b9tXBecuEdarh+aNugtg+owqNZXDqOAVZumIIL3NTGpc+aLZLUVT3yAASatx/m7Ikpv8qq9Lc6
6Ys2bUlk3OdiUscQm7MHHL2J5UureS9IP0FC+CtlRBGxNLrcpVRLQNQrGtkxbPNWB6BG1NhT0MZP
RQwdOIc9Wso1sJHsSC3LmdEJTjJBYOHTuXLpuNyQCQUojgMd4T7IuAccxoZhvPim96jQYTKNqZaA
0hEVePYy1HEax3p7IZfxoSyYZtaNutds3VpY3niCJD9nlKIUK4caxraaVirxfhQjb+7aTYCuyhUA
AaoifatxJ3phuW47Yw2NC7uV/lJ0yNumprF2FAhLP5meOw02WpKchqY4OVgEiPYeUSmkuBi7Wm29
Qt/hrkO+bjn9CuvzyYFoIwf67AA5thUnG1va5yEt7hq3vEGTRNik9GZt/EpVYYW4bHibvImmC8pK
gCEPPlyKHtzSwlHinLvIz8fw3VdIWNzUOdhN/mBIAlGg/KyE8tahH605bz0CDTyEzXQT2N3REw50
QvMIBxJeTaXfyb5PyOcb71sMBkffQVJVdtOeI/bzGGVwarJbnpgYeGnlcfsIYk4ZNJ88vXwApXL/
fzg7s+XGtSvb/ku9w4GNHhFVfiABsJNEtalUviCUSiX6vsfX10DaLks8vOKterAdjmNrE91u1ppz
zFarbwZNB6LGxAaFpQDEtkb+WnvRYI83clXVrp+y8So7TMSlvaEZpFD0pwq2GCnRXaqYlMN3jYLJ
Pm1gs9BjGfiTSegNIqN41TZv1jCLW6vK9xiwPYyUG0rAuDvQ2I3lobF1SNtVNEi/uD/fVBvTvh6M
3wzFutYjg812812dpOOoiJLMxNB/qYJZI0hnoI02S6W9H5vmPeuqTdfo4ToFcCV6DqgdqpnIukqC
nECH9kae5udQSTU3K6jNZfg1Q2ByumFQLoLaNyam7oJl24Ha2CRwOju92cuD5XIIQNq1SJ4Fyi86
xUTh5j+jrv4BrSN2iRk2ZTCV6sFiXcL2UQG8SRNlPVRJeA2+EldeXoPUC9GrRKIHUEaYj5AiSP0B
8PIO8LFdeFQWNiE81q40rppeIugrgP7MX/tFO2OXaP2zSogxjg5gvwPMWWhvIZaTevxudPqBLYwg
8hNDaxWMZPDKkmfKKCLKvILVh4e/Lctqpeng+PVE2fpzdTdjnytCedOkFhs9IM1XrYovDUpgsPE5
B6LwDuSruaMw3stK641/fNdKuA+UsN7MCUkaepYla4Uk6Y4Jd41qRoFD3yJEZIfs1hS2VrJpXUHF
oRepKd/iAHv+SguIKYlirV5UnLccepJ7Bcvqnjy8VcSZEO7dOu0C+tAqkcoDCR7ABSbiSwDAjEaS
/RgG5MeB0Mu7jibTVoHdCn9zsg6KYuV7FItLCkoX3xXokmOaFRVoBKtTlVvF7oJvmhK+EJqJWB2v
j9UdOdwc4gyuhZSat5BO0FKb0qrumgdFTTe1rwMNni0ppHZfYU1Fx3+fGFn6O0lQZ5CGkHpmDs7M
8NMDRoecwIfAOoboZN60EUP8HFVoHKQe6ZCvS+HvkRI+gvYeUWxIUs17RmDrz6QF6IfyI5rIK40C
Os5IWbUJaXWQLS3vRHkJVF3YB6J/Z2OH0Eqxtuyhi+Qq5lyHEgUhNp0xOYpB9iDEwSytshm1WIds
8WLEbCHYrSGJMiNsyPBKdrZak4mpl7hwDvIYs9kdpaJ/yGvyLJyyq8Ea5FEUfCtzQcEVSHd2TKes
QOs3Vs1LH4zkgJkzioCQ8irAan984PtS2ICaJKlWJIrREwUTqLTkaBZSstdVucDDUVLSLToTQE1X
NgFYZE29ZXEnQ6dMrKcqjqx7K4202xnytGOUA3TxrOmbn4aECtNCIP8CAYFZHLLBjWmmwDp0hI6J
PlBlr6v5CCyfyj4dIazhzVjnD5MVxd9keHC3rVCZfGPSQh1iZ6HeouB9CGS73EPcjzyqwcNvfS6k
a4u4LmZ69SnjPgRHU2mzW3rGw16ZeVnkIO7B82OG4AAq9GNVsymQa5U9aBtb3hCByk8MGUFmaWjm
y1BY6VuZZShE5GGg9e8v4jQodDlHbpcjt42CrhLfE+Gjf4xBzcWrrDdarCnRqK4l6LteXVbk5TTd
fCfb4CTnWJEOEknC102jdtg89PLB9v0ST/lUtDcVG31zRakQ5wdllNKhQ0j9jD3409CI+SFL2fyk
EoRb7Dt8J2Sa29/ynGg/1Q/8Q5VH4UwgsibhG6xVXBtTeZVyEmTqiOoOWNBU9ldTmqLW4sHZ39ox
JFA31OvbOYXjTcvTpBExKE3NxnXQyUgwiUSZQIkULNJFp+wrYdvDOsgb+9FKRH0QnCv36kDeSjp3
mrXhwdANEbmcOSw2EZE9lpQc8sTEFKCXlnlryHVx3U4yZM6ute+lYJhf2F3j75rB7NpWiq0lyYqd
GU+CvTwleiVDqmAUcJDB+FE6Uq20pe5CxyiQ5c4hObciY0Ya2HJIiTvl7K7UQZpclOEYdgOR/Jp0
FCJqWNp0ybt0rVQA9XSjvx0mlvM8gRZLuvCSeiilaxKyY6eViNNI+rDcIK7Mdz0IFwzhmFvKSsAW
D0vlPs41KA0E/a0jvUAGpPI24JlBiuUr6k1To+vpxxQTRt4Uqxi4EmrEApxJaElOaJQYzxdMVKkM
PmiShdiVlliuQ3DrKpHmohlARkd0G5J8jFyJ4Ce3Usk98tEJgQby23WK09CBCkeTkmwhnHetBqeH
3F0sJqk3ZgaL5GAR6III2hm6lnlQwa7okLoEa7KvAsdOaVURcHaXx8nPqFHwVc5NAc2lwsRlGX/S
jH1K1LNEPacNweQRSxtjXK+RoVZztDGY3jClJ8XazCJunVLnvwcY6/dC0YgrLC1QmXkZbzmEw36L
B3uv6AM005iagqEYaIRMdSQTJTYcWInZujIi5ZHFpHFKX4RwdlJo5hSEbNKnhvlgDiqhhvUiLYZh
6M1pQIygIdINMe/pIeXkwwuMV2PK0KiD/7Lv/YVlzms6srHp9I0ewiWfbAD2ORwmfKoqewyBg4E1
ScRPVich3bCk9gcQsuJhBFVtbgmUzx8Na+7IttPG6UWpR1qkZSm9cd7WcbbXU3VIRSmTiDEgY+nD
Nk+3GU5A5MQDp5E+Vs1tq0E2KAsCibu8gn2DlIoQ43qeykeQlWntovXtos1ErBUY2lGEs5vkOsZF
Zmpv5INs8KMm/h0aS0BBCA+7ku41XWoklVh4AMHg+TdnVvK4rGw3EFr6A4eOtK2IL8PXZg1ts6KM
Qvox/cviCWeP/9RYUnxX+1N8RwK0jPIeRexRDorypsLaT/oDvj06vSDBaiVtbzVjceRFZJbDgrBW
c95Y93UkQwsupolPIxuy5UupvFJRxFNe+7lnmtAKSIusV6pZhC5Q497FD4kGd56CA1WGcBOOKhFX
hj7+SmVjb8YFh0pmXAoaJh/zONcP3Vg2TxFCPrxB1UBlrCJkCXIs6wvH4GgjqSPEA9AVe9kei1u5
jLLXzpen7zT7gh3AhxFtCfSkbm4bAsvpqlaoc51AHWtW8yS8avWqeYLJTv8+afNuS4k9Pkhlbm9m
mRTIqCH6A2RDQ7JjO9SLJZvcI8MHaS7DhU5bi52HOtusItVERSaRsvJuqMbgaIwmXiTeXZroaoVy
rQIyJuQk5eeaEzvJRKVY088hBewJJwmpk6PerZuECuwAxWArjQliCgSv4T4Go7uZOjn8buamdMtb
mW7IkvZvaIjBoJRyykCoQwH9GPh1V9GgSr8Dfu9mSK2E/jg5B6oiYZMJRQIp2bZ2yUj8UhWziUam
0m0aQ1Q3fp6Z7wPi1nvMK0hAcWVpO6VojOtY4jToj+W4tYeWjz1N9OptYoI+1r2R3I65Dn+iaALe
89zoitzxqavB369FfQyRy8xru0e0hItPWsOlGW6m0OSJ9rWBG7NQ2/GW+D00EqA4CoBzub1LjWmq
XDUom9uIKhYWbhXhfQTXAnEM3t4ro5sJQgXisQZDzxSaV2b7DU/v9GJFXev4lQSdV21TeTvoCUrr
abaIE+VGL77t+s2I/ZGMTISUz0qhy7t+qvtdmtvGbixT4iiztrWdtM/NYUWvHAFXK1vNTu0xP1Q4
qV7NSNLejD+eFLubNgNHdWCTIfDJEGvwGkiL/TLUPmRf+NqUDpPBzO9rq5kP6WgFj3pbzegEB6HX
ZMe2xm8kfg1Wn75usQDk6quWou8LUh0z5lD0aMP1Gc3ksvnDUYkSpGPD9K2T0cnNFmwXWAJkKce6
Yt8app4/w74M971dK0dhtfXV6A/B42BZ1VVcJxMyH7+nsMnhJH2lJhW5WJ1yJ8UzvJHMun2wK/Fz
NKvsTguCnE0XXuIkTerHQiOncRoqZV8QeIHTCPVl5AmKhCNyPd+6idoshXBk/qZfzi/j7xTrsNBj
QFf9An7KZ2VrTzHnVEjQV5ZGlIykob2V2hI/k50sNpC+4mPqTMMHC4zpOyjBJdDFZUnHi7Evirq9
zdDrHpDkUR7LciocaVk1POCew3rsY3jow0p6U/xhuCfauQYllaLjjSEA3g6tPcCrlOxmy1Mefmom
ZPJVB8l3RzEkweIXIhnQq7SmEyPeIkSCq7YxQP3FgfydzGpxsPKGuaLgt7G4CMnrbPgmMy8S3DfN
9xQrJNzawL5X+uPcrpV6qncmKS5H2Z9C6o5V5gNnnAwCkGv5e1JFCg4200eoFScPkd7GO9/o1N9j
H5RsSk0IDGqTxTE3Ox9eQrtAn2okZXkLQCG4s5h3rzu1Nh1qpmCXsJhztiZr2nwNSVKD4ldM+f5P
UdFPtPmbHJump+A/6J2+kIDKmXp9UxakQeptOBwnQ6vIJOXRpioaGj9RlH0aY4zl78oOMzgZMWFu
PDZsap8okwHykUjLjMRgr1p6TgfcNfoSw2vf1yMsfBfZqEUFdYbaC9wpT1exIDjCJAVnN9adTrpF
S6l45Rei8IwiNW/qoJXdmB0dkXX09CYSM7aRtIQbtLBo5i4bNyYm96Od1kzOI3FKqzIz/F0BJvEa
vXJ2iKKY3WBAql0MAJmKjTaPOzjFI7Vmkb7hJWwP2iTsp7Ac9J+R3GHh6+vkMWny8J7Ci06oTtxC
+m+mY2aH0uuQ9APutNAiU6YWww5CeAeUugyvkdtQfrUbH71bms66BxFh6a8RacqBXomznWCp35bW
QiicR6SKRNsQH9qvSCr/CQFhuKoRvLpt50c7IVsAlbOo3HF+l6+zyYSC2uFBbAXn7UA1CSmu5/St
zlTpllBORM4dP9R4DtJK6ni/QU1h484y+N3olIF+Fbl9WykJ219Ihejru6o4pJgc3cxko5QUVez1
rWy+lLDkVsS/ogQUcqw7hsXRUdVmg6VzDrZTk8TbqQdk5We2fmsAJnK0JsQVHbbkFYW6/EBKIGQ7
H0RSxsurOImG6QbnZZ5gfO+ViEiAtjO2ejvGm5aZgFhgudd8V2KCSSmo9+03OWXCWbEPGrWVrpew
li0V90iIZBFyZFR6maRwEXU7WLtW8Uen6fRZd+bMpG/FP2E2q5C8hzQEFzNd8gx1jFyNGVvlbCby
NcJl2P6w7KoHZc6RDedSox3ZV5WYNyWA/2GiPA+ZzX6zCMMZAWNFawm75YhfGzbktbD0+NZutPQ9
llP9LgnV5LdPs45qYZOVP+rRMjw6EbRKWHR1/Kx0abQ2aTAA1Tbg0687Y+qZvhjkGtvEIiibyl9k
JRKK2VbJgYfIg4TntytVN016i8S+ME5ucnOy74sSuHid9jpkxQjjVQ/JveyzY5zTvNfgcLAlwHM7
wH8epGgDIgcTxbIaHxXcic4oS80D7kxjUYfjj6BBg90w6mn1NVF7zImKoX410XUS+drKbJtA+mJL
L+/d6FGxSwNBoUPN6zigbN+0gZruuspvN1/fiL/IHxaxr7ApgSHW0XgIn+UPdUIjJsnRuwzaBCdg
+cX+sbdkr0mN9ddDCdRCn6UWJ2Mtv+WDyEOFCFr1A2PRToEi6BYbbWchjvcUJ/JM58Joi2jmk6Tk
ZLSTziclFR/0agRxRrG1EtW5ZQDsiOjo0ZJZD2o2vEXx+FP0ivyjJV/1WZpM8iMu/Arlwq84kZe0
WLFKhWxcl36m+qDsNTdyLSeSvImrTjzrwnstLo13ol+itqBGkcx44oFd3Cb3/F3zMq4VL3U5O194
eZYf/5dbTHmRhogiFPrMnx9o3wU91l2EQVpVFDgxTICWEuJabAAEq5HVE9z6s2qxEUu0C63tvwiG
eGVtzbBlgcCMPwyu6uO7NJvMiEXZya4avpYVcAj42n79KGXThvBLxMREx7AEX3iay189uWCFI5el
GgJBmm2djFpmsZAIseRrWQtPPM5byU3W6j5YTw5z5156vDDemaf5abxFUfThi8E41Zpa3ilu4wrP
9FjLqXbRafCEK29tNA3+hW/00nSw/KAPA/pKXpQ29jd37r+jc1jL5vSqJsVTbZTbr69t+eknt/LT
xHNyK6uJxAtNTxWaLOWVlkfkILTPXw+xzF1fDXF696oBH3KCdFBExm2LRhaNCuF506+vhzn/zQFP
U5Ac68jkTsYRmSX3YnkriJBztXXq0Zj3PT6FDWSLJ+P+wnBnp1EG0lTVFPSmT6bRcow4PCS1cNHS
O7KLg3BL9t5GdSMvvP56LPXsJPphrJNJVDRzbU99Ltx+aJ4pcKIQ1yttoymy7kJZOEgRSUHgW0wr
PIoYKBiuEhhPG4VeWR38gsbypJOu0ISyF2nZEzIirAH32ZIfyF+Q6+pOyAs1lARIDLCTTl0pF7/S
Cqbg1CjmhbdbOXfrFj0MqlVZhmd3MmHlbRpZSq8TXGZB2m+yBtiwKh1TK6+/42yg+BqqxsbIU2Mz
ZsShlJPM6p6CWNFgW69UBWiGYYzzNX6j5tqYiSJz5KKVt9akjetRBzUf1wHY1zmoL83sywdx+jaD
a7GEBo1v0cR+/jRzaVApTUnCFUdiZNa5lz4QnjxtOwyNhTdsxXBhdj/3hX4c8GQumLtW4zxq0kjm
inQ6jcbx67dreXn+ckVM4ha5UugitZO1qrRaFfmEL1wbv7leJJtmOCTZHT2dVQ+z4+vBzq1V7HH+
NZh+orGN2gTUPDHKLl0vGm5wJSaLohO5k0gR/PA4UvD+esRz0w9bC1UBmKmxYpxcHqdVU0GBIAAA
G3SRSfgGwZGYj1+PIs59opqNjUZRhWwCGvr8XjRxqDQwvbiwXb/LH0LnLduxUd1cmgvOTnMfB1qu
98PaIGKjoSHJQPK+B6C/Ch2apetqByPEDR78C+/7ubtnyGiaTBiEBoDJz6PxHs0trhLh1mqwqqT3
aHygjnnhpTh3TUArdc20TGCJJHR9HiXujE7ukbe40lbbV/tgj5BjBUdxTfSPE1+YfsSZT1hTWCZQ
dwphyaebbR36OcJKRtPFamY9H57oCGwUMkxdpOVe/RRf+IT/LD0nn9inEU+uL5kiY8ZkJdiwkG3q
VffqVloPL0A2VvUNJi7HuLnwOi6zwlcjnqwYdRyl9Im0P6+jI5wETfvGXo9rzcu8Lrq84b10T0+m
dL/EPN7V6nKF8np2cly7d2qxJ/PSpePoTtn3Vlz4sM8dZAAXCDwOKmuwpZ+8m6ncT5ba9mw+j1iO
tmzLOJev5nW4pckUXhrtzB39OJpxMnOxR8oV0C109DZgLil8rwPXXusbwyMtCLvrhbf0zLSvs6c3
iY9TNM2Sl5/z4TMvUx/y3lTIdMokFz6bK7T64euX5My3zWxFJ4N1mGHMk6WsrFn8jTqXXXsiqrFf
4BQ2/E+navLqwjQiziwyn8Y6uRxQNdA7Up4V1kPpStuMDij2atVvk3X+m5P85BkeAZU7NCTj7deX
efY9UWUcMmj98Rgs9pmPt1IkQxVXSsattPfLgXc5+snmBsvzI4q/S9/6mS9BB8ms62jokRaqJ1/C
3LR07KtU5j3JaLQGq+Yd4uSvPnMnJ3NaUPvIVVdfX+K5lwVNqcbuF2+OtqCBP16hNVkdvWtyqlnG
pQ3oqOw16ILywqRydhRz2SLInDL5z8+jROjrMmMoZTcN4zuR6XdzcEkqfe6VVP89xJ9V9sNbb0WU
QUy4JW7aUQDrHHokRC9f+JTPXYeumIvNSkNhrpx8ybmkq9gaeRdxGBHgGCjTvSQa5+tHcmajY9iG
ynaKgpNsaCcvvBqnsP+jdHTjnmDUCdSKBma+emDzi4Tid932F168M1+YyaNflDhsr/TTNdSHjzXh
PR2BEyKULKl8jXjpe1W+Bbr6SH/++esLPDceM68uZNU0ZUNZ/vmHR+UjL6nUMJrcgOyFezuEzJlB
1N/UZgJXfjYxWZdKcmkeWW7bybqG3U3RGdNEtGOf3NawNUdDUhg13NU7/Sp2svUy5fvf2w1Q0Qtz
8JlL/DTY8ql/uESB+toH3gGnsNbeUg0Gnp0KyK69f89yfxd2/q+v7+mZ1x8quFjsenDdbetkn2DM
VVo2VcXxNa2OjWZsJn3eVnp84UM+d134DNnwM0stY32+LiKbjNjW89FVYLSqObTCSbRXgzQejFZ/
CVGIXJifzlyXLaNj0GUZ4PlfBuyTzp5F6RManfQrTqJe3BExLLf0Rr6+ged2Wp9GOpmjZD2oixys
FUUAcsvWsSeT58m5kXdk2Yc0PyMPDPqFQc+8lB8HPd0aTFh/JoNunls7kyucCEMym3IEeh4qXuhL
F6aW5RpOvoFPw52sZ7EOVIQO/uCq84Mvnnv4l9Jwo1Sj06WPmfKIU/3CiMqlIU8+Oz+Aj2OpDAnO
jttKLgci+1Ww50iuu/ExfqFNTg1Oo0vgyFRBOPmsKaevi98J0MxV4I397tLXeW4f/+k+nHyeWUhL
qVzuA3VkCj4NP0taE3Lgyh5uAe/SnvrCS2xop19NahayyXBScC8INexRXnXi/3Dg+nRRy6/4MOdM
lRFHJrJ1+iDxVmuYcpKWNMxLw5w7coF5UEHeyDLZAdbJHEB4YNkOjf2vm4fF66k+NE61yzwfKPaF
mfTsvfsw2slnOXUl9D+61m4NvAIpVt/5oEStCx/iMj3+5cP49yj2ycI+xzDO1eWaitS4IrNS6Xbz
sGPivlAxOX/zMF4LNhGmrJ0u7gR+Rhw8eBWWgjD4hG2u7ew1Popt/wRu4NLduzjeyZuuWjKZJMus
tpyutDXRBO0q2kDE25Awo60unT3Of1kfru/kVW9abBcTKBl3fAMs6mg0At8JzmWPTpgSAiBEEBdm
mHMHhKUc+D+39OS9Z7mKDFEzJPE/t8a3hgjFFaqFXeJK96Y7c6nc3Lsy3Hbbr2fvP9u9v7w1H0Y+
WXTbSGhKsrw12F+8ZpU6igtN/LZZIVjz5FtrZ67D1+6qeyB7ZoC2fuHKz34aH4Y/2UfZBCRgYmR4
eFCPfpQe8ugh8JHsf32ZyyP76ipPvne0iKlsLmuUHzd7v74WpnThRorlT3w1xMlHXpsNbtvlRhrX
0xoGsBO49XYJJaTuYK1QTq6QMR1sVFCbSw23c0Pj3KEWrxsyu+2TmyhgckS2ydBIsWcInoJePVq0
0rB+pnPsTB1ZoEJ6/fqWinOP7uOoJ/c0TorGtEdG5ah3g8dxrW6DOwo7byQXrjMHTnpwuXp1bpL7
OOjJXSYI0ELKz4PkJC08tCfJhkzt0IHfB0J0pboP+Y98cOOnS4fMCwOflm6VqEDyoC4vKrjqTg+3
+nhtFZKjFP7d1zdWufA49ZMdjpGVslQtj5PsY8/6RmxDchPCGIPdSiXywOTnksJhOS1n6gKz08qH
fHpT4k13wNQZy7ZrFz2bF5aXc5/Qhzuvn2yC0JUXlWi582QAr6reX2u9f2GIMztzm9cYpi01Lbqq
JxcuQ1BEwscQHQms8UG2XYO4v6y5a8FJfX2Tz36uH8c6uRyE1Z1KUuyfRew76GunGfF1O5WDBXAX
rGt4WxvN8vK7yInfLy1p5z4dRbepkGjUYTmwft7mLAauEHbI6JYYFiALO4RObGoqaV9f5LlH9nGY
k4+FTkOQKRbD+APK51UZTYDv8AaV/4fZFT2YaXMOtmTjtBloplMST1o5urZ4j/BbFt2FI9vZ9fHj
CCczXNBKGYoqRrCeprWxz73Q84d9+SxuJmB669Ft18R5cM6RaKVceCv/+rCAnWGWwudrKiYlps8P
S116nWGK0E6EG4WcthRh+xC8fP2ozqzDn0c5WYfLYLATU2EUea96zRqGyqba9PT25d24R1TmKhzg
KF3fqLtwd+nbPnuJ9CDQIPGJs6X7fIlhiei91TQk1lQgpXbXmUiu+6uvL/HMvkonQtukPENtl633
yUPESGvMQ0kFTX8w9uEal8azTxVUCdjgsGJ43TYtL0k0zmwePw968qnBbBCR3FBJVo/Csz08nOvK
WdqVgOAd/VKx9a9fnC40OjkGW2O+gz+zzofzi0Gg9qRnicxuqkbp+KwM26VDBT7DE8ycxkPi+ff/
3EMtkW/Be3H7j03GSeLcyX/9+/9futyxfM8f2vr9vb1+LU/T6pbxPgbc/XN857V9/fuf/y0/Zvkv
7h960133Xk/3702Xtn//z3/80v/NP/wnA+pxKt//6z/eii5vl78WREX+EQ+1lHL/30ypdfhedRHb
ln/zpJb/wz+AUsL6m8VmCAaLrdBAQKXzL6CUUP4m23RC0dAAQLeogv4PUEonmU63kBJplqBBr+kc
NZqia8P/+g/N+hvVIqSDMGtscFRssv513Z+e0L+f2MekNpXKz8l+kcaDxY8wLQsgDzW9kwVoLkZ+
WmxBEA57sIgKap42zw/E6dbrtrSw58WlZ2Ry70gyhsrmOWuScI1bdnZLFStYaCHlC4qEKHlL2wWZ
BrZm8r8pIkt2CN/dMsweWglT+RziH5ra+xgCuq+TvQnjzR7e9K4QezFK1LKTg5zFO7MNIDNUE1EM
lnII2rzCfMJBv7AQUkoVFF5ZeazJihBiAXWy2QKL5RSW/NoFaYzYdEHLG24UyoB+BWEKBVzoVa2R
Stap0RHJqH6fQySBAoR1UbIqMufSej2NuYe2eG2VZX8054IWSBztc5ZNXLDJ/dwhxU/M7IDaxFyZ
RhPiWuoGz/RbezWUzY1ZgjFJo0OmEUOid+0BDQWJY2kAcxc4uCP7BEaUNpN2asNmaUf1O5ZulNvm
npnqt1LN3b4r02dfFL9Ipc0AxYW/m4aWHTaYzTDNwPpwQCW5TTpbdjRhNK6g2l3bCDPj3updv60V
RKkrThiFSzpLva5Uk67SQNCUmH/GqfSsZmB/cgtCczzuG3TwtpKDEAig/aX61tcwib0T0K1tkFaz
jwNOHza2hPE+G7B/YbKIc3jJAhRtvI/AO62zvHtqEjJyivGHpu8m23jlVUOLE5LBXNfpIRttCK1x
Q/pXzUZykePj0fcy33qxcBQRU5EYW/Scd/7Qeig8fyRqjXfjLk3EA0h6xOMJkdF+mv8kQw+0aS7u
46HrV1hJVmORcYqxsZcRGd14NkJekpEwkiUItLUKa0BeNMcsJou2hWzgmBEXPdp3+gxroE8nyQFI
u/XtmyienupG2Uo5qEBbEDecFGQVCRKhuMM92Q/9us+QKg+ZZm8G8OeBjp4YRnbppgVvpSa9Fwbx
9soeTfFzQIOIZStW4GT8IAh2L2OvXMO0gfoa/Mzz8GrGh7frhmkX+nCEpLACMzEGL2W6aK81rNpK
yd1O+vFGi6qdXo3XgVLcQLgGa6RTZytLRKMq2Haj+T2rwY2va9vB8hI5IJ8IOUxgRtsJQvSKbxc4
+xKDnI4+Mmg4aqqG4JyYOQ1y4comghL4orWWyV7cF0bgogv4MeVLiNWSEKNKWM2bKtpW/EtOIGzC
zd2RIWRfdZWxqjri0AxZ2oyc6wiCUb4Fk3/VB/pVB4k9Gy0TNlDsdpotu8XEzJDMxujlvS6v4onc
ZMiQz5LZibVCBPhc1odgKK8rq6SsCdGdgJ6RnHtdWispIXB6xASQVeAzVX3ADoACy9VDKXZwQm5H
7MmuRKp94Efe/Gsxu+zUBuNExOtUJ8l1EAAdKjByrfBLeCV0m2tfa+8mH9YS9pbapIQ0hgDVS/sq
XwAtkVlCRL4yRoKNg/GKXZ+4juNu3yDJx2AB3EUdgYDLme8IwPlSoz6wvVW3UfTYMue5smqUu0ok
xHH4rhZ08moal+ThznrobbvbyPDhV0CXcJ2rebkZlLzcx3W3j4am3+o6sUT9bMeOkm/ywI8PIu80
aO94ssldgHKCQkypU8vxTawF2QzUJIUZIWder430xZV8q7Dog37CtKASkSr7m64I3Hicj3zFM/4p
a6eO7K9MSSXbii7qKg3CyIloLmLo1hIC4btvs01Yd6o/5mbd4s203nqZDDvJbqEWzZFr99sWEWaw
PBTToiRlaSmeo+mJevC9wLO3SoJCXCkSgSlT14577aauYdlr4rbU7RsCot7UKG5WvTLIbihi6VEO
CLjvH+vJbI6iD/rbFESJ3OrJQe+VmzGs0Umr3S+sCbrb93ZyQIVDwt5IXEMGuQK8cW5grGOe6vvh
iR6IEwcQI8ykpn+vImlnGiSSxwR1Zj4Wjd/wvcvUq9XakSyzO8aFceOT8tJ3otvWYX8H6GBV5wlc
4Vq7SmIiNE09PMqT9J0gerIqBmbePjdALyvpr24AukHu1Bq3cO/ZBC6AaKKf02DzlVuA4lrZ7qoC
tlWIKmQtBrBrGv/ulWmAQ3IwpK09W+9xVwJwinsM9Lhv1/ML70WOG87Mjr0SboNQtbZk2Rzr0a8h
d1f3Vi8ofJqqGxtavySjxo6JiIscFr/RSPKq/aeIObFLLH9D5l+1a5nRxk7sR0lP3TDyt+Yw/MC5
6+kSeWNklfFRgGteTVGpbWBOrs2xG5y2AFmGd4jvuC5IzIpGcnB8XDT2/FtuCLfsMNIoiOREFtzX
g3aUrIwwNyyCfhtablmZr7g+phXa/o02peVBqKScF32y7eyDHQXzRuoPZNXdVCacwwi3j62GANP7
H7H0e7TV25RSPID6IXebQjwYRrvLU1AncaPvYXvRCtGsb4VEIkkBPA/egr8VRnhvlgO84Ix3XaJG
HCq6oxVKim1BA6KbxMlVNE9bQwmGB7OEjFuHQCb6unDM2Ne29cg83szmOiGJdauBhlFbMXtkGKor
aOHagZl5I/KhdayqyQ6gh4ajr/MpxDroCcIgXyPTdNGAm6+TQQ6niDF65t2r0ko43TFQK4n1GE/N
6GoEPTmzQXCDVsIrXmh0ntWTCRjMqEOyJiJ0L1O2w4KnGcHcuT7/7tjVjxHp4LqLNInlD/d5Hw/p
rpSjXQGP5wrM20oUqFE7LYm9YYZbkxf+jS+z+vSyhAhvYoJvArcZYYzgyHrNIITspFRXYNBRAI4a
SohlR3IDqGZzHvD9C7MlTQNHWDngzAzL+robY98rfZ0kr956JeQk3YqkhcySGJ0zpKrO5w9Bd7Kq
A4EGWKhsSkPatJ8x4+0ahTYh1jWtIjlTKYxuLedyCRqkjtjFkb0RsTw4elKYzLJt72kxmCErVHVv
DOV7O21/a2OQ3pS2+gN79bjpR5OU1BrzL4uqvFWWpmqgeTag1nUcJ41Xh5N0XQY6NvUqfq574iVD
4mggMWTNOp51XMPsD3vfmI55Lm98PRPXgWkf2eG7CdSTHUnxsWOlVGqA7W1FGI9e2ZrMdnYHQww1
wj+GIGXrv5k7s924lSyLfhELZHAI8jVJJnNQarZk64WQJZszGZyHr+/FKvSAAvqh3xooXNQdLFsp
MuKcffZZO5CA3GAeOaDeB8N6brY23Kw2PTlIPmsHKEOrJStiVjUFFVmv0MDh+VzKqu7YdprLZ6ur
wGzX6XjJ1wkN17V6FmdXn5XfjGWzeT7E1eyBI9tenDXuDwbcmZPSeFtZ7r+qZgO07bbJpWi/naZl
D8BRycWu17vGbuyozudzY2zTRTfd/kKe2L0FZJu9yPrWN2zjItz4kh3jO1BjR73l/s/jnJyckcDb
uWiXkwHAxS+35ZPuYrt5s3Fr0/pSbFZ9ajoaCLlCnDL1sz6pZx3m2tUlNqJ0nPxa2WS6B33cjlfg
ZNCsJHB5NuXaBy0D/10AL2hKtr4dp4Qzslk9T/DSHXWL1S5y11g6mxI+ky5cJ+UFcVd+8gfVTmMn
z3bV15dNF39KI3dDr173V2ol7t4iBgZuYB0qO9MiqDJf/ZyxGmJoRTCV7qmeCUvWixbw3kzow6D0
i2hm+OF63YVdqz3k8D3utxXCdGIH4ywvMEH/6Fu0bNX77DUw1wjprnqo2YvRjQfdMf1lpc5qcu1N
9dVAoubeRixuxF6pGyyw+Fj/ZGPSWc+LiPfEPlIiZ/2jyQZxyCd8uHAn/aVaWKVjlSNkhyayOs/0
E41jeHKoliay7FR2R+RuFjIOwx2RESG9cnoY68m2vO4Yk0QqewalHUSdrnOO2eYS69hY7B5qzWUo
l+1odjCqpQpET/YfNrGHfKOPaTQCBDgY/owQwLSp/UM9Wh5Lvr90X5cE8HQBVFoE+yb7pBESobHG
y/rgfOv2uM+sfGv2fVrLA5YEFD9ou5EmSWzDqdHG2M97kzTUsWVm3emQpYZ8/Swfcp0EV6V6Wibo
YiOnEwlTkBWEFrhKB8GQ8OLlOOsP9QwTo48ZL1hA3mZ7fYqVfFDJQmgsIPe4g/O2DusPr1dWGBOG
E2hLNQQs8eRhUzhna9UePUgghUZAmPATycbeWiUBq9McBKp7kfXjSl9mEhHq92rMQzXrk59tQGZs
t40Wx+Ocnos7SYAPcSrTy7ZHBreeDADG5oEzLF+yrVO2DBX9UG1dxvE0ua5x1df4tcrnZG8ir2Ns
+I1HCLen/lqaOOEMQbcxiGCxiTDcWbVJPxmBsVJUswb9AUoypGmHkGUbw7GI4+tamS8DGTn3Wjk0
9Il/rR/Qzedg3qOD5lmzSUFwjrqZ3GIkUtbxGJlGVU4ckEWs1ZhCCPVS4ubAmZ3sviOrkT/Bstmu
TwR35pf6lvrmCver7EwK6GQJJQyxsd1o0hfnU+MESyZX86WDgXeerT/xr3x6mxeGL/3M9zAWpIjb
E0PTfJz8Jl7bs7XpUdLKX96k+SYZj/wwYYHqxe/Spm7a9tY//ZOV/P+EGJfGnJ62gZtdJp26pnP9
kADxPMsFPhc3q2lvBy3JTF841dPqcBSzO9uYDdycof20NeujKwuyJ+MI/FxoDu2RJa7RT1PIIuu0
fvWrCd6vuaqUX7cuEzeNTtAiOdqUtFMJGZ5XqIKhECW4r8vfyCylj3JOwsMo3lwX5zyB5X6fbE9T
Xtg+k7CHqckBnxHx7MOyjEMIoYGSrRY00rsUsafO7iIj02ke20IjhmmC4TTF5pcyVB6N/8zR66ix
4CEfAflbDOqrPamUDMZiB+6WTWQ2OES9OH9YdCsiU9gvtbY+IaESTJNVZC6qB1XYXC3ep9dqv7CE
oVCvpK7amuNXbXZL3b2LEP1dXKjXmBRMhgT3/aCm0yhj6zDNQ2hoXWRkY0QQwKe02g6iX/ETaNt4
NK3lVxsndHLudNU29dkrUkgm6DawS7X82nHvVWXzA07Ed+JRzrOxwcgobVcAdIoQPLt5TVURH2SM
PNNqqCMZORf4cJtDuaqW928aYLKOzVGrbNbGUTOBQSdHYuf48TaOR9JMv/lbLd7JWH6wyYwO3VY9
riA9J9F91unKTjkpOvwxiNXLnI4Kllh3w/0snFKcoIeGtIGRbrPIEq9jCc/VDsomickie1xcb6Rs
TWJO4RRAYh6mtNUEcE6VnxHxNznVW5NVOtjonIV02UIDo/tAgCoq0pI79VLXwuTFBGc4Dxx1Bqm+
BpV1JBGatMQjws+evhdD9ZeempX03PSjKBLAiaI+x4Qpn5yxTP2RcIANyTY2dwYOVcCmtEPc7qV9
VgM8Kh+kTSLsllihhm7H1j7/GpQXSV1W6GWErYPUhHUAloUtWyhxE4sRbGicV30S5NIQ1C4hePop
YYDEhtVl2IwXV3sCoj4FYLFfun4KRoIZSIX0t3J5gSTyu9N3337eEOcgNF8v+1/JxiK3WV6nOvkm
Mh1PfYbMscmPApUGGe4vS1LmMbH1/iBnrw69nstSud116ps3EiDIb5PrFSnpeSaLnkOJNG+bH5jV
s3ZfeVLxwBpTRAxU2CWZDcWS/0L0Te7nuKZFYuyEWbpwx/FHqFm+Gcfg3brhWBp7vtrCC6RiBzIP
CsvEnU+1DVCbov/Wbs3O5e2ft34DRDBqMevsQxtWo4J4IIdX7PSbyBkN9O18mZrxmnkd969Otznq
vTiswn1whhxmpJV8dJZ9nPPuTRbFV7GJ+z4l92f6LMuswBeGiag0FRFV9T0VBSeIMy1hjYY21GxB
rHZBr2J9pCTIE6iS3wO1ICUiVnB4G/t3q4nf8bZnsAKi7Pknfmn86tuPom3A5RCF0fVL4HhuHNgc
0EFd2ltUVWydjqu8t5cqgi4cycYwqTba16REI3La5HGwclh3XV7xXU5k3c3HqewANPY4E5XA0Okc
Bqcq3pJ53C1Q2XNjIMa4abrcpURiIqymgF2zJGQDDPCQCxRqgQnFfC8NFYRHlg7jk2Pc9y73mEuO
8yETyjyCJ37noA2K3E5um6E9gqFOr/PYu8eFpEwQHMvfJdOuzA7nMzSNYzl3bigmzraeOE8N8YYo
FthLWykBe2zp40JIY4zid9iWLD4UuXpxRkIZM5qcM3UHcor+VbSQn4RhpUfZMuOJYX9pk5tCf0Kf
sai01oGzXPQufLjWiTCCVpdeO7uZ1AI8xntGC+p1xzl/LAmV1ZQ5+IO9Bubak1W4ZUtkuF0wiBUo
nVa+j0Z64gY75bpFZbW8m26DRSCZgbzBVQg8q7kOBdFTABsjB8v8sbSd4VBgmZin/LHJFw5WvjC/
MxdEB0ZPIndZ47DeTbYLoBrA1ZjNW1Qk1EGjg6zJPUq+eh50OpRVx+rf86KrbjUBgLGdq0h29Z0H
QfFKt/ukLGiysGE/6nZN7ww9eZun4Q9U4sFouGXK9Baz33uvEbk8Q9ayy+IODd4IW9YwD9z2n81M
7poxUojl1VFZcRWWbf8+FtPf3iIqIhmK+xzV5zh43QdZKRmSNiVupWRYgGLyyXZH+SN9muIcts0w
e8FGavmhlXzfsYLF0qMrsfRp+IQI+N3ATytfl7+zViyPotDPnFsXLol7UVvzMc7wzXkaq8ca2PrZ
QN6SVXPRG8Igtjw/smbRBVO2cDlv6hF9+8UYySc3FdFNha0JHxMJy286kA0BPF+u1fSDbuSUmES9
EHZD8pzM/w48+0mxc1Znylo9/8sjQjY3HFrfiMnjcNBrUhoWRiDwqfWcA9nUIeAXQOe43tiNJO0m
RSILVA09k/DHJhgXQPGZZ5BylK1oWfzdklofutbcpa56IiMb5042avCctG94q4+V5LJMDJQPd5vQ
TKvjIhRkRDoV2ez82fp1KUXnA98tw9W+NmRt35c2k4eGRL76RatHBHYXwgaXozllb8I5egXin15B
cqqKtToUMoGhHIuAkLrsZJHpGRCYZh30BkZBt5a3ZPqUrbsn3CzHVORX3r4mxPin+V0+TX71VDQA
IbR2+RQjZZvXwnuNdz+FiZ0rYz6+LMQUAxNkOcOBDJ8jmWfKPjm9we/O40HHUqmHwWt5Huvqpouq
uAGxJNBxbLooQTcnacw7ruiDGJ6oUvJhRYQDlJaMhYq0hsjkrWAzPRtuyjSxxC/iITPiV5sziiB0
Hl0LHEiao4/oWnGYmlhEUitf65E+xhCUDEAxn4e45FiZawUhpgeIzW960hyMYZWLtxFW3iXNdMH+
b8Krj6A01LstBSraQUudb5Ry4bd2GvTOBlgtAyrUE1pp0tgT7vWhemIVBLSgqCvApGjzHfXACB0Z
DRbaDr4lI37mE+6OlckCsJbLGzeAQQRl8zy3EHTowj4SkdVHl0BQYrmDIdaMi7Tf6C1uzLkfuPCo
ETvnmiSseJIGaESc3KSQueV77SahgP0QDiLDWD9brFPNZGlt5kNM7m0wugNP6ISoDhfivjx4MVpM
X1pLtA3VFV0CE/7O7BvMZXsSpflSmsOpAmM7kFs5tao6F978IZzk3VOYP9Lu3fBwnjMSI5W451cL
9QRc5z0bkdhKZQzBKt37PqMOZRny0FPLg2CGCGsxPdRLosTV0L+UvZf7DRnoYTuYG1jSMQv12Xu2
hTyVJWMTIrgIkaoLn/haTluXd6BY6FZSlzYrd3N5TFy6tFqDHW0M7XP6W7cSVBlQWOjgCST30YOG
a68MRcTv1rjmcy3xzPOMzG17dOuKrO48VSeml8dmq39Y61Qgn03w6sp3IyPz+DyVNqyogpupGgHU
bJ08AghU+ncPI45jkCGlM/JwaURYeHUckua3BtvsEFE9JuHIz55rDgR3zchjEeYboVmmzegTy0yS
r5jNyxhtDWYkGTDPMw5+2mOv8JkDBHGVe6CoGQNWr97ACEufy/FqJBaW4pa4By2rP3QgSPHmDpfM
YPTU9C6/ueqqgIDdH+4yvBqrcPy2JRw8hdBKWUhEi2aLiIPkoHWzeb9NqIJ04ilpmqPum8gzAdg7
eiSaDXSq+mB074r1ikNdneFd4ZGhQl/I6tBd2P8zzyIx4Z95Zn21Tlsju/O6pdL5cJUBmlHrXcB9
VGotj0qnmE8NTm0Gs7RdeqSiCUBtjGHOIInCXb2QZdCGSzI/os/fyUTcDINa0s4TiHfQkBrw/2Rw
EPOpso9UU7ei+b0BaG2n+lh18j2tAENvY8eifvEB+fIv3zmBFYvYA+ZLioTpeWWoeZoS72/ZLVcR
I1nV8qfJ/DKOu6dyGe88E4WPTNvnes3vNGPlph1J6xm7K8CacxWn8lzbM42wh3ko6c13PaYzszvl
N/t1teu2NaB9cmBbTHS4pHynhcxSpeI+NVZil0aDUbvlqMjodXkwNgB22uYEGbGeByRraP4ZEeDe
MW9qcXU6EmIUKJ9qnEBUGpXPplURONpyI6IBEH3vlSQ0xO+9hScT+uB7lthcwzqVx5Y/lGZMv7Wm
yT1fgAAZNVwr6pFh3b5BgKEECIZmDArfV71N4CQDxy5a0O6uKr+Grb/MbEYH/TL+LQeQaf1MUeLJ
4ocuW3Gu45c60/ak5T+V7TUXS2TvW3mo2EE0mt6fjflgr8y1Zi4+yrSOK0hr4wfYFUXQ5kYZVhkp
gw07tY7Ro91yaEze90BU31zzvILS/OqGjgjKdPupUsB3eQ23UaWupDHICfU29adEb0ci4D15KOIa
Kamr2V5y2s8cD+XqlK/7BYcorrifHMuKOBQCcp3l8IuQSQ/AHZJnLjrwrfOL2WVrVAB3VFLeIcnh
cFDZhQPmq6+Jn0k7LxKOi/5fuYARE868eiVnz6JAN+a3rtTgksESUCSAW+P4bjmU3kq0c2Q1ee6P
Pcy0JKYSskASM0fpZt7GgQTjrknPTiapw2MEuhj1q9vsl2UxqiDp6qBrCoomIyPAsK/e6hFtofDE
e1GWf7XcvKptfMuq5uc8ppVPEsvMd7uS6kMyAWtjXYq1QOjUGEu9ukgG33pd6Cj453wdv2qJ9t1+
2zMlj93RaTqduDfa6pprqjllW/Wl5HBHmHdxWGWiH1fWQf1ppYvKPPJwKdCbcBz0I8feeAZy/lC7
7huhz749aj+72NtCOOSs6/TDV11lP0078SKIOQgSzYkoGkTVs9MCmCCDsQpc2mp/WFQA1utht0Id
kFQvnUjwgzTlQRXaxejXI0jAMfRcKQ8zDYQ3l8ECeymIGyib1XnUq+nA5Y5QE7SpZvAFSbQ0kJfG
7JwQb0JMrsCOXsu/klTQwNwMfoRV+agWK5grBemDdGhkzT5kypwcBvbhcsEbaO0Eyr48L6n7JUfn
sthM54icIKmFTj80dWbxJCe2V2Oe/IIe6tBUMKBWW7/KODmviUFDAtUVJUbuCT7grEVxHRxaAkdj
am5o+fcsNTswNidlADz8XHh2jmwy1/QMlcILA6Bc6ttnoXSS3tOarUdJu+cAuwycsmecCKB5XNz2
uHWHunbBORaE77YlY/KCxl15FkAV+0vZtvQ5WQGAokiFjp1YkTYW70DrQBdmKQHXmXoc64l7h8Mn
FPTSR2A9e0DrDvqN1Zm6B+tnOUeuBoHKVIagpaGELX93msRsk7jomUyDUY8FQwdbvYkFf88Mtc7i
ZOL7J+qycIqXmvwZv5qbmYkUa5xpvcyRcONfYJ2kel8HZCBvoAhb+PSNdRB3S2I+E0Gko3bU3qHW
of0m+/GccIGHjdMFKndfipbE7AU/AUNCajK3zYPYaUllTR+GXo5+3Oth16c8WGnf+U6RQvzEFxTk
G+YWA7Y4oxkeytUwDo0xuLid3JF8JZRyS8YvDiNL1cg6QA58r7QaKWhBYeieZ2vug4KgEYwOw1+p
SGl1BomytY1Iitsp7ypwlDJP7tiVrgWARFwVq18Z9dlgTn0Bk31vLOIt6+YDtqCYYKvpi59sRDCZ
zsx6/9ySoJvGz7hEmSCpxdOCqbBYV5GNCUv5ozWM+3qd2Kb3NrbECMI6rFyXFblUOz4Xq0/ojdZP
RjvPeAbqYzsaL3P8itJW+Kv3DUde3pxUO+urqb3wgz4Vmnqr1fxNVk4oSBwdBd2kaBm7twNmIuxf
VSjzd2Dh68Fy+Rx5MiiOuvm4LOZdbzJwJ6PdOjQbAHAr1SL2/dVRH4tHQMY3TeXUn43k8XO+9Z7B
ZuPVfxgLxjeSE4Z6b6fYWmZX9EfrQcYcJQ4nXkL69JDUAMQ7HWSgwDF1MFS9T18AbMfGt8bZiB0D
3OkGqMhiwrAtuHYql3msTROcbt9TMgTEHezpJfzROwh4eTswQjd/DHHSAmw0boXb/2k5hQGdSlrO
DIxmMmpPcZb+zclLKgvpXup4OObT8EonZQMr4aQTz04OOpBxjdY396z5ekT1SPN1NlEenZSxmLir
2qpC9+s/jYntLdtNfGeyqqvSSZOtnPxYQusMdHVMV7Z0+M58PDdkMVmGCCzpJb5lI6myJsEwy1yZ
5QmDPtTrk2Bb5Bgxj0unUh0lsyvfHbyPwki+4U2/zZiqDK95t7HyJM73VqgqmAS+OaFdclU6Z7tR
P8wk/sIoslynLfdCz4T5b1ov2AUvsQIqk231M+RAebYyi+InTQefh47jhDPGFm+2lRVkU+QAGqG3
+BuTNegk1UvhLd/oqVqkWSaRuC5SteN+E76ohRDPWpw6JEms03IhISGJtGT8vWio4kjNt27/AXH4
pcihpHi44wIYFaRRJBpMYQXORpC75Ai5rRvq7tCctIaiVE3PI9kaB+btCX/CPCANrfPdiTSXZcyv
kP9jxvB7jg9WQ8ZbUb/bMnSxH/d2glWO97sB3UmmR39mJ4O4lHl7Nbc5Srr5nPH28CY7RQC0dj8J
kRQNa/ief9k97o01jaHSGbGMRp4qsmEOlWqpM+5BV+t+4qJ510JVB8MmgZqS8UkWnPkz162hG5SM
+bpGXU/fCD75hzenCxVNMZMB1ZMDhFYYV7UWlBk0rpL3pOvI221U/yxySz+kTmJg6hnFAevlGS0t
8RloPcSEMpWKWZoHtO9QzYlJ7+b5sXQY7N/Kdvq5CMYlNW6wAyYO41COJcb+toAlVHEqKsIH0tr7
si2MhEW9PVTlZtGwz3u6eEVeRvNLnzCAwIKMwHpnR5UMvj7WOWHEZAgIoMpVa9V3js4HIvi6AZ21
U9oHFy0LshiIk8wBM+KoL0cC19WG2AMUinNqkByv8DXvGV0e02ZBcmhwjlSxud2nFQ4muYAhzrcf
siPPF6BvXPUv05Tf51QCzjJnd7hQgsobnXOWUL6YNg2T1aXfGHPeKynu56xLGWM5ha+L8saHDy1V
xzLpemAGB49bxjPOkgPjQBPOTgedG+/jZcnejbRCEahRA2RCLtc0Hd1mqoLGnnt6JHnNpu4HYUVE
RaSnQiLGVUtzSrmvjsuakocSg4XWmPvzZMNaJsfukLbe73Kdb6wjx5BiBfsViv1HoqpdGWe+2Jqf
hAowlkzsc9PS8tcIxpbcI1bm5X3FB3BmiuMYzKfgV1hPZCocWvNVre/xnP7EAIF3AJ3VAGMfwJqO
tKoPmWmmd3P2K3alOqsVNQJLWa55z8AOknT3M4w8dznF3jlhOYn0Jg95dZXHbGC1YBqhWGfkGmEf
ZMlPEH3MFlOWpI9KJwpzxRODn4XCYbHGax4zPWkV/bQkrx0XbXIV9LAXkvxeJ6NNI3PscVelMlTk
mdHruodkqAJculRYMe7dwkQT2pjqsrkRHxgC7zflcAF066KQJWT31ZI2cm54WOM/TuEQybBQ0/c9
yN3iUNb28x5J4WNAosiL6xpQ9HmYm6fK+4GQt4dh6AxguD602BYPKIUUc0sDNHe0/nQi/epmnLPY
Ig7OjMJcDCMoWBNhvc+/E42JsyTKNsfvcJj5x+id88hoSHysQMzAAr5bevG3LJe3SlqVD8W381OB
haHwjOSCH/ZlMzWacD5tGyi/tlh4nROY8INBQ9bo3SGtrOoUG+jaSxVY6cwSYAP2CzKGFkpHY4TZ
gXnLTB63Uhz12egOq2Mz/563ixoc6RsQc3NwwVh/szrAnHQWhTfd6WtJLtLrrOukOcpxe6b43Z49
ksjSDsY0MxNSTOQKsnn/maToHkk8j0dhz7dlhHjt5CVfQPMMegI6XNTaJQBPw8hrnM6Zq35XXcxb
gpVvnj18ZoPw0TOwc3d4JhOtCSt3bKJFy4E3//SIaJeGgo1spu+zwpvaV+Uvw9kzzoq30sJbUhfr
bznJ69CUUbINNyjwbyau2HVZIq5DWMwjxdL4UYL4DeNYjoigXokWSW+SOd4Pkniepnplqtmjvoyl
8z1S8vvCTJljux8t2Uc+RTcjPQTMGce66vL2AtknGC3tucjyI7ljd1YhjxbyAixrFhMJT4rIc7xx
VC40UGcs3PixmdFwoPbpCTdj4JH5EeYa3WCW2wgEW/Nbsyt/7TE0t5ZLIHryvFmZCuKl8wJu+Z+L
JtO7WvOOreiGc1eY+0W0jzw6LLf2944oDmOVY+4uZj1KNfHutXxbWowH1oxplrP+UYzCicw9Y6pQ
dM2lwDo19l9inG8OfiNMeRgPCiEvIusJNmcZ9ECSx4m+oA5MA0k8KW9zWSJJjNIKO5d2qJ2Td/KF
GDExuplT69fS89Jqcg+qc5ygIF3jMmzN3zg341Nco/zkSjPDjVmnD1GuvOb22oTTOgZq4MjCJ0Zu
wXThjX8SLUPjtuLcaZmupUpDZXRt/aByySkN5GJl/y1CSqW7JZz3j2vFNcqgo1BC+AtpejFtbPo+
zNaFM+Nh1E3zwPDrj1VmH3G2yGM3WZdYTOfEwyeSOhaWWboc5HtUK6u/eOe5yrZrgm03MCfMXcuj
l/I0FjWK3eqxA6DLmbOEd+ow4aBEaS2knztYdOt4ekpaoquXvKpYls/caJVM1ezNn5TLLVnhGegt
TNFGrN/sGGPYiJzBqKVMGMJ3KTE3S/rO7hue7nz/jv45TC2x4mW0tAvBlifNkC/VzA2tVPG8snvl
1+vAR5OkRxYS0KCmS2aPmLlw67vw4ZiO7loqsRkGQw7reei782ri9HWJfqAn0HMSDqv2tGrpB+pJ
UBHelDTeJc9zctJyEOYNCwHMYJOzPRGyZe1+odvSD59Jlj1rZa+fK1zR2z47adJu8Tmt2elOqVjR
q9Ey1uJMbUb+XzWcku5l8bJo10pZrdsN0Ezo14JeNVkSC8cHHQsJA36jsntHi9Mg99Iv4RqMvqLS
dAC78RSVg/VHbDFx026KyFh+wmNAJCJnDxkbckdCTinxRwdT9OJeLM4xFol3wUd211pMoBuziqpN
PhP9Gi3CgzXbbG9yyLfAnYq/mUctXwOu973d4iPEa7uRGFImUQdtSHuLDZwPsYjFYW5K/RJnTF1K
LqW15UfCtLqLmlJLaReYq+nioTIowksKCwRyks51uPB4589LLFue0hYv4nTBtMe6mlllgVIS9bwQ
t8JDkMu2NwEORFZIFy52QcMZw56y++Cukjwru7ovG+sn1RlnFEXghWppfkoLTPJEDJwYO06H0Z32
JBwzxCT93ZNgEWkMDJONIjzNfuCYrHlpbRrfmnEQFlIapY0VwXq9pNKOJiGSg6pQlHle/uoJB4Pb
ms85bhS64+905uoxaywyekOLWzbqq9d0rjST7NKNzK10M0ZSSFGsV26GeMzGYNN2/5oBsAL/NtGN
31ptnjtPhjNxfQcx1FEzLIzonDaSk/ZryKmVRwIXNUZ0/S6TsKt06gUZHo4s60OcL2nopAbRDVl/
NyxaKAQeJL1OF7/RI8cooHED2+cIxqoy2D/nMnPCzfu7NL19E3hc9Q4vR5FWRkRQ35C+jcSqtNy7
LIVXwahtvx0Je9JJv9Uur5O0jNruG1McX7a2f2O/A5W0OZLC/qFct7r8c/fs/7SF99pU/O/fF+v+
517d/76o9/9w/Q54F7vJLM797zt4V2TDqfmfK3j/9Yv+tYcnjH9I+KMevYoB3J305//cwxP6P3Qa
Ssh0tvOfy3Y1Ftd92c78Bz2lLsEaosUZKML/vYf3r6/Hv9NdCYoN1Oj/YQ/PkNa/7b4KA+qmMA2P
TlruLJh/W7wdOOyJz6TEMyv3j0lDc1d1/f1IOMSPUeAq29rvrcLu63k3bvvuAn95fUrcQieYh2Qm
dkHZSsE8Meg7bmmSgd7SCLtK8/PFVMesznoa1u13ZTnlm7Tudh0mGOPy3Mr7WaDW1s2NEb/zUVXi
Nu27T6JvG5r+dDwcHQRXRkiIjBPvr6G/21Vc3uUEXZ8Jdv3JBzSyYyXYC2z5zxkqhlpJA1P3VH2W
SwbsP/9SdKy1sbUX9SkpCYupEXQybNWPHuuShq/ce9SRbDgxteRgeOJJR7XD4M52n0iJSzP0dGQX
HrJFftpKEuBpl18s8HEPhst0B//ew1AStZMTEDgVPygQWCBYyInGZc4v0kmHx4q/ZoRhNOWURtz6
FF/kpRaufUUZ8B6EMZ23obOOSicKws1oOrzJCw17UedkzjnMt1jeyjncMHsxc9jl4ZhpzIwut7ZT
eWIQ9ofZdWiw+Bm5E4NI6jwOD7P4CZbDCfn4DrQAgvQnORgdn2n2NmuNQysWo3yWgH8Eu1KZgwDt
1Bp6wXjVxvLYTOqtH50b6QQUS3Jiy4gRT9d697t2RnigPOcLImrJ42PXw4lMkox9HnsJHYeRvJCD
TbpstqvmjPyZZuOxp24HFMUCV05TEe6+nY38vUNWYQVmiEhT3HaBNblIHBYe0C1mFDQ3L2b/IuSc
oa3TtnKxfcC7x7xhho7JDL+S5dPKGMVEMiQQj+3qgUttafEvVs/xOF/inqGdJvGnzmw14LoHK5E2
+LdThKbUnoPKlb/IapojU9l6EFNVcm/4q5yfhuy51SqfuOyT15REJG2BEmmom2UASvZYmG1Ua1lg
T9od0RrnNWPHQCEZFO1HnSwvRVZdyDA+903zqJU30rofurZ78Gz8pDHO4IwpyKpHTeyeGlle2ma6
dzs32sb6YlBBNDYRH8zUSuZDehuBZrbrC2uFp9bF+JBsgcWQtETKkAMKenmX6uTOUC3V/Ws8/Sbc
LUisIRIz413nZ6q318YCUNK4JzJF6Z82UobzOzMdg24w6Mab29ylz1Na39yhfdC3PHIaI1q94t1e
6tBu+qDMxbdb78aX/G4hHDrLeZFn0kca1JIqP7gsfiaxFWBDuyZ4c/IpvkzlfC5SdQb9fdDj5Ydu
Vhe78e6TQlyxXR11uw5Uv5y2zj03JqsqSxZZU3438D3t1t5G5/cjnmpKP5YK8Xyxj2Sh4DrTo1XH
X1CtJ69or2DSyXA9sah52v8RsTzHcdQfmbn4RksIX69Ogk+LyaHvdG9rbB+hHjCCcE9qXP3MTO9b
4z+YO4/lxpU2Td9L79EBD+SiN/SeFCnK1AYhValgMuE9rr4fnO6JmX8iZjGbiVmcqKojiSKBBJDf
a/uTHw8v8/9PTedqaPHLaIt9EWgb3/xszXFjKZ7crbWuYIfmP9Mad2KRHxKIc5PSwiqKvwwB0tbM
ql/2cPw/21uZaAlxjgEBm8za9HFnlA6xBcPztpCUOotuPaiNdi2w1BlURDtir1EcHsYj1kpKADjT
+RBu+ijfbebDkQQTuIm3E1YBrUOnzaFQxU7E2VnqnIwxujTBF6KWQ+J14CYTu+4zDXVLGyEybc37
RP5iC8iZNTAPOR/zu3R9hORtvY1se4NgCPmNtbb1eJ01e60UPw4aOszUWzGkZ8vZlxPSmVIcosHb
W9+d3bA1kwcvS9+l8B5shlbxGK7ZkeLn6TdC2Ghsu7e4d1eVNu2oQsP6sGnT5OQbMzOX7vN0WA+p
TUsHAH3qnrShW0Pkbu2kWnkgUzFNgVED60HRcjIghuAwmUW+rKdz5lJmR4aI34l9qGZqGYOR7Z7K
CdMHr2LFL27cfM5LeT7mFraGvrh59n0YxcLpo7XKNrSKl3q9lNHDCMTW8kmHTayrNIprZnuMxD4l
U+k56oLdZF9tm02VFr2Eh1FER8CsDc1Zp6lLb2MsXxzPvGrM51OV45rDtj1+o6EFNbXwB2zdMbyE
OOL0Uu3tTltjTKZ1Xq26JsDSh3nF5fYHRlKm9DIgSkEaaYGfEa2wbU3tzH/L3F53B5qkFrxVrBi0
fFpst7tNWmBD9qdtEGvrIpxQOlqr+UY8/7uN66XD01qrGEt0d5/DR+Vcj/RZU5OrzjxQN6N5ElD8
HoO+l8h/vsy2dEkZLpe+fjYldQpNfKuC/hEOHBh2tbjozIzeaELXhsRZCZHuHctjHFya7JxdNR40
HSa1HH4jV18adXxxevMaGeGbldAQLgu09VF1R+4BnbyNem1DV9NiXlTRSFMvVH1ktk/FlBdI9yRq
b+9zvBw3XndIeVEgLg2PMcDiPk1Tuc1sR9vxt6G50MiuOKOnP1ns0Anl3avivYSZ6kdtLcL0Bg17
quvhVc9HwAWGTP3Y+Zty3u/Lbw2jddEUn5o33KaL31KslNsHiYFDzvO8/akZ0UseyVuTFp+gD9u+
Z9+h4ns9u7zH2t5wrzvYqwKrhian84RtQx+6Nz3375FOeVFOk2XIkjGIjcSbI0bqxhCS2Wf+5glO
p67R2KWtbfpS2+iP1nCT9QGJgdHSYj3of5RNdgI2WYvbrS03uOpre1z5NXugNloHSN1oyEKgtwbn
3TuUCOpdtUpGkuOCbI8U/tAn5rWaEDC41BtBJBoJN2rMFCkCL0o0j7MAUUYTTx4c9Nca66LGRQ2A
QzZ7V6/S2N1Iw1pLCHlzafpiX43+TjTGGY3rTqjgMDrJtmr9fW1YmxjZUoS1v9/Md+ZQw9AJHNPy
kXJ4RWU+OSiL+QiYaIgyWk9QH+46Or777oUImhWYFv22uL4h5+bxO5n1KlW2jpJwg04V7S9B+Pz/
yE2WXRMifRFLbTxb1tZHhzGvAqP+mfHfGkVErgXreeX4p0D8KWaDM2fBc4z50oQXyw6jK37mN6P8
4piE3sr/HNurbj/6KNuVA5IFuqaSoEV1owH5CvlRfUcqvUkreRnLiYp6Ub86itcsoP7z5tGkzdOM
tBcbE77X/XZcDY++RTOY2MZqlkpB4wL8hT/z+k4zeUu74kqm83vg3Gjj3PaQT10yvnhtfJcC3Nl3
vmlCdzt5CQr6izuBtgIjQ5IeDBGeOnfrTN7eC6JtgYS5NAAukpjyOP1Qq/KQ5t4OI8CVPGl24oC7
aGKSdAXKZ5DjS7vKwtXDZzCgonKQ37H08pDCdiM5ZePbRPilgSyThu61YeKiZFPS4hSgh+jhhDyD
3fAEpbhwJntJsyLxoP4idWZ92p2KbYrK/tDXDBvLydePBXsRwyG/PXFOUd6c2pp9zcm0lurCU1Zm
Ctu7dbVohxx5y2N10srpnCvnhLV+lWXqluB742oElhwYhYcVVjNzOd8gJjwJfTrstcY+2UkDWJWR
sTftfC6gCcuXKJBTAhmDAmPkBaqb/P6glwMtmvnOL9WH5no7D/GXCy1BZ+2dghUnN2Ao/K0l/ZME
gtXs7tUgc2E+ziMkRKauTd9d6WD6cavhbbSzb4zMry7V5EqjWDkx/gzZR9nkN9tjJUZFetacikAQ
+wq1QLCEG74VsbeNsQAQ1Pe7FinWGHYYffJSTnJPHh/WyxFSKTrBBxztrN/rk3jVYg4CO3zsLQtL
C7fNpG1HswFI4cmIXbXthrMm2KWCIbAgm7JHakKGlKXdu1Gu7NTZGEH45tVQFH0d3kxIi7aof9tV
9u0ma8ss76btfjph9PTzJwDJw802tqtBckOmiqp91i4mxmgzcgtVfLkiKIFNbXeZH4RQu89gNSAF
d+hAbtvgWTX8xOB+lrX7aUX6u8TbM4bha9HXj8APL457qJT5ggj8w8rTW+f8iu3uFJfhPZr0P2H/
GrkgSIJqTBG8OVb4ZqbZty3sdWPMah/oP9m2j/kLQ98+mT6KTLL9PIT1cA/U+MzENen9kxmrm56k
H8DNjzItzk0xviBGVXV6hqa/cLSeSZ/eDLu92FN0z/zhMXrDNTP/jrn2RGo3VS/lu2XJX30pvwFH
t1QaLgd0753OJSPD1/nJNb/P+VMIHd2S5hzmt9Xn48ENfzomC63pXsukR8wX3x2I08FOt/OPZXr7
nH9MjsGzASV3tPo8JpxLoPNK2Z+EudxCFlHQuZ+RM71bfXNnx/xRqOpBcPUxA/GtNBotStoey/ZS
1c3TG5onmplba2MjKGKWufbi9s2jk+qWW8a3PjaUud/MaDji2bhEGbaN9nWIp3d0KZehULSs+5+1
PKFo241m/54GwcNkG4EhnZ3074YJUHb5L5xQa7K6sQl+KHBADcAK8czDc4B7PfUt7Pom1LoMtZey
cj4ZnR9ZrT1TKEKrvc2LwlbBM/H9z/k0amn7Og3DS0W9t9nfRju+IbnlzQ0v81twPO3ZwYUW1Ze0
8d2L9tG17oWr+Wn67R1E/IX+ykOkI9Dla0JJnqrgc6q7+5SpelV4t0YWVmFeQ9Xfywq9Yf2burhz
32R72+kB1NxPKlhRaELUmGP4Frjqo5+p9Dg+ddbwrtn9c6iNI2f27uXbICjPUVBfUM6zEfRRJ9cX
szUIHInOoXbWTIf4G3M1v/E21R5JGZyNOHybP5SKIG6MX1ERnnr/no7JrUrDt6RJD33cPuDBC8M4
Fql4/PP6lbgAQXum+aw5kfNJnrwAcUF/M1jZw1Rfeu83srvz/KuCybkUoXGb4vC9GLQnIqmLId6j
juu+bxB/8GDRw3tVp7e8Ce9p75yrFpFl9l/LpvSDBwKwi01gkl/1d41PMNSb5KIuYYYXn8+LzHKf
octkrPqcvzWMppvmaE9daxYYUg9NHd3xlN50E0MAtaGj3LjoghVVTuvaryCp85VpZGc3e4r6xujg
+815FNf5gxl4usPbvDW1xit2mqJ68pDo1SYs1KGPADOCq2w+cnMVcZUF+JQi7TGfgCEKn6pEJdnc
DRcfY+psVch4Z/AeO+/SGtqLp8Rj1gtFwLfg9heP+9YQje+SK1JLQIYVW+0MwUqo3yy3PU+QEFJ/
T7lAe7wrAXfQCsZfk1CswUuYTc+enUFp1A/f906szT3a1OW8+OYVhXL1UjnNW9JH9/mKau3gJs5G
ln8GlmQ3eChGJMrBg8zYh6fUzez69/ndj2OyCfQKSMe4zl+PJv8RpgZl4/nFyea4kqdXhGu9dlY+
WUCZP70Lk3gfAgrQjD0tQ7+NTfPw0dU1urdOreFhW9VrK1lj2vjuWw313s66jDkKhtR+jfpICE65
8mwCTst0OV+lKOmQ3nb3JAiXaaofNbu5N38rJV6mIvpoaG0PsHX1qyJqVlYuv0Vc/+obHTaZKYaW
RyPAETS+m0AvhtxnCQUSNfNqqHxEcxQQ+/pNK5vn/J4iz/u0JaMoyIzvlU/XDB7zZ5xXdouayhLj
Yb5WHcJsGmkestrjc/bPeuSRiaQnz7VH5ruXzKTSkzhBVR7JtLolLHFrkLd6SG9lk57tylo1s/Mh
nteA8T4f3cjrb45IP4q8fc4OIrvvAY3kP/8GtJkW7ISxXJbvcVWdDTXtIvkxAezw0EN26QZnfSAn
8U+dlGuHvTmxJUdcLRdf5nQxIHAUY/G7YvujDPPoNYiBy7y4ApzuisHbWYCKUbUOKuSNbFCHxl41
nY1BoVtnXrr85wqQ0da2gTxlt8kxUOnmWy5Z1uwH50UzhRHVI90ayxliZ/Fq++yrzfHoBO9ULJtN
e/Ea7Vfa8lgI9e38Z+vPrj25omh6nREv0kXcvr1xp+wUk+ChR5QtbdJTLG8/zFEAZr6PnX6nwczP
t07YvLWW3Ap85yI5+t3fNk3PBayHnMZFozknWLxjbF9HC1WD3mQH/KIFknH2NbE4lAZvG0t+wxY4
H5qLC/00s2KcFTCR8ELo23rMbPxS2haT+y7u3E2X5UeRsO31QYw6dLQmTa7+bn45Lr9VE9oru48v
s2GHree2IHOBxI5br2eHuPiwMhAId9UN1coPiq0N7OQWn5H9OuiM9dFyPs5lSW94dEyreGtU6Dl6
4CxWnQPcOB+tRue0qOnQiGyXetUpMMSGpxT5dFOfklJGuAUSUj9MudE1p7Ix17R3vs4/yX0qLIcd
vx+PImEioKB4G1zY44bw/IRxCjnjqtbjbW+WqyIMN1JBC1nwtSNtDfIyH5PeFVu9z3cEayxcJ1gj
ADvIWlsrXD1SBodBYA2TJ11xM9VQ/2p/g4z65Vz9YAcd1tJI0bZh6NTr7l3rBuOUpzHyA3c4R94p
kd0hadBByhbTbJuW32aCwSJBEqNaexGjW0Npqr/Hw7BusX/FotEXrEWAfHlMi0JfVAmFyPBkmClL
4p1yWdB7nr86gfgxpqhcW3XtrkD8CHhyXhzSZ3ZJIh5tET7qYBMISWZZ7VgrdjxbJ5TtOsjzVaJn
/YqcFgRylvMa1P21lu3fFjHPKls3PjkCMu2RINmMuWOOjL9VyLRQg+YmPpFJN79jdOVmHv8iK+4R
1skuN9ZaJM4qByIyGhRUpJV1lnHRC+/SEHOzLJTWYgnxd3JilkY7K3lVxIK29UfVyd+QESEc9rZS
9dG5RQlpAx6xM2gLSR6hcph8FP3dm9qPspPvse7Ua6f59N0yPfezsbFxHonU9GVBBMGmSnDseJrc
Ye4CV7X09UTOoJ2J5tojVc6w4i1V0WPGJJCD2/HaHnxtQ9xDhnHUPeaGmoM5ABJMzV9RNw29Yek+
woVkZSFTKQeXBuOAb8Ic9+FM2SOue/rsTTzxgQWiEQ2/7axApIGHcWGWcjsGFT78ENV/kah0dhZT
RaCRy1aBwKfaiNM9RJ+e+t2+pIJykbrYI3vyUgRd1SmAwhQVE5FynL0J2W3lNl+93T7x/m3tANu4
yxi6MJ5un2OwDv558ELGW3OcleO9igLduQbdDUorVm6EjjfmVC/z8WG6RPnlZXkx6vEPde3oTcti
WzsxWzMLjDC11R9WJcqRkUpLnl/YwJqlq6a/lTE+tQGDT/mZGbJcRXZtLSxfO7Rd26zStBEL4imW
dY/YoZPn2CHn2g8Q9Py/pUn/hUzd/uSXr/Sn/t8Z1/8PuVTTo4/h/8yjnvOs+cl+wupfuNR/fui/
eVT93y3foCPAoCOQmhwY0R559X/8G0GntmO6jq57Ol1mNpGl/5NFdWwdxpKYU5e/mFCf/yPN1Ph3
9CRILTzDwjDkue7/HYv6T9Xx/5J+bxq+ZdkCptbmnXiswn9NEA4g5VRsKPSDMnmgpj4VgzzqWbcq
9PduQC3guWdqi1HouG+YSXZ+VLwI5WDn2MQmVFfnEkBogQG4pn4lo24GuPR8SVbVUurZUy/KLaVc
GS48EGUft4Bsn77UnDW3tWyhtPjd56mN4ItAlDx5Ni2m9L6ZhZtjdpm0OTNxsh+tgSFHlCSQwPa1
OBb7I1mWz1JZ+9QtKY1H0hGlyQeYpr9sO33VO/LmMml1dfoDgj9xF5lmB5c4yQmraRrn29jNvxTl
0gj7kFwgKyCyLVo6ooDS8/PPjObrWN4TgvhnYncOaAgOPBkJEZX+J9q3L7uqj7KrPtwue9Rqh+zs
M4zG19wUDXljuBpVkIRYypLuMwphRkkYWoVlh1bWxeBbE8txVHH6HjZZ8KaXAdKjrB3YRcERlWlT
n2FKix227sdICRHRAK9RLH9pVYZOH8WurD5DEZLeoOlU9nDfn1M1wdNf7THWFi0y2oWYOiTjifFi
j+ZzHMjAHFBhL7q6xrIW9isY/n3QEqwxGQEp3OmABIpYEVIcLMjsDuywERBRIrgbxYQ+2nqz3G/P
TQY218riqVYsh7xoODFYAqao9lcGkwffZWAWwDiOlUHCnsYTBjxlYdGs1MbgAbBMx+AOzvdFryrP
05pclQGaFiw4Qw8MTDwMmxhiLRiRueEn/h1N7y7RIaRc3uJZUO/3BvJ/Ofyx+uBYN5MkpZBwMtdB
LRlDS3W1IfZWTvqUq6+U/YMghrSGNHhHUXVGtrKp0zZfmJEkamv6QHB8gGpUy1G9p4Sj8qI5JIMM
95H91zEk9Xsyz3YTFs+IHVGoq2bTeuLLc9Mz7jfQ8OBtqGW11N0GBYt1FQ365V6ntlIEf8g9qRDm
hYp9b/Msh2zBvMhjSBWY5KzsY6pRMEbDK8GupAGJC9bbd2SMO19Pd3gTiKsNvixlXYBnn65dnEVi
lAcrwbqHEn03727ajBGuHs392FgAk9XenMKrpZBqBa7xu8M1PhjZJ7BguVAY2YhkIiGnDkmcco4F
gKFvEriV5umXTTqW6NQyreHEwpp4I10DjOHNdGp6FFFyIBOYwKcC0XKWYbIf3V+0xd8qydGM7cIi
3NL/7ln/6wbeIQEQr2q1LkR/NCQe1gCpp6DKeYgXMsbok+UDykIdHRsqKSDtsjSwD3lHIuyOdrw0
KlzStH4Krh2C/N4tlMAYED8rU/sbzi8SswMdIrXtarpQGeJzHcF1QrJgTCIZ2X7uzXDzhpgOFnYt
3T+S3CI7K5cxrmgtha0eu4cc+RjmhEuEQzUyW4IFLUiWPgDlyGX8zsFrUhxuM/+CCGJvDN63QM6n
MoL/iLHcaJX5hc1JrUTRGcueed/svdeCGBOjZ1VLwRpH+XQgvY1PV18J23t3czoS8nOKDRZnnI41
xNGHjd+Fm4YdMfJmhOpsM9gpwwRt0WpcbHnJ2UcX7KcV++qS/bU9MQd4yXa0kHJY9nqmNjh9aMFA
iSaEXyGTzJx9PO6gDGeCt07CZ4zUpIi7E/PmwtaCpamBHMOrdF60NN8CP9ikQ3Pist5FFvr7yWEj
QnJ0b6/9mVvrnJWDedYck20/xUfXeEHWRqME+Lh2NeTTtT5te9zJrNp6LUYtwWbQXRGqOzDDjMwy
JTNN5mzJOCCsi1mnZeaJmH0yZqBZSdAxE+nd3mZCCpiU8KgeEyYnRoKdPU9STFQNk9V8TFomrTBy
Vx6TV8EE1jKJBUxkmFm288vNZFQ4MycGs9s0D3GJfW2Z6VpmO+QwC8jlRcfMJzo0tEcqrFahvBVM
hTbTIZf5KmFaxI21H5keBVOkYpqkTGvhdYfIyVgD+q5KaBaBUPeLcDNFtPBwtAJ/2JO+s53/7DRa
ePL+osGD1h9dqR/D2WIehk8d9D9FnKNRX8/0/UAGsw1bd+sn72TZnPAQbObjOrPzQzMSs8ieGf/d
0GJfnMESAv4E07bO1G1G15wZPJhncWZydx7OJVN6ybTuM7VH8/juMccnzPMRcz26ry3EFGlVf6Zh
CyxzLmcQYAQNCOWHPmMDYAQld6IZMvBn8CAHVcgt9WGBKliq+TX/u5I5QOl4I0DgGrjWewF4wVnB
5mqhykjPDWiFDWoxA3QNKEYFmiEYl8E2cjCOsI1eMWIua6ZRvRifXiYuhWkdhAUYB8RUdfohJdMg
Avodhu45+uGr5CaqrGGVN1AjJSZGcJVq6p6aZ94Y0k6h5y9qNz9PIbyRTDCrOtBHxrsOhmMO3xWI
Tgey44PwNCOQbkBkFoHZoRG+DJvOTPBvzFlOC8/D3OQaRw1CfrSGu8VraF3wsICUiBW5OL9nkcAs
OjDwntPNgIwCjpHMdMuw2c+8ZKJieoQOrO2lLce9KPQd+TsbKxQnV/XnMT3YfrI16/beWTFqXC5p
CG7dxn7l61us9y9JIQ5T0t3nrKpChG8izNZu08MBA6kZpHvJnEmfWExo2C7a5Jx6fcp+9E8f1bJK
YAIKD+/v+GXb/V01l7hovjQZvc+cSMW4t+hj/ZbqH1FB6FBzLLUMBrTB5rnKzyHsHI/qOymw76Of
vMzXDAbylZuTVceyS8P8GOnGrbRm8ct0JI8mth5Nw4bDNc6+Z36rktFqoLEhmU5FgfoXvbgU6pDa
WAYINEZhIkLt1FvZOc7RYs+EEZk0J4Ecx2BxRz1MRT3uKtBBG0l31dWXZNI/8p5AqS+ClprpHJjc
YYGb5uEqbXHr9OuSg9KM2n0sxnOlTwe79EFOAQIcwnvCND+WXnZuPZa1F4dXDDNz9FS0JPHsr1TB
r1J9+1a3QSxG6CBoKvoVWHG7fdRagg9+Ih082PdmosMTenuNPFLo84oo6bayvolV3crEfG0ijc/E
NRd02KzcBF0tD8fJbu9xhC+gJOZhCLVpGdoWLqlZ4p9GDSIv+V0Wzx5e1cizg+v2V27jk4s+0GHb
4ZnrOJAfYSR2IVnGdCOv66I+1bR6pl9WXxurmX4xqvgeY/0cKeBJQDLCiKMXib0Ozj9J6yhFddEM
/zJO8tbnLjTjg8fYKY2HJwGbJGhxumcNlvOYuQwFvZG73XNGz8n94e7ydwaoe8NYjUoj79k7icR7
zrjujE533rAnLnU5g54JOG8kAE395NaaamNH0z4w2bIl6W1mtypoVjmGFwWFv8xq8kKL4jfDir6P
S/Orj9lCOk1B73Cp2HJIYhxezQDXeJoG2L4TNO9hdFIM3ijbXyqbgIw5djVN5LluX/p2h5buTzSW
2ZqeMndJtjjJ1tLe5AGP4bp0Ng0WxyEZxmNjBXuj9s5VP3CkJhQH7hnAepeFzguSL5M7H8xxGcwZ
xsV9cKqRTYdJeZOBESPCtZ7gMmTPrbMEMOOIeNpVWWmir2Gvow3xwcWbKInCU2PZstfxsLHULbm1
lU/MQ4MPSStPQ0cQnnArjYBcsk+qMVh0TomWXvanrMe/ExTIxqzCMvCsWvwCidkhOxFQdzLyuFvl
PVmRk0OUZ/nZYnCp09FaOMBhaA2eGOEUJBL0eByiUg9FsHR0tYMjgv/Mzvgm/S2RQZcs9xEoTa6/
cSJwJpJMi5QYV0KsV7oWVCcEq4vIii+EtxYbkssJojIqGDfQHAavdefxQG7mNOkoBoOYjO4LR/gm
ttij6y77nAaSBW/sgmzrdllId52bNGtn8MWOs7U6e4vfILs0kos16trPihx+XFHVtKV/BuLdH3d+
jopi0ssv0Su2FULhjPJR5jnLKEU/MvBQV1jtdjQ6bAavm+EXLB1Y20P1bVqxuZ5G3SAypuBiJHqx
fEsC66/RRT86Fo0V5q4FcpCWG1/POOR4twlr0yIHMN5oJCWdZBNmp6TCr9/73KWSaZq1bUW3bJq/
sU1kThWVE8gXylk+yUB4gofkvcBOCd+cc36hJLy+RnrqAqUOeDYZSpD9lfjQTWMkx5EEDsAb5lyM
nO6mdtolBnMkjgM0nz2qXVE5mMGDlP2Mh0R3ygqyuVHcJnRvHEvLfFUdHkuLz0qkRbkmgbg/xcbd
xVb8zOuE/bM7kFiK5mudJ0a1cVLYrFGzSD0oyUMZA9JG02zUofGnZpmKb61gKVqW+0O6/VH5dX3w
axfGPrV8ljr2GddmLWpZj8ea7cCCYAfWUDi+IAkNViFxUchq42Gl94RE9XLPSQjwzNX9OuayMTyp
TsXc5gXtAkEuqPZBveIbExWKhF/vSGDf426kIMR4ESlZto5PMCBp2MxLBoOeDJ9TB5pgkeKY9il5
pkIwPJr45v0m4GrUm60+I2lMhNYtiYBBLS3eNY5d74NqL82JqYobUCqucghTbrigrb6bkQdAfEAK
A4PQjzzzPvtqO0LOJphuj8cp516lK/Kdz+wr/xJ2awQGpkU/7t6r1ntzC+sHe2z0ZVM75QeC3gpM
O83QEhMcMKCWBk97b8idUy/JQ1Ei/uGeSjHBKFFHxDjR2j15R/6hIpv1UKHh+6+/YX9o94aRsQP0
Y06/rjYNiSwP4hgXTdvTZEEky6nTQANEoo3HdMxulhVZLJIB7mnGVch46t6crNrgtzJZJCGG31p2
j0Td3NQ3SRkvR+yW+XehUufhiYtDYkUpSFVwXflbIybkDTkCjtDqGrE2D91A9UE46s6dpr0SRWuo
X6WgNqIUVkkehpPcQbTQr4zuIh6t6oR6ea421H+HU+qutITNR26m5GBh1EqjRBzHCcM7iQubKY+s
M/aS/s7EdRirNNgD/U4koeDZE5g0k7B8aohOXnzzZ/Im7YWXJhiCe8aOSJIS0IfJxrVK3E/ZPcLn
CMC6VV70OxNKfDqO8WY1w/BTmtOy7qY310r24xQv3TlCoBOKvIE+OGSl3OmWeYwjgR/dThd1Xv9y
eTjkscYufVvqCuI7/WGvA52Q/sJH+VbY8YHLe5PX0zY3yUbGfPrSE43TVPD5tTrLrjuP2D6J9HBQ
6yCaLDzy8Q6+m0K01eK11kYKr9Jwk3pwLJaD1gx7Dsmc5NXlFS+gJ1unOYRMDAs3GLOtU2i/A087
xG5xF0kNY6HcJUJ0fnerVuS5zJEhIcGtJHIvCIXCdmpNUEM1W8523aXjyRFcNRO3lGUb+STfi52L
SdPfkJP9VxP5L3+w3pGsImYtVfeH1Ow/VVF98OBY25mzD22P1Ej1UKjfxuDXGJC+ZQAmGSm4gzaG
vKoZvgbTcNWCDNeSOoXUNqycvH/VgBdgDElmUGiWOmM8E9z/nTrm1nSmdZyL+a6ydYkvOQNGrYMs
OOiO/l7WW7op/la+dbE9LI+9cSCo709rJ2dyBPeehjEXedCdu8kO0+uvMBl0+h18Fi+YiKiivz0S
hwUP1ReyBl7nPy0sZ0S135V6sfP427XYvrHvOVfBnMNWGvqCxBYMzDGlF5461U7Nbmk7OQtrGDcp
s6ejg3UW30XBd3lZ9YHfzDcq+Pbs1LTeK0DMQ2jepjfsbdWIs+9c056rRiROvUir8C/uh3qVJL/z
3t4qN8MMMk1vDqEs1EiwenL1S+XNziR2H+0/YGoywl5X0bc5OfsYfhfLsPwVDj1xPubFmHgXeUby
chSMpBSl+xRb/0roKAsAdqbMJ16dY5KlimyHrHvVdEIjdLNAGRZH0aqrTSxao1xbE+79uCy3lUe2
n26wK7YVimtBI0L8wIb3HLt/ssrZ1HAy+hhhZqK+LRWs50/qiewm4+pRpRXesGpHmO8fY0Scwslf
ygwmw7OZ2AE6Tf91qLRDx6FqYcnxY7sbj9h9vEzfRqQdu5RsUKN7IYhsMllzwiSSVVu7PYhUnaYn
IAKCNfhIYxF9972zVub41+M7up5jkzkkudfRPjfg/Pi7jywj9ZOldx0RqJfjIavcF91PufFggoka
vCOwKTs7zZjk/C8kqj1y2EUTY7tsCnaKJNL1NNc4gjg7BBZZSy2T416arDrI1l9V4Uw7xiWJdM6e
LJpLonmI5OWL9K2d0bhrkb5aXM++Py1aO18iayJJBS2rxW/us+zWOLzrALwDHyqVgip8Rajc5D3K
aU8j+8jZUymCHZfU1CgjYtEDDxapu68zVqriLmn12Jrke9Okj8BWwN3DdarKj1BnlWVa+shzi9xJ
m81sM2P9PmxmyMEh31+RKeG9VgnDyaDIGxCli0lmTQ8T8uSB91cM7l66zGB5cdD84duL2T802myZ
5WfiwqCBzP6N92ZDn9IM5y7K0SfFNjtZRJY1QVUS4MKxcvHgx5J+DEapMSIlzBmcS1U0H2Mt/7pa
B4ltZW+Drq7gaWhX8SAcekP+NT3CC7TuXHLg60j9tZoMWswVhOAn2MJ5y2PLfUZzdiXZNmSy/FC+
BgVQZjfPj77r7xRduKHRcgPAG2nxN2bES2yptd1Mb8Z/sndey3HrWNu+Ik6RIMFwKnUOaiUr+ITl
sM2cM6/+fwh5LFszs3d95/+BUUQgW+4mCWCtNwh0A1HArcWrjv5hweSAFM8h0Mj7d/nnKBB3ZODW
AZG6SnKfTnbytWl4u5rQdo9Fy0tgiMxDishxCQw6xsMKUPN0T7gB8GV66nv7pvPzh1pYd8yHDxCe
913XbVKkdfOZd5pefHHhFtXc0+NMmiVuqxdf76Itsj5ffxQac/nMpsDSDlMi7pD73qS6hipEzncf
NOLOtewRvR7cNebu1XGfqmcjh4ResOWAUFqsWK6k5BCi72k3bnupIcYk96kfHOupfInn4cmqHUBa
GmYB7NNH12GbYha3JjtJOxqgw4E4i2Ay8GW0BEIRkuFvxQ1qjOuStZxc1+38MDf5g9Xh8FRga1Xw
iCPcCL7lW99y905jejIBdHZjf1050bkFAhz1pJ9lFH0lyptBQLxyzOGpD7/ZXZ1snIaXsTnYj/h3
HH2j2QOdX2AriCRrVXUlTeY1afQn7XGarJsC5lUf2qRSgRdE9vZLAHcOE6FdRSjCTeanokC/3Lf3
yy1biODrNBs4kTBdjrK/dtGdKOH5laa9LwP3MaotoMzWNvJbyIRyN+Tijnc86wGcEVBE3iN9spJB
cWtkBG51LhUFOCGE5nYCC2YPKDlbNe/5MZieWQ7zTNp4kXbNy1iZ3xHYIp1WcfeikNznzn0k5tte
Q1Kvz9yUrBCcoRbhnADFAu6AvEKxVuMPle7yoraiaJ0QR7yyiO8QyWKDZSBvkV8QbMWko09OdWw/
2ovqdwcZj8VTiGwn8ibBnKAxMgJcbiB+y8Jvbnt4ckFTXCdliV4KLjqrLjFXjUdUp+fZXMcpInAY
b8HVMJK//n9+WRlu/oNVpkfe93+nl7d18Veefsm//2mXuZz0ll7WDONfaFJZAqt5IAa6aeBH+ZZg
JuT5L8fUdcO1DQma0pZQZH+mmF3zX9IxHR0BUB0WL0nmXylm6f3LcQ3DXYAjrmU68v+SYfaW/PF7
flkKg5wV0gBcyNIxkbU/ONQWdjt5OkmZszu/YoNSHafSLI9onZD01dgB5lVFhF41qkKfInaW6jDM
u/L4fo5qG5az30ero9K2N6JpCZT0fbkr9JH40Ajq6MpsgXW/HTbZrB/jnC12ElQQTlRVK9ENREgW
Z4Gl/tvh20mp7WCLLv1qxdon3tgpLyBXRxdAFVKGkP/VYVYhwXIlYHlkSTrheFnoBTqKoCg1TLmu
S6wcV2ogCrxTcUBgVOxFaO8+XqfNB8mHgTC35wyZzBpk6cTfe93jFHaKbBCWLokNVVOFwJ2gvXrr
LcsOfuqADY+W/hyoL7WydulQY/AN2HTYnhxlOU0wYW1Izf1ZD8hsdnNcfvat+IIsRviIuKB9dJwi
WLWNUXy2u/Gzg77mfesiHD1q/oCmd58dtYEtKmAAL8qyo2pJAOm88fPfrGdv3+6V3y1XuZn/4x6C
/e0Y3D6AKFxT9f9mzutIGTee5RhnG29LlJ399pAsRdMJkz1DiDhRiUXYQfWoqjqKsnlisYtAMU9B
SVqNQqR6eUgx2QN/vNR/O1R1rwCC445Ru86CUb+RCTzwIL2oohswjyhEwY+w2LwK6R7ctkOZIY5O
iH05W09qpzQPQGmzH15ZBKTdUZcIfjAVR4b+Uk9DAudcBwzvAxa2xbyJh+7L1CaLZxwqzUGGGYHg
bX6Sbk9CVJeA/X9VVVuel3JrleJZ1d4738eiOwzMyY9w34xr9ICyaSP1bjoIF0qbjjtCdvVeN7oB
eS1Vf+tSo/zGnA49LLKfQ83l/PeT1NFvY1ovAyscWeg/29alafrsnAIG4Km3Lm2egBHr7KTdEhEG
6IZdxT7udWTVsKC8TPMA5cSo79rScq6nGRH4dLTt43uRObHzW9VxQHhEsGau1RCYiRW4zzJb21Y/
y+s8bz/nXQBCO4W928bLanophGbVCLGxksZ2FHtDRFnvwimNUUHupjtpsVonsKT9k7/64gX8x9vP
NS1h83K2ECiQ0v1gYt2POnZ/0kzPhuC5tXF/28rEPyKOs7adBHFTJ/4cDOX0kJSzhpoIKAG0AVEz
hKMyDOaXKsXGVCKAA/J4OZwLpmuI5d/f2jwMCuC1PxjGXTCxwWLzKVeTTsCGzD9STNg9AAFvybrA
KEdQNhf9eDXWErZA2p7NYAyfwiR4aVJiv9bQb0Y04YMtulnBGVY71JMuOqsaN+hvs9h/eagX2NN/
fDOO4TAv6MsU9XFeMKeqmNBUT889LoG+p2F+0l3VZkL2vVVl4hjlqa+18vRWV4dBbz4jBYucvVkm
67iIhmsHYcIrMC/dTRV3XxPINgjw6t/HwuY1pjXHQXOaSzCb3m3S47zmTdoh00rtUNuZjzLZcjia
Dpp16rDxdbS41ai3w98GmDkqcgJ0eT2ycdTctiYnH9c3vRhgoI8CDs0cyWPXVFhZunhjGjK3Ed/z
gk950Hu70PsLNqkPZoG84AmZLbTM1WGks1MxSr1ZCFIIBdRBsf/7r9sDs/bH143gBk4mQpqubhGD
0D/ciH6Mrj5KEN5BHwbSzrYQZFb/XZTotr9VgUmTM3qvqzG9avww/G2kakQmZBMR2di9D1FHHy4z
ASt6+5SGP/b3TylrYl96ayKJkGrtqQHbdBUnVby2gHIt62SZnED88F41sqw/NDWAZq1pFlgrPfG0
8GKIC6c/B41aTvTHhrip2tTZSwHgEiyGOue9pw2SaKeV9iVUl3F+naKhzre2PFLBllfMzOYCCaA6
DcgoLnV7KVSVR1JseL1jkdzOsCXxwvBleyTvircGegXo8KWR3BOFyledEYhndaTaumUvgv7dVR9N
l842UejHKLgm+LPTh/iiatoyCaijJkIB8x/ui49TK/cFaiwScRBbkFvzlhfYb1Pr6Ek05tAtPQz1
lLH1HMRt0A/GVZA2yc4JcvNWtRkzGr+mifa5ns8QIInrT6ihsjXMZFXedItYUqixuFpqrS8T462j
sGD8oWmyyvugvBkSUSJFG/zIuo6gDyCWozpKQVjjjdmYPJp/9vQW2BSE+oDUh6TmsEkdwLkVmU6u
Ew1kzx1cyJq/wuMqZA6EmUF9AY2kxjgsm72jZpceNAqDbBiZ25Wqvhc11lVvQ97bWDt4xzraz91e
V7HRcigPle2uHMcdT2lhQr5Uh1DcNORP/OaCPUfHK9wMwgPsqfGU602yLQ2c1EakT62mepal5x8T
f/aP5DDRBH2vj1P1s+e9LQ6xhHEkNP8UPjNCyRkRIkxpvdLP7qTZhQ/96OOhoJONqC2xL8ln9Zuq
Qpby728S5+MsJm2Aq6YtXBNAKro+y8vlt5skRbNxGH3wLx3w5wLRjg7MCdFrb1ugVU9AxuxIaLva
aUSW77op5pvWdLwnhKnksZlAf6tq7LTdtnXtaf3Wm1f5SkfXYz96EEUiDzhTUbv1/VyFB96o+Y2q
aUixnwyvfFK1MSma+0mCCBAl+1HVpgrgs2tQOtMNEn+gOF0knOvMu83YEvyvWpNb9R0i1vUdo0Hr
IaYzmKt+mr0n5HHDzgm/YuUKV7gd8qMbJMYdPk4FymZN+NXVh+/p0AKPEPljmEcn2IjlmeTz1psl
UnZL4YP6uHWz+dXxy/bw3m7nEOmgrkUrtKjj9d//VqZYZI9+X3KwB4QE5rm264AQxmH1zx+rNbW5
Frox78sEK1F/SVsWgcsLVh1q4ZJnYJbPT7KIQJUWbIlCldZcio/D3RhLv6vKLfOTQKHjCspMCNPh
z2uqq6lr9FblsAhsmAiXnQeOhaAe5uRkqG2KalNFNkQDDgLLGDsE8rFA2nfkA0/vQ1S7+X6eqr+d
sVx15Kqqls91cwLMt0gnY+fsN81NBlcLbV0Q+B0aYse3quqxbS85T+kPValK+I3NUqiqlnrWPpHD
ramH7VvTeyc8hgUYNxA5+XXC+/lsHo1VWyO7pHpVh7qmqk6iRHfAYU2qOooeOp+F5umh6AUwKQcR
lxkduecpcl+LvvQu6Nk4n4L8h2p1RFefnQgJXlWNMg+2LgIaG1WtrRYMQZKjkdxb7gEmiXMrxoE0
Tl3htMfilhyBg654JBEAKpZuNaYEB0mwMDzYVuGc3bTvAPwmRodyi7i8VVVP600AI5ZiXmKaEUAj
20f8yM89HSY3hbsUzmA4xUp2KHQOmWtvyCxfQzsZjpmAU5rrRX0mlwdMYcjAdSJ6Xa5VjyragtX8
lTocJwMBgML5/NY2mU69MwTRpxQR8juBHO5shOIRP1njsZekVpiA71WttEk38X/uTqqKsWO28qsw
2Kmqz4tra7SNvlJV0b36mAFdLLzLpWEOR54UYnklGpJbxOaMK6y889te15bG1nobg8hgfqs6fhvX
RTda5tW3Yab5p7okx2aHrvbEfind6aQakM2j6vWIUfQszHaqahDQZnq0LGTg6WV/vzJ0/Di8AWRL
ukwPqqjU+7zJiuiohY8dlgU1TnBwsqca0cIo5YWXyrQDLmPIowlQMlxFnVwcG1xjVUb61zicmx3x
xPrSDcPPAmHABLT/5UOzk+31scIv/s/RY/ksKrYd6vx0GIiTt+1hEtgqCc10zrFxiC0eKbyQWm6g
pUl1BnmHnFCBBULotOh/qe4iTLnLOMWa8/Rt3M+mZcwUk72teUvJZDzP0ibTshSBTdWS9bB1eG4F
orsV98MeG0r+5yi6yWPMlESS3XCilSjn27qDntYkhn6vCn1skB+vh3mvqv5gVRcgIZumavFu8X2j
XXfV1CBW5U3Z9RgQMK4F5Cint+F/PWLM6P+Fv9Vf0mKvBO2gXjtjHZ392MiPce1OGyGL+QEw40uX
oBiNHfNFFYS4mwsSC1imgqMi0EwHPx47kaV471Btqld1WAXhovczsKYJDmRli+SLwADyGoo5XOos
DSUCc7DGHCeKQbfpBjjZ8AsMN1ZhU1jAaK6LG49cSKOP9tEqzNJclcv+cWmbqwLmVWSA0VSDl7Zu
Gadq03KqOh+xW+8f9sPmss34bXIyHctlfhKmTbRGGMQt/5ycSvwq2AaIHvkkOW+ki9KW86sIZzSC
vCg8ZIHp3XQZ1lqtE1zA92PikKb2fTY7+aKvh129bWbXRjv+hUtP9KSFzEzj9QBbuc0AvKAuBRAX
+dOjh+jaVc4mHb+hDrBBRl7bR5zK8ySQ0EB8T0bn4qOytHPtHnb1UgTBl2Euy9tyZo2Xo/+2+/sp
+uNejC/B8xxdl0IYgvnb+jBDgykYnII47cZELBRco7sge5edOjK53UE3owVdzwYpLiz2GYBadmGh
c9/p3RnMF1OGPW6dtLMPIjTtw+i459rJzG3vJtPRMyNml6Lst2hs7qWc3bXWIxeCbvOA2mw7HII4
t0DZo6wCC+VTMnrTfhbBXwH+6tuxLLxTWumvQ4y7KwJQUKbdBmPgSax8VDbuwf1FIy5ODnHYE7tW
a9eErO+EceyD2ryUSABZuSYuEj7fHu3QF9zizIvIjU/eiNBJ41ikSNCkuNbJ/qRh266aBdlUhkWG
JSdwg36cz87gzGe5FCintdcptojAHqCP5I2vQfxH+FQwDR4qvw5eYMFu+653HkwWpLdzMuGxS/NQ
W8YW/Q93rU4isLAYhInxnE1a/px0MI0H7bmLfXfDKmrXlzJ4aCs8kWEypKYmXtMU6UMWh/E/LKY/
rs9MBNgggllE7CFesZz+QLhy3BT8iD+1mynWISi6uLhOvwqARy7mi16HsBBc1Fg0WLdFStswG8Ev
A10tICDZmgNc/d+FgPi9HUfvW1lZJZkxxFRy039qk4mvN63Cm9nXoHGbBgR+K07/4ZlWkZrfn2nX
5ol24ZEJx/RsNvt/PtMtaGzNGcJuU88gYPxMxGdVhFGQEFuGnMONhj7w0jEmXXD0dBulpzJ/qOyw
xkCow3S6GrMHsw+7i4W8h45+zAPoJ6QW8n4RNo6hssCEQLrHc84fFiZ2Fv9gEve3hjYHxlXnWtEZ
eMocTaRzdde9UUcdQmJbZnliYkuHKvIKhoeDU9l6VqeGQB+xKsYkTBtkeDNAFonxpOgAuDNjuUd+
kuAOWmux8UtYw1WfVdBFSIy23DS9gVhVh/DJCbNuPCvUoSp6z4qvRSSm39qg/AH4MPNY/sP63/kQ
V+P2IsJjexYvMFs6lvPh10C7e0gGM202M4quFye9j6csOWWJF78VpdfX62IGmF7CAbrrW9c7OeV4
yJb/HAr1xc6Z9QJ/PRRhoTOzLoeHj52avcpDx38Sg+UesTmEb1rZPNB+BFKy9I96XCLICJGdjCjY
KXOhu8UrbcTY3R3TbBvL0XmMwQVuw5bFkOdWBihm8Ebl8q4vSsfZhUb7tQ20RUh8aVOFrN1V73Xd
SdU0o/BXSQUjgO0Y3lFx0+FKL8Q51cp+7egVku8We4oZFa4RzhezAXbZejpE17VhTec8Q0wwA042
mkYBcJHtXocsy2mo+u4e3j5KBSFUI0BcuzmD6VXnMANbw0eecrKZYiAfz0u6AYRW2+vbZOrYmMfL
PZlO2uvfzxL/5bEiC6S7QngLF1R6yw/926bbmCprIB1dY75YbeMlHGEENvCIZolWqHqb1fWW98xj
1cflDhj10WuHGiO20KkOzvthKOL6oBpLF4ydlUDR1mIUWwqrrA7qSBWN5jkb353PkGrIj7x1tKHc
IjlVTFa5De1SoC7OVDsti5rZdcdL7Wc94alp3WVTdlLFaDjZaSgEMMfMQlYJRLewv45T68OsKmoy
9Lben0KHQlXtGmmGyT54hpsd34vZN1uS7xaxbM3BZ8vs2z3kt2tn8M1DJQyTpI9/NTj84IPIIK6m
4LyEwBL1738J50PsdHmkhCOYsF3ec640PvwSVmvpqHdhWBRh33LogC1uZmTlV2WHeL3U3ODON11c
8QwpdpFnN2cNP6hA2smNVfbpjdb4PC0B+gE2XnrMzktjHabpTZEhpxAPvcRtEJ1LCflypyduhIlr
A4eLd+4n1nayPJH0iQCe8I0abo6MBNCQS7sUTmaUN0sIpQuKc1dXcMrmYDrmwqkuJbA/g1n9Ebb8
8Gg60WFaaBBhhxcGSOwAhWgCbp2KsCE7CXokXYJvqrVKuZlMOzqGeewBPK63LpgikLrSu6gmL0yT
Q2yMEISI8mMEwrCxJV/YpyZvhKX6PvjX+dDeYUqxOdhOsi1u8X0///1v9R9rK34rqZPS5veSlmOa
HxaYoWfhjerZ5UYD4X5le2zbjckaHrsCfXltcYicl2ocBOfCdaH9s7XlVSHWIBRR+6lxhQ6lBQA8
lAdhVvKAIW+GLsUrK1vvK7CktY7IzIOdRtpOJZZUkYXhkkXIrE1ks4cjievdm9LyjmnffA31aN9M
erE357HfjyWr8iXbnOTmhpViDbovQD8oa1ephryo3ROMhSfdrKep6w+eg4jPe5EnLbmc97oa47dI
1wvEMzFfBLuucj5LoarvbehMONjL/Rrz3p22yQ9cDbp9OKJ5F4/MaXZbYAXvRQCnM0hnwjJgiLdG
jwp7tDKQZ7k4UYJ7UxtOazeM9T1C0iGoUq++qwvL3xApm64rm5Weocf23tFz/0Zr5xd2rDm0j9bZ
66ULLj0Belbkn//+LjAs3pN/7jQsHU77srY2oF7JBYLw5+vTF9jfDV4Wb5m1EHQpw6M2G1+DOpJ3
b4UxGMhP4icaWyYAcED32iqxSPxCAICLYQ3AK4tgARmrfr1ynpqhRhn41yVqNEiHwnMuqsnCkYat
xoLsK2EeNwbOGNhzXeRSNFXdXLKsumRjYx0KGbRvTb/ao9xf2lNQeH+2TbhjdH1k7CMj9C9C1h5m
G7mDxR/Kqar63jFpqGlqvXaqTYE2d1KAkCz7Bx11kKMqejMQR7Ds0NLVoUWuGFDS1N1iIDtvVVui
k/mNb+G6Ba8AmCZkQ6E5qmqRIU1pNikycF51ygW+fnNuh6+emIBY96I5LbTcpx58t6ib8FWM5YQ4
EP6C6vSxmk6O/V2fwvZBE2g6kR1dYX8w3obmovBkaxBwkEtYqxEiyNrbUJZr1ama8l6g6zF2+V61
OelYHpnM0ivV+1Zk4V07ZM5ZfYBE5XILhpdA8/Khvm1VDzOib71e4m6TpSspomqrLhaF6I1NA5Sf
ZaQnYNoR57l1pfZ5JmB70mJdPug5krYBeYTVANjvwR6t+pIa46EuUK+7JjDw5b+NVaeaov46u4az
AqGXQZ7JxJMVdvf63MXfXUt8srwpegpkNEDJQOK0dtCSYlVR4C7NCP6PvTFY33QshxPYSF6WuWja
jdg0aAhjqWpkFqS4c0iNNnaezeC2f/lG/HW05+QJDte8znH3OZVLwR8yr1UHm82vsR4DZ4jw966T
qN3nRgqvSQOrwANc9chhI3c8Z11y7/dRcl970XPuF/5R1Vh097cd+boggPyMYkriufOd3snsgejb
ImJpPgeuxmspn5FGWao6lOuVbcRItwfhDcCO6ohq8Ozfur0Gi9JsqvjHyB9pzKJ/QIavuJ7c1N6p
aps0zbGM2MQMsvbL6yYvb8bAqW8mgjoP2GlMm9LBl1JVBRaVV3pWgdhfHj/1IPJmNbYOrD/uelID
vLv+rIck87YdkVAkZf793CZagWi2dC20HOSx9St5a/S2+LTUbIAFaHnp5qfAN976EHc1VV9JyO+t
r53M/8N56pr6cpW/O2/5dPUJvz5P/WXEEGGB2t2XWd67kJ+/kvXGKIRg3Bm1BYu0c2aupiGyPrcO
DuqmbnwLIte56pEtvIU3GeG2YvQottnmk0xq2COMaMbiu2NW9eNYadZ2quTEaj2MUB6DaKJGFF5/
cPo+fbGsGTYOMndzNLButfrxqNWxhsqv2d/JxEM4iJXtizW32JXirnb14rsFWgA6gntQk+yX0Kr0
ay1EODHWpAfvKpuP6jJ2BzldXaayoN39ugwJMC5zfr9MURu4xuq1d8wW17xicv/mWl4Nu19dy9WK
p+UZ4lqNpvl4FKbEx1MTGxeUl8KE5189yQQdLzOO9kTJcvkg4mgGWCIhDhQt5KDI88ITVCrzU43W
/FU66D+rqldVG2dEGKGC5Z57Da61swn0Wk46XrMZhG9w+v2urIr2XhXWDLMh+2p5pMOlKR8k76eD
PRFvDUrNeqiBczzoLDpQEMFVzvOjhxohkrhH06BvMBNzs0S/hewgTlB+8fpZOpIh2vWa0J7mRY+/
sEdMtTTfe8Fs+1oNsLRIrqrBP9kyj89vQUpMijSn0s8qUPke0DRpx6pP5+U5MHupjqq2r+QwwYuD
ibQjic6bXIsJjgOc+KLp2o8SJbR7zQOxG84DWWBulocE0Qx8J5JP2lLEOHfAk80fbD+mJivsnIV/
UQOwzQXuj4DyWXUijBBiSIgSo6pqWl4DUt0mBeiaRtwyf5EECXT7m4Z2kxWaxpc8xwFZo5PMaWVb
q7SU9ecYT5wcN7tvMsgxoSl68w44er33rZY8rpsXn0Scv6oRdgghPGtZQsKNnVGmvCq6SHwefx0F
SJeppl8HahSigOLzr6a3g0tiNTa8Mzf8NFpIQztB+ZyDvz23Oak3a6myQjS3BWYTLKy78hkiCZCt
KvD2CU5hszRvuryt117l4mTaV0tEuEYBOekj1OxEtU/SuLSRB0Ni7omocUb+qK3PmRH/LMq4MPbs
vlFi/nd7avKFqxHvbY094yxZ9ntQyUvC5tf50ZBpyDXrP3it+LeqgD8GR1Lv6pUm259tmt9pu9zp
iAws41SHxyx/1tNw/96kjsrkKz7RBjrt4HbUyNz2nxBDDNiROM/9EHsHzxcvrgztA5bs/m2ZFv5t
FHe4COpoXI9ux/qtJhW5xoauIPpNtxqYCgdgE8w9zKIsC9agi0AtxOqd67je22W0amDZhwMWZiQ3
utd3t7nKI1ND26u7Tf+oiTjDpoE+TybdrW7Ezd20FP10484sMhNNEEe1E9e7VGYPEyZHkqAbCOLG
IslvVdEg13PEOeGEg8t1XcIKbxzjMYjt5h73imt7qZVOZ/ACznZOOIpbVcM5EnpGXTEnLp25U9ir
1MO2VVWFQzRHB1K0yo3q1Q/MRYgO/zxiJ+NjiYiKrZX19yKpd6Pom1cvQFUbuISGVn0mT4kW8A4M
8uRVBJDolqE1xsGdlslHt3e0DZJ8NpYvVXvraSzqxzzIv+fb1CVkinuQ2AgvGQ5OI7ahEdXsppZq
Jcwt5BG8K4t6PKujEIIR4un/HlyZKIEeDATaDhpzjRpiVOPGqibnWAvhoxBB4feQcgodfniWND/b
1FFedejHIanxoV1VpRU+jYmOKkfjSxIpy6nvV5qKULtRbW8duvnblSaESjZVKMWm6f0vWTH6f00Y
RiaRL7/NfHW8/bP4YSb2sclxmzuUudOfR0vG636s5qdfJ2G4fNVyc37zM2+ZMjjJBSi86cIoXfNG
+m7WuniKi+LKDOrpJUrj4oBIYbkqLGt68UpWwFHayNN/GSaWYTgi/T5sGEPzqcB/WLU7I1JHWRc8
S6PF53K2mqfZzPIrmJXDtyqGnQHsAY521eAjkxffRx9UUwwx9pmXdoS0tilJi6Ba4ehyPrrCThcT
FHJ2c4SD94S/5G1cpbfRZDc/9BI5mqC1v87ClzBj0/hhxMNkA3qrP1qY0Z9EWUFcrhFz1YkLX4U4
iH4PMYbzRNX8sIPmWQ8LgXtB2q36LAovcWxpG0S9drFMpg0U++mzK7/pqe6+yNYodlPsj5shKKbP
cfldNfuh96GZMDnM9HFu7yvPw0bJHpodNoH5S53qN4TJ6/tmsrO7YIw+lUJmLx7yWdtAoMyjqqCA
YPmyUbnps776xP4WJg1n94GafYxo1VR5/uJlaGZ7fVwc+8TM7xs4tVeWMRJXiEvzubCG7ew0+gPA
1Oyu1YZ7GSXWc0QOD/+dzlzFTv7JMC15wCYpXmc5PhiWI3tcWwwjviAsYe5yS/ylak3dd2iT9Wl/
NhvjbYTqUAVImeSCbD1wuKk7qibEdpOLau/TELYlcoyo7U4YcyNVOL2U4feAF/WT2YzTqUpbQqpL
cxeEeC0Wc3vo02F6QUnpf46CZPLzWtH0zYS195TjIIACYxPsRKo5d0i0hFub/eI16Ws+AG0sCKqh
bDdvdSPL0a2oiLVp4+zcVX7u3EUThGUxGDfe0tSbHWLCbYcqA335TL7bmeeT5szl1mCtf2ztvkVJ
3CygcQfTbRt2kLV5SnEWlMgTVIX3zR6iNZMCtzs7SDSxaucbXkzss5odeKfsUx2P2irSi4IwXaCj
j4QHz8x67daeu3glsyF9SQ39iWyE9SMuL5It91Xux7h05F5ABM7Ae6bQ/+No+tX7P8dpvfUCxLR5
iKruubPn6r6Hg34OC/jsoyDSnMfgTdsstW6quUzuzMn9KwGG9jqJKVxpqT4d/Q6pJzyt9mq87Vo2
4qUuiiDSKl5b1KedIPhcOlW4C3K2nGmP/u6iUkS6cj3KKXmCBq0doBbVmM3Pzmuht9/iNKrviANJ
pkRvvjJF6L4O3YB66OCm5xSe2ANrYfT+Gc+MlyESpc37VpAFFNU3K9SsV5hkGLfAK8NvuPJRfupM
0wHUvLQthW9GFtZLFSBBaqrTlvjXqKOmxKIrQjZvp9reUGdpNLd4kjV4aCynvJ+nThEmrAxgc2Xa
CuSjpub4XvDOaf931SB/f5yXQp1RoC+3n4d8nXnRN3dAapN/6SdXgmgHUpgcp6Va55Z97Yja3ale
qLP5Oponb6N6JXDETV1b+VpVhRW7O1dzEZWz8/QT33wMVCkxWR0tV14+g3jqt7daNXRgTJKjGjpJ
CxebGpPLZWSah9knPGdh5Jdy4wcJihBjVz+wlzBwP3aCnapWTRGeO1k8qRqKaPVDipLXVd95+lG1
YWya7nMrZS0zg2a7lmazqac6QMGJwaLqwk1QhekawLnApTvRL5Fu31t+5L1gcGtfB9z8t06Wu1v8
0ZY4eSfOzdSWZGCL8pOTZDifJ8WMAMwiVchTY5jub6ezGJtvAfD8PF3zuOWJGJZraUTd1qx5vLQo
lCdHsnl30F55Ej0u8UGUaNdyqWZTZ22A6SGssFTNWo4IeAV47C7V3tIc4LuIYqneskF0PQ/rixjz
8WkEv1VazfDgV6b3yKIU9T52gKQ1qt1sF/kN5MH8DYBlVCSWM1/T17bw+ue4WoxUnao6KjwW6rG7
AB7QQ0Ju5l4QElDNUWQYhzBhp6lOCoI8J+eokWZagF8FsFYC+/06SMf0PolDpKs1WIlqt6mKeX7u
8mpE1Z1N6Jjl0JZTd9ipDShCTT/HRzLE+bfInsdIjHgyhLi+iAomb+iEe88LsMnLyaORAZXWzQAH
A1cUEp7vbfBwIRHqor1Woy2+0BuxFKqjtiz91JjyWrUbPVJmzRwcoF7nj2Mrb7qudW9qaLiPQQnt
Pfcnb6s6K8zY9ulItFD1TmjZ73vbhRLZDfGR3BDsUK2ATi7jo2rSsLR/O1Jt71Xfc9vi7TTV+N9O
IfGk74a65NauH0U0GK910pY7vLqSjbVUA6M/9rFdPoZjrpM1QuckDyPjtQtIzlTIx99Upe/fpYX2
rE43vBFragib7KFqjOfLAG5oG6e4j4klmmWvh1Kk8NZb83ZK5k9qMnemSOyMBCt3NUqdhHBKclS9
/3mSGoUQ0zW8e16aSw4CAAzFkoh4r6qjeulVRyIMkp1tGIA9GCurgrv0ffDfn/vhUuoKH9ocZpV1
maE64fWBd5R5jzu6OnRHd66vKnC4SAGJvc1sGMFOXRrfun47ITMnBJ6qvl2pRlX8P8rOYzluJcq2
X4QIeDMt74ukaCRNEDL3wnuPr++VWRKLV61+EW+SgTx5EqRKRZhj1qZ0c0Y9U56w06g8AT30VJbK
So3RU5nQ7CqcRRNR0owY9KBestBFy8qrtlwqR8Je2S+TtDdmMe3soPhxt9+2hh1/84PDdcxoM9L6
ZVcOl+GgyYnc6hihSO5SGE7qgh9Wv5+ZzMC3TkvMnTzp7XyGThfTFOhPUQKrrW75viSeklzIQ8zw
wKhyn3zjfJvJBTnUbbXX8sA4RML3bnfIJF2y3vwZplm8M+U57i42H+6yiihg+fAj5GHT+f3KNCl/
vHvfdvNO06Dq2OqL21z+hB7d60uT20+DDUiks8hw9BBMn7JubJ+SxgNI49CFI0yGUwVn0wwe5Zo0
hRpFxHJTG6a09AO3uRKAFkoxHzfA7mifpMkezHLdOm6zvp/k/afYiLI+xVxWp2Ifa6q5iUuvPVep
/zka4SDdZgjOnQ0dSijUVFYjh69PkXDWRqxImxwyGgmB0qoZlUqqDt0mHz8uS+9KbKEdyN1GsfL1
dlZpk2eQLlHoVscwjVfS/sFFrjYmHK1ooEakpQrCNJAXDcVv5Ss+9C+f6MjZFYM1Tf+WE18Pj5Kl
s2G6Zr+Sq/BU3GVbuBW6rKxIm+1kOnX8Yk4Lk7WZOurKb0a5/uvkEXV9M6++0nEIkleynlTpBVP5
KYLyQ9ayvfhuWn4CVFFR/iIKLiTKoy+f57kmXi8XRwc6ha8GcFSt4lNr5QOgRA1IJTvlyfyh6JaB
PdCHJWxuEor2r+RVLspNvkLWUYH1ErYFSg8Exj3wr9aCxPmXqbH7/R8Zrb6xbnbpe4++v/t/OEf7
2/fuJo/e7fdAvLQLuVP5M+Xs9nvo5dLtsmuEov2Jh7D6UUZhBrt5/Itpdt2IdE7fPEpXWOyP0iRn
MnLD6+vfNspzyTO/b8z6+a/nkqd597qfXv5Yy6pup//vuUbxe/3XJDfKc73/g/rZ+OpW4plSxJje
zdJTzt7/BX853//1afzlXP8fH1A/qtRt2OE3uy9gEjnmVWlpRvS9PNvYgQl/UDxAKr3lPSb5P3JN
WqxCQaExHJytnPZJXZyLaXqWs5k81ac6n2KqgcLu9oRaEfZbZy0QL+7GS5/o3rkkmC5U8tqxX+m5
cQLz2wP2YmXqaiox5ELbUtvLYys3M+mettrvnXQHzxvSRqCRhTEXgzsW5wR6HWQ9Wz2nmn2I9NZ7
dMKIoePpHliDTin2b9uIoCHwQhDT0kUu1DY0kj5sbKJ1YpsY6Bs7lh5YSjkLXaKFVR6hG6i7j3KT
3vImQcXH97sJRBgUwQqui7TJnV2T0WWRlO7mbpvNJz/wz50b5FeZjjLn6VnOZKrqfSbXlIaCCOEp
U0diVuV6fv2v5y3F1adPqGSMWfTcAJT+GrmA5Spldo9aoYl3jAjgnPfRnkAN9L05ORtCxbrJ1Hzp
KTBLA62JL3JQkzC5HQUUGayD1iyXfy4I57KOePq2zG8fNgi7nJYeVVBzCArub+cVNq/Rlw2wppP8
RW5uQdofFVKaBQkL9G2RuT7MDWxmrtGTvQ54Y/p1KK1xnCn6UnpFrTKDKxQbblbpEBi1j2if1+34
F7rbUZwqkjYncAmqNLG56m3HPcqhSVPvOOkqmJe7Mc8U4i1Ft/Gh0g77KOfCjXZJxONUMHvFOrfU
YUHgHuttTZ7ldpgipbcP22GH/rcGMsfmPTMD+mugyrHK6rnbdlSCwbNqHHubONnPktf13W0ZonB7
UEL13Be6a2/HoBBFdYG3vi23VeKf5/pY0rKnQ/UR56/QqTONEYXUYEhOhT5EG9/p00UneiuljQqw
X0eKqU8NqOTkcxIP1g5iYrjT1YKwTpBlJrGwIbzm4eCd7fbLBxPNSeG1qsfnLp+svfQaM4cNvTr5
lGQ0zqoLqDe02zX99u1SjevuAu6mvVhG0N0GM4XB28CXJlH/nwXp7GrKObGjlOKewdQW0ubphUnN
FuqvnENa7mdrLDvcq675OsBHRIpPfVEa1TjLISgUHzE1NHL1SPG3H2zysJ5oPkpG4Ihih/e+TU6V
ws1WdgPIp2t4gHaISZf+HJyHhEewxPSCs5zeB+mmx7R1Cbf74LSZteYq2yEp7takDLea7BTMgBWs
VR7X1jQhhJ/kIvyk2yKfwAQsqvmWNtPylr9AZzu9iukt1SGnFojaD1MXStuH6R97fVY1KBNQhcLk
QG5v/kSyWIdh18U71QjnT7qeaUfEgQHmiFVpGxChSWB8XKUpgPi5VlswmaGPRxga3bUfqv3dPxvK
fNHFKgB1ccrB9Fo44bwitf0XiwA+SuAEfC5Z5RQX2/fSVWCWhI+Dkel9QRzJ1TTou5U9ky9byeU+
QE40lkbh8+e+/54wIR+1DPVx7tBYUoyNZqYQAqlz7JFa75L1bR5Y1XSdy12kWUKSUbh0KLXdXGTy
x8pdIFfUpCIIHPKGWSnNj3BAUKeKw4b2ZpiJcggMAf3npWydV0NIrM4CB2hX5huSoc4m0d1hUzm9
8YbSBTSgJpjObjSoewhFNXqwRINiPTBJ36bWpSD4AFm8hnolevmKktT37CbQf9AuGnQzefb8H7Kh
QA5m1E3H+/RvtrtLZ4xo5RbBNxWcakeVktXw8vPnE6I+A9UojVuNlHyUkwPZ6Q92sgrZCkRqfsgL
7xzbbvmN9gWVDIGWvGh0+a0oQrH57lQol001tJi0yY8E+6Zt2+jGVct8fZX5pFb7XtSG1wYiB155
CWE0q1qkPHaI62yyvEVvWETmbd8kLdL1CBs64/DmPNze1ulSPQ82nSTyLV3uafmz20QiAHDfU5TK
8OZeiIgBcO5L/4IC0XyyIng0tKX01CD2zSeViL+Y3Aaj+qRAXBLZBNarQEeLoNZ3KmHxQx3MOgD9
8jFwjfax18eWFDmKAOIXBSRHS7oVWkv5K0FxUldNb6Z7ObWowpOboiltP5VGiRIUvyllh782abxz
n7o4KRdKqlvH0BjfwtYNnqaoCJ8qq583cB8jNMuxySFKNdSJZyPZ3W2lkx4Mb3TPclfs0qpDGcD6
fiIf1OpOD0Kgwe8n0t1QW9UlN5q7rU3Vf+feI0UYgJ1y+iBbV1kTnIjbIbBkTFpwknMC7zQOxCTQ
wFtFtKUKJ8fMmnl/dzLKCK1lShAFA+u3kxoGKLlLf+kZZtyKCx4uvFU2fm2MsjsOZo+auhclRzkF
EML7jdm9QD6BnZxBjZODn2v5Q2Zka4I5w1ma5lpwOMfhsbSiykIFEk31kDo3F7XdVdJou8iilz4L
a31TiJyV475QY5t+KZGu2xGk/GXO45fO6bj61dAAHJXIaKY90UMCsndW/b0tpn2nuBdlSnbSo+2v
bQ2YpdW10lnCUeN3/2Ogv2VnJf16yINt10Mhbox/7OGVtipKboY5v/p5nX+18yCjQl4/qcqYr0ft
H3U06rMcFJ5hb0ehB7fM0jLRsZG2xyGlEo4unI8XXKTTGrrixk1c90guN4g3Oz2Qy+HEg2p6Di04
6kDglGFZJXD95GJpGpW6UiOto8x13ksbMnoetzgwaLCQqSV3Om/Fc5D5tXNrYwlTnd9UR/+UbMzP
IlDMr8BgyyXNhBCCspyCgYhCV7khVjsgclaK7GNnUq0VtCqoHu+cDiV94e/TqQlI4SOOdluN5aqc
WqVyvk3fnSNSk4/BEAcU5Af/FCq03lIdgvVIT8Nz55vhcYoRlqCrTHt2G6dAQBf9QbEYdJhgfy9Q
q7CfpCkDwYcKTHKWM7elK5ctxzxVo5XDlZTkmB2om7BLC/S3mzxdycO+2cL+Re1FrgZxDzsnQkg9
T7hljwDfTlYK8pYL4zf5fK5T7Lfshb3uaVdFjIe8gTHwOSCyscjlGLaEhmK/jJZyKXc0JCx7ij5S
egKW/O11+zaI6ofBhz5q97ChSfkvNK2zf3oNKBPTsAtSVhXJzXffvKqbJbc2V/pWRme+lLBZ6eRq
T6i/+P9QyLQngNJ/JXlAqZY/9Q9qmQy7KHf9nR379rUBv0kZVd4/+nZDkpOqrIWsrzJsvT/rOd1y
rd8bL3IqV9sMZVk59RW4i2NjVGfUpvoFIOl6o0S2gurRoD3OhAPBAUX5D9h3B8vwjbe/eWShRYfK
jACVDIOnwxsfALkJESyXg4yHW2hP003fUSH73wUZQB+1V7mJh6TQuJ1HDyHzyw1WRL6ztWOYiOLa
XtTcfS3Lf2jC2fvU50gei6u3Gfj+IVVBgMRiqoyTs6L7xiHt/XGTYWTep6ZVP2waoYwoaX0th6l+
tJqyefRsKocSL+tXoRXzh1AF9f+eK2mDCpjYM4iyboKkxlraOjGVtvt56OkOaA3EhQ6vlOqvxryU
jeofwiofr55TITBYBdDMh2I4KyW224JSGpd0PN02+YM7XAfDCU8jCiRRWNvRehobbd944RfEOJ1o
bWjKuK0ToVIonG/7bKAPa6OjN0SemSo1fppLpm1Fl2u4zuJpvEp3OQSd9jpmdCulKCzJj0P+I1U1
cthEvZqcyn+k0WfOQjOd7GaTztJP2uRHIJ3p/frld/s85dwQ++6f1X2f3CLPlX9vuKTvoiQ6mXpt
n8JOs0/BNBGovc/lkV7YSCy5U7WRU1Dl1S+faDmi2HPhsQ7VHHPisboid4TaW3+xxZAqobLKaChF
xkSsSKMcGopuANR4xhY5geFSd31/ue02nC8lLShLkGBQBFQ9+lx3Dw1teRRI1iosAD5/aZ5JQq+b
Ev0AOSWK/9IlqUIacFae1CA9SjPtSTlNpioCYLVbrsI+bZazbRsPdpiZD33jaSd6zA7SZAqTtNde
th2aFN1i4SqHUkGgwBvHdktWWAfD3M0bAAZ0SzZ1Apdu5KsdOWSp323JmDWPmRikrWlQkpAuckjS
BNZn4ntL1w0q+yKYb89V1CIapjUqrZajfjTQY1t7cTG8Tqn5WhWG/bNMmwOFB9mX/9O1HOxXBfrT
T15BieG2v1wDQ/941ixw+lfhWoiz1v/7rGU7eEACEaCn6uFBj0195dR9vq7KgmdTYSumqN3RRYyY
0bsN4XbCX/DoDOEh3eQQVeNKMZXyUtm+84DkSHAci+RpnA1nEydQGFPDV89AmbVzU1VIKchDbxq8
paHm7aru/N/GTFOJjAn3Kab6kVjAuJXe0vZhd5eS84w9DQ4MmTUKscV5U53m5V7TN2R1tKNNSOlX
7ahjnQraD/dj0B9U186fkjbOn4yh8klraN5STuWCpqswk42y3Esbzzj5U6odeT1sHh0xoaWQhmdQ
Bwu5Jr3SwNNWepdCWxcuciFTlSdN9bgEiR/lFfSp0Bq8uf90wJsTGj8JpGrhITf55uzTHNIidPVu
o7t4MWh1fFC98Dkc9Pksh9qkXmYBI35ZjaLHXizAsKcEnssU8QE6Jm9TENTqbUvcKPbOm8NPkCzV
c2ODBPTy4OR1BmCp3jrM4Txe5GB33niJCvIEMBAJh/3HbleoakeJAy+OWKQM5+Wx2R8nOv9RBaG8
PELt4ehn3LuNIE5PoxLaJ11ch7rCtD5MURjwVk4EoFC6/M3vbqtJN+izENEQp5MDGlj2ye2cDYAs
+wK5YVhYBKkOtWmHn8IhKk5tNX69xSlEsGIWHgEPCgdpe/eo6VYAley1+yhEh7EAkPRg5gY6QmE2
f61ayoBpuU8vadsou6pXWtdf+ETGF1RoQm406JR3vH/kpBnT9CqPXNtOr7S8bqApFae7SR7NRfxv
X4XG7g+7OyDlovjGow54XHbhkJcsuV4irVfK5htKw3ZTQeer7UG6ri2bgkkrsR7sYLAevFjxN2bm
VUu61aAOumZSIX9H771wkQOFhDHklGGrpwHNOIaBVkXJO6wkAkYC8mDE0UOX9Ma+S/XKWGkS3ICz
tEm3kEpJCL6Vu5ShtL6t7X3kN89/Rtyi6uus8i2Pncl4olijXNRoKLxCC/WXA+zYR080foEjyM9h
3BX72m+CrarW9PzMvKBnpvVz4noqHjlahNV+D1kadCcq/Tx9EzdX1zfUo1zk+VRFomP63tLieOjF
EPgN/43y0AbEfDNmWapT6c6UX5rlSQ/LjZNmr85g8FRJkP/Y1BUdrTWJ81+HXv2FrC9oBIEGAUIZ
bKNqgCrC56X1TfLqdgEKa5HhbQ0iyC+ull6dOui/eyWvqVmTjA8VqM6j76Jc57hl/T1Yy/XAo1XT
mVvrWJBwINsUTBuqFIZTr1q0sbZf8n7qj95ArJs7I6bebn4t3t18ZWxXYYhOtHS5L8TmuZzV7oAc
KkLkfh0fqSqMj/eptNliQR7JIfNniiEoISY8GhntqpDzP5yGuX70szo/EkoJnvw0+kedPP8gZ7N4
26eTQsv7+VFahr5Xj1HsfZZLNyeYz5t4atLVfU8En3451AFBLXFWOcRasydnHl3kTLU9FBK0YnM/
ET0yzg7k0VvmNNuWTOa1FoM8ssQDHfksFA6EzR39ylnMyWdq33QCdbV9jczQucLXavc0K/34Y/sE
zWjl5BMQUOF7246U1ENIC/Xh19kcyHpRTA2IEYDdrCKAEquiqdKNxBgp0/wLaKS4mXa6T0koPY/h
NYtycD1uYKJUqP40Y1U7ZSSTzjMxTjSA3EJbWdzI1rIkx2ss/5LP06+mMdEm4vru2xz66HbwCr7l
uif6PCZi0V3BQ2JTfJczOaSO5qO6KVYnRGFDWw/hILjK+e4ij2I9RJBRmenO1EBPVnPzGRVd61M6
gSWvXePRFrM+TBHUpdFmJxfrVrHgXw7nvB+bZVlm1SbjESKmfh3uJXc+b19bFvMGde+8tPtLZLbO
4xhEzrXi+npz9ngJO7pJ8iORi0nkoFVnpKCbqk+9H70mDjwexFA6qgvoEZbNwpOYycZg2Uqc8y2g
nwLxEKIIw5qvcrC6bZM+Waj+dZtoJXZynzdfS99XPkKCVtpSNu/Xeg8oj0PdVKjSz63dR5tclu6O
xuXYyz19Jb3l4AdUt9/mZa4Sj+nQsLovO7TKUDlB/gLk1SFyuuTs0m6ycyZK4MTMUBJ0t8VRIIaJ
DAb3L9CeKzR1m6U03h17wqs3b7kv7qnk6wJUBv7wkzvyEJrhouDqVzm+dVQKwVmaQbnSokRjkblR
QnM8gZ8eT7oW8o17n+ZhruQUvdqoMjRtf3P0xLL0oQ83Q1jufY/lm6hlTBA8WhWWMmR/TplSHOxX
xRUCj3dtdfXZtub+YGuFd5XD1MTlydGTPRWJ/IdLW28iBZZ13Bc+GBtPfw6JCh16caa/7aX2dqUY
A/TpS9yo5WqmN+PFCfMXuqqrq2/Vygs9tee+s+aHssx5bpkin3KtbCEbJO0hQwenS5vHqjfrfTUO
xbZzYu25LvWf0oPWwyNptOxzmHn9GpSEcbSzsCHSYDvmrva9Zqe2KnDtAWqkjhAMvYNifjuU1pqc
Yr5wqBy/ef3V33Yawu2hx/3jv45z7FTryotbslPxvI1b67sCu+osB7fsfx3dbX3T0a0A8Pdu+sPX
86t5C374u9weEWMnFy7OeT+drg+UfEK0kPbcHy7N2EHFbUrtoaUxeNUUfrKWU1rQtIcMtA9NmNW3
u0ke1chy+XQpX0KgWRB/ipnPm+KVbZn56oN0CTJxCeDtbimnckHNuCW4irGSJzembJtBf6W4L1f2
URw/SBC5Jx5jKzen8k4MXNgSdO17pO6qttQXclk6GlN5yMfCPYRO8HUKEV+SpLTMQSlM9SYiVcDT
JsHSrCQ8Lcv8ns4kUbo3htZ46srwc0NW6WxRHfvsl2GwMuYh21Xx3D9H42Rvi8zJV3IVMZf8rKf+
N7lYcXk8aUr0TasBs+qKHV9NMQy8lHH5t8vVfUEejfWU7+KJv2059Waga/IoHBX7NHM/lScBTET5
vjxVN4dbQBfhieoC69zFn8t8Co5u6gRHWwzy6G+2v7mMaUdnYTyv/t9bx26gl0DX1xL9cKdC3Kfy
6AaJkMt3RoQERaC69wsZcV/I1LoHJatpC+lyP1esTlD/XURJwtGwAC2pbrEP+4Jqtsx2lqM6Zzyz
WbGy6+YqQ1wYHog8msVKr/Ky71DD7Wl2AzGv61eVA/BuleepfqHTTMTdsjpxToA5IK6V+dOkTYhL
DdWXxNGM9ZCIvtWBKcH4RZd6FY12fXA0MyTlwFN5T/lsbdvEnY+1GGKE8Mq9nFuD2pNJ14dNNOjR
3pFT6aSFtl9upNPtELnsV8NG8FXTKnJ9aemThx8Sh3IDaEQ81aDrUzUZ+E3LP45iJk13Pzm1Oitd
KnZfHsvM3Tel1b1SsIgGUCQajBqz/6JT8+7yIPJtoAp03arIJkWNbzzxuf/wQKF8y9qCe0U4pg/k
mhbILIbIGfo02qt6ni8HtExXQRCfblnTVmRIZbozLnj8B8F+kjNpD3hFW9CzVCwbw9GWhh2kuyDx
p0+F2sxH+nVR5VS9z2gRJVdKOqzjBLR4ARGsfSW4EJG+DTJysEyT2TM2aAor1MCn5tJyJ2OTyi4s
FU2lIs/aXTaF/kXa5FGWaW+B6YG/DCkqdsStxxJDZXru1fLH1zQbkMx+t8MgHE6K726lQwnncd8j
Qbowa8V7DHyKCmMAOAQKg2HhNkiGyabaNgqTXWAqX2gov0J9Mp3VXEb2SQNkSZYB7U9uGOFKF23f
ZWHUqHTSwGTNrf4y+dRmyOl9te/d9iSnclVO1ZZum65AbPBfeigquiZyHx0XfUb+mqZO180GpOrz
GPYgLZ9FZHwfI7e+anmXvPW7cZiLN1szlbXKYzK31h9IU3YPkjxBcSr9SOa8uaMpkKiagOhSVz5M
AXQLwGzllswp6TWvtW4EjDQYdLTrY6ipknAR1jVSyeEwg/iBkmGlXP+C0HwYYy+kHZdu8cAqoxfq
tYCoCFsQBCOCP79X5ZG0Fb5CB4RD62OiFwg2NfqwnMZZKJyXOUCmAHZjHc7RQrEU5u7P3oSbFZpz
DVOu1fdtp21830TZQtoyepfaRVZ69c1HGjULDY0exz/sQ+3E1CzzR48uABjQrSEwAmUzP4522K0z
P1PhVDnhmeKhZB3A914qQRqd7UYha468SnRAFokAI3pamzxTkTnLC3uBqJT63VOitd+G47+eY6Bt
7cXUGZgmtxB+QuXSdE5ust3FJBHPsV6gf9WG+QpQOCzMMimt7URmx+RB+TClaNwubCHC4fKNoMrb
B5nsTpfBzfIdCijJPCzo4Rl4yzKVa9wirj464ecoj6HuiJm0h3liH2LeXIEDFhAehdYixQzJ0xxD
HUeXmp4VYPTI2LvPRuooD2i8XQLV0nahYIYmVs3Lszz8MITFW+7x3nw3ocpgAUDOHdHacAR7PF/R
rCI3FyvD1lKjLl6H7vTYwII4xGJVuvBuRYBPDalJ6Khzbl1nnwTEqQ19QoWPPwZaN+ZnsyM0G7Qb
LpbKoxko/iPMK0pCdO2rnEl7VkXmZiocfxk2s39zs3p0o9Qq77fSr68a/9rT28zF3P1kWkG2j8NM
25iTj57V1G0KMuzfQwUUkx2Z80XxvBr1PfrS5Ot90ruLhG/jl6YA+2eAeDp0adYd6T35HChwlzJz
NL4VcG4amTpNkY9tBy3+2UYp2Sm/Cl612EQUmbIekhJWt5v70txPqJ3SxGa8NKYZLgjuCxh1GMeH
lkqPxS1X4E1Ewv6c92JdMUVuJkHp8SD3U5tsr5GfzuCgk4+OtPTi8laCAG/CjcXufH1b16SXOifS
FrC5gsMt3QRz/pNNJ/K+rTrbWQHfIjRcoXA3VQOle9qQrcBxwt7kgYwoY1tQsKkbn83Y2A9KFv/s
DYJcbZAlz7USTNuAgsx9Fs/BqrR4uXCUUFxE0QSGtWGpBzmXRzn51F9GOZcDUN54TT3PtaLhfCpM
t74VTpmlWqwULY5X+RjAypvcq8qL8F61e8QPpzGZD4MY5JEcPAMErh2jZlUgeGMtKo2gZeeEa1PA
Vgd6t67yqG24kOdOsI71obmOklLwbru73X3FOSgtcCkV7DblO5VelYwsOZfDbR7aDYjNpP1hzSDM
KrgQ+ULvHfsg5xqPIwedD/CXkY/ePvhVz2c3QXqk2gWaulNqK3MKh2tfNwOwLY5iwvwo1XYIFwpb
UKloy+XqNC1a+vW2d0fp7YXFj7xJ8v0fdiJN58pEVznw5ofCLr82Wt7ychwYL06Zfy1GVNddTeIX
veYYxMG4TadUv5Ids1ZKGBnP1BNQBZHFw3boNXUTdDFqa+QXvsqjnEby29HdVt5tRuOQQlBirmSl
9ugl4wXoffPm+eT6ewewm5wCYynWYRLHuzqzmjeKKBLw2Fl/kVPDpygqcV89BKavBPB+yj21YXMN
q117JZ0s1Y5Xgc/lTk4brfuUUXAf6qVyadHleIgnNaNMovksZ3JAcdynEtAwd4HSe0gymd4hFYNH
TpEbS7+lSYEEPmGujReXovBE055NQa5yjTRZytU8VK1LHqiPcnbbcEEkuX8OvaxYw2ob1iYEt4eO
kpxNRrfz5IdXiowoTI69bU1lP8xUBn2Owp1Gc+ZitFEUWhD0LK+GGo/7plc/ZzlMF2mqcs/bp5rx
1a5SpKHMCOG2rKoo71OHS6ppp4YE/idp6v0J8rHrhgevTSPKSU70jST62lWr5iAHyzJt1KlzMCl5
fHDr8m2o1X5DlZBQPVbGB8gC0wO6EC95qXn0I2GSAzeuDu3DoOG68dtW1plxKhN9LzfNYqdcLNk+
ZP7/2k66pF4Ri+Q1OQbv2cZGdZQDmlg1kpawqxcZ/+HgG1ih6g0MrdMFLN0cpNkhutnr1E/KfoLO
Qqzbh3jBS+hvds8fC31Ar7RrKPshayC4yTeMuYmq/iRfPuR7xmxULlciu19MLXG1MktQAc2nh8qp
afrLdQLeNo3Di9xOw7NV5rt2ciII0n7/Vs88Ed1SifDmVKTkFePN5uElNEvrBQXX6jrpyj/SrM4E
AimXMNazOU5rLQ/jlSpi+Dm0rx3Nol/AS1NeE74DneWCnXZfpJu0S6izPJKLLoty9oHiLLbLRTAo
y2Bqd0BJhwOt0cOhDYJfR1o3fpx6/UCEPo6e3Hp2vJ3CF+cY2fXnsJ4qVCL76aHsn8lh9VdHPtHZ
EeVhczVz+51c7mZ289yUeaTuCTzW+7gKSEUWxrDpKMrhzmTGB9pU99QfBMdBi8pFCxL5oej8zy6N
lp+plJy2NKXwh9d60efQ0dtFkmQhrYlJ+4q8+4K8afTZLbzpOIZoRctdHpyCVe9SSDtF4bPhJ9lq
0sf+OI8FOS9xpIrhbrtP0zr3SnRvfy+z3zVzfTHzsN/k7TVRypLbfZUBQgLlak7jV4JZMdBwl2Ib
NeHBjj/5tEMIxPcpOIiboH9OWirrOgR3F7dVqL9Pme0t5KI0aUN0SVIru/gUMQGUteK62tLknteP
iAu1C90IqrU7kCKVg0NdIdxkh585Vf/GVKr+oHDtuVHb4aUoKLsZUdjYOrpRH3zB2Srjn7NrJ6+x
4wXc9pALBRBlvBlzN2wzI/fWrRZHaw+A3aqfneChLlYNPMSr3XgJKTN70jaJ0ubLbsrCB6fLMap9
/FaNSkEYjw1y0FI0SG27fxT/kfk6j7mX1XV+8JbU0ynhU95OxXbI2m8BRUZHDR3NxhVfa5nCksP7
wiy//aX/O8sV84B1nNkhU1tzqta73rV+3u72ZVP+4Ock+0GjRo3Gjv9Oq/zQVmaDQGZOV7Oj1NbZ
EoM8StzQOsN7V1fgZ6xlOszpvJDGu2PvZrs6pMpS2j+4QC92ttRO/lRj3TrL1Q8uvVa1i9pGEei+
EphkUMaZS2ybzt2C4LN6ssZyNxb2vJczo5/cYnVbMFAg4Emq2DVUdO254MenSUU3XLI9qaeG+NlB
50AdZiGNkKc4hPQ0nsbodJvJhcic3oBkULoFvovH/KT7p0iOjl3VP0OnJugUO+MTyg3D1vcjaz+Z
bnH1uXit2ioNvxpOs5d70rh6TMqKv7dhWKd+8k/VTT2Jcr9/Sgz3Z04s5ShNFtHVi2u7ezmb4mp4
8m0wQA1KDetqbOJHKLDU4aqPet37a4387EpObZ4qF4qB3ljU6f5jdOYB3XpMxPE45MpRa82tMvrr
zKijtyGenYPVDPzVl3239ALNOpAzbjYWhH6YdgpPql11VL2kOvZaTf41ca8+SImDV/Q5yNh6Y1ma
ufcztM9VzS/3GvDBZSHA42BMkA5PaAj1do0dvU6mU68zkc+kfrY9zb7rCFp71FJZ4yNZI16i5DCL
N6T79G4LmutUJuFtTRNe/6frH9srj5xmGYp4SnhEMvzieIrLFZwAWLKehIBYPIfFSR7lhUEOX86p
LytOvFvPRyc/yEW/9agavC/e9loGbxGW8m2gg74Pkh8aEmYU908Jz5pudKxDletDZudvFFte5VsA
mL3PDl+1lyhGkDYMYn8PiKA9obScrLR0QsAk4OoOaa46+5PSv+VWsOj6wX7pQfVdu376Ir0Ms/F2
sQOFTk4tXqpXLu08ezntE4qHHK18nJyWLsbJu3mRbq03dhs+5AHAspio495uzfiSV0G0VubCeuGh
jJrPcsz/Gatn7nnWv248vVS1W3+uI7hnaI2mt93qqBp7wjfxhcfMX7trPUq5TgeF2J2hVfwvEubm
XL4leRY/06wMSz+LrU1tcUPKZqii9C5/Lzua/52qty4azMlz8j+UndeS28a2hp8IVcjhlnGG5Ggk
2ZbDDcpb9kbOGU9/PiyMBjQtu/a56eoVusEJBBor/L8Ge7MYGr6Rah4Uv82WaoLSWdYXx629p3FM
6I5Kdf1QTWb/mna9ci4CZyQAkJQ3G9rQk0eByKfM8w3ggHX/Zyepv1KFVf0ZUva+ovOMKrmtzogu
RjAtsCoFZ2QbaslrPzrDVeENikTw/CySRe1WRdNNGVeA237zWeXVBs3feBVTo2lAz4QABIi4Osku
fgk+QjN4KbW3AKPLwLcp/GCPr4ob5S8ibOqQ0oQP4Qy6RJO5+vnBIM6j0euH0YMuyF22dKwqU8lG
ReFzncQ9uM56Gxl7niYvaexaX4Iibm5RQMfORBzyS2pU1ZNt9M5BrB6QXscynj3YlrFGbe3uAu4T
V7E2jvtR71z9Y+NB1xKFRfKUOPzTlKD7Jo0evvThqbUA5aE0KHSOXks3aZ7k/S0o6xcPgKsAeGZI
CnyPUpAq+tRpWkSwgyEBJSMG3fLD6pVb5SeCg841yhuat2cFWEylMeJncZa1vARNe0hFzNO2i0ES
6zj0un2wJ1DduBWF+bnn339PBrB9IddK/dESYpqH1D2CUV8ffYAMfnAA6v04Bf2R9D24fZNFBiwd
XP1ZnBVe9S6GCopeCXzhzS9poAYv44/WqcLnrd9CTsqL3rT53Yt+Ozy/67Ohq69e7D6ZialdZZib
kDTOd8TAjHVeetxst/pZLQydj9O7hZsdYk79SLVdtpPN1QL0lkpVPfjGwKWW7AOvVfY+HuNsL6kF
GR6xq78vi6tkK9ZkhshqZj7Tfe8+FzC6nwrXErJB48XqGq8+T6PT7rSBYhWNXO6Ln2i0e8kUDkHj
JYHNO9epLK7Tq82LHm3gb4B6wRed+qK/4edVBbB5um21tF4lzWkD0NtWio6G/flUjHxxxVCr8MeO
XqE9F5x2X7vI+Umqt+qk4fFgmasktndJbIunlH2Bmrp6Svfnu2cdZfaRCgvvKD25IdByUxONr9J/
a6RDdfLgez+I0c6y7DOgWGJbB75ce0MHLlVadW2/7198O/pBjLImcWDnzT0zv0JL+Rs31x9gE1co
7G/eBo52BMmbF1Hnim+rxKM1dRf7bbNQ6ikvemEANSR20IaHUwvqOEenlTbwLiAjtIF38l2ARkwi
50soZ2UUvLPLlHYPfzcFmc05ogVijFBUBV5lU3HY28cWrzORZgMuA+exUzhEU2TqRdAed+q0lOaS
/nZauwVthYx7wmNQn8qdoAiZC+6QQAltoug2BCJFo5gqTUIHThtaKMSZajafmkF/Okhbt5EZ4UfD
/JoL9qBIavl169KW/E5Q/LFiE1pv3tKC/pf1Dxr2WPv/ZEfSCp3mAoOh9u4pclqH0gbDoViBWZdE
LmSt9gU+5Oyy6YfKgtZp0DsIItVk3G3O2wbassuylvhJRgXFt41zr3N3pkqUM3My/wPUG+WebBZN
3ouYtyPFmMss8yb1qbaTP+l0G+nZWXRp3u6pFQ4vuR9EQ7Ir/TD4EHSm+jnNZwhvKle/lFWifa4X
Q6hWt3qRxMM1IbRJcx8grGWBDKQ0dmVHLrsfU3dfp/24BkHsRv8pCQBlL0qILmg60vujWhnVwVUB
Nd9RqwNWolc/k6QgxFtAUN37FYVZgk2zTvndxCuejcDbPKLYiPIB6UbgbWyamfZFR6Nauw9K+rHA
hWy5sRTGgpH4TZrd2R4OcHVmHPI9d72vpI155NXSusgt5Htwnl48tfuWgsyD3HQe7kGim0kxPfmF
86NIuJZPbwyQTqgnuzscUFk9Tx8NKpZu4v29TUG61XbJ1HvrvbKRG6I4JguYKF0BsFFQIF2r9OQ5
yYetwH5RFYtqjaEvYqgMyQc1A1DSj+KW9vikvU1t88ea39Py+anTdOtV0nsmz5IDqIS8i0OlQCd1
7L3OSz1SNlGnBjuRaDa1bXbeQmIXgo6EqwxZO/0+q4p7lgL8ZPnbqwE9tiJK4b7MZFjL89OgIvqv
1Yc7XV0BE6aYGudBCFFBDuMgsGQFRAyL9LQG/d/FNUfg0A57DtQRMMaWv9pkKvFnGSyYE0EX0fRz
ShnRqrNp1IFXIPkgHqFhRh/oPX6mkcL/4BUj/DBLQzlHYAHe5LGvXg2Dliz5p3oXnbTzDz1gUPtG
0cJXGYwpiF6TgJBw4ejW6cGQp2F2Cg3yXg+GAfQTQhhkMd53Uuhe2nmjCTjoe3jLbtoLCff5IuGt
TOIAEsdyMcQkYJ6L4Wu6EArKQGSlXmciBmr3tYCm4/ygFzEz1erF9DkrDQOV299bX09FvJ8SIjqU
DQX75Rjy1fFh4R7T6dfMSoejpoP5RPN1+lFz8v/Zw/X9g11AK1kG7osym9SnZCWpxb6Bi8vX1V2Z
t/R6xWNKir0GY9RccBNksGrLuNatdVDpblhVogcstmcdneW1Bj32Km7L7NL6xe8MGlz+ukxbcBfA
jU8o+LTU47Zg8yvMoDwOZDP2YhVDo7kfXQonnzfI1mKwyVJn8WVFdl1Eq/Kjy3onEsjWYMF35bV1
NUDlRpuZ6MTqeyawv+XeG/JnqhghofFD/aW2W+2lzlpj2s0V6GJg4O5V10C3GHSwV+HwWmSt18Jz
NuoUxfUEjw9ily1MVTX2tQvHrzjKMBZpNC1wN7+Ec1HzGGEzMaw7rnK51zjAHI1q9J7hlQs+267/
o1sO6a+FaXlHfRwLKqii9NepyA8ayRbikFEMEfBEjhaigFOmlum5KoJmX7SjcoUO2/55BgB9Ac8E
GVcBrtj40pn5p9GhMFWPYrgF0mp+dvMq2olOBj9U248m0LQtkAKrXrP9r95AklAcNEi9XMu1aEAh
jCTsm1YR0qjFeQn0/286mRH4J5YkBa0ii6PvWm+OD5WuD4u3XXWChc+Q+Z0lXJdvAbop+33ox5hm
acLWYpQQnojfbGu0b/NItd/HitJ2cd/UshCb7LfZ/r7foObkEoz8rJnuW2BUoqMiJqoTBQeZ+i1c
Ro0fPo+UolanLYz6vXWbFXKZ+2XWmPD2Iua2Nmhxk6lvRuPRJf8Bs6RLdJ/W1Po2LQP4B/UtKkuU
IpsJcQXqMIuT+Ih5cxRxHWzly9SHxmkkZkpQm0EPIP6UGdDif9P9r34hPD8gZdhn2S5o3T9mx3JP
VLRkL13DwWEnUxlMCgkLLZvOpe1lL5teZqKba5/zdxY8iepxvbi0kQ18P+lLEnJcY1srs0EuyXFq
l8amerV45yAVBnadO82Hykh5VaA0EAgTZhSueMVOpjKQVQBjBfDgYrFu+u86yzbeUkAm5m3Xf9Tp
cJrv1IhauM1Z1sqKwtCyi9V/5RCqKnsgb+YrRGa7MYaPXpcSsG4pGUtLbS6fZSo+Ok/5g1VRgVMP
kCvQgpuq19UMX+iOBtriuDRlXzZSK2G2kqFYOK428Xu6bZnsIi4POogil9RCBjrRQpyl+nSSQxz6
92tul1PcujiCXTDsnAUFw1KMpyADcb1q3fwDVR4LlMJSL1bN0IEthnvd4tM11lPTjC4goIvbopKd
ZLYYtXAESafe2X1CCGjoPQLTid1GCxJtcq3gPXybpgG06jsDrjqwYkN6SJsYNAUVeHFVmYDvDwtF
o2wnB8IuG8fpbBvpf0CZxmLUnJStZXjzbEKFpiKYy9c1YnfMHGTnBTFPPp8SwQCo+K0NzMzfP7hY
AV+0AQblJ5LBnBbMEZPCCur5sazy9hNvOz5aUiWG4pN64BOI1e21bhzgaIekW2dxqejlTuR1KvbZ
js2S5+g3f8Xq/mitOD2JVfSri8j1ABnFfp0uu9Ov0F5HN36epjG6dJ4THALXrw7jEs3oR48mQkVi
HLWmX4ycRJ5YuroH1HCJgIgIWuP07KYcxRd9EdFNAnLmsdIG67oNlm9Rrd4nP1MME5wf9P8oUuJu
XWWpuHisDylgW9dvenjqwI/Q6ZId5gRY7Mjs+R9wrPpc1z3ltHpYx6/0vUMYyW/wcKfUSD08pSYg
4+IDeVT8aiyDTm7xJRgrXj9ZK3pbcdVrkOTn9X7uVhb5IjJO++22DRxXs97zRbc+DWTq0Rt5mGIl
3j88HOaClzmt6KvDpJbjzeAC4AFU9s4jK3wBLIqq+2IeyflgtTgv5geRqSpwd0WXxMd4MYvuzizu
oxqU5zQefxNr3lC9UoImKthM+QLaJDPqOseG4qIFoWmepnoP1iIXgcE74dREq89O3GQQRCd6yfK9
a+qwLCsalaB0hEDZoSnBVWazrgdX8lsLeOliuZsWbh5T5iurZIESmBDbqbRrxw6dEubSOLHAzawz
0YEp5l9GWs8f9OGyYFtVjkZGE1kKbvxfDeKyrZ3IjZAX6MvjdrHBKuMnmpB/k5qfRl3ScPbwi9QH
0egywMG16NRi/kU8ZqkZevf7R51sEC5VRsR07/aUBVMKusekxXBcAYfGsW/+sVWnAdBC9b/SJQ1D
in/qk2E+qWEZ/eKD4LArNaLLBB5yigdgl8+T+BclCMxL2DU2sYBY+akvfvbShYmAl4dlDDke+ctA
H8KfapMaR5FWH4e8orUXxTbYslBkEv1vqzez6NbNNx8l8d31MpsuBo/hrNDMLyoLFnv/uF7WG6Es
261zMaZK1z9Ntn1SSgcCssDrtKuxxJJlJgNsP7/BwDOfRD/YxTe/uyV/m74vWv1lqfXXfbfL3PnI
FVvP+o1UFWW0y8e52/u7S9bVYxcEtCj+oDsUXynK+GNe68FLSI5u72Z6+Su4OSTQbc26mWNu/0iT
9ZPoc1+hX90d3QOEPdQC/TZAa0LXMIXVDi/sC7JK+asfux8rF2Bc4BwaWB41KH8Wvd10zt4vh+Fq
NT+kjpEclDxWLzK4QaNeomwcst2jLKbNczMngHy8rdl81j02WdwdIxrfNt6Wb1sG23Xv3KskcPch
HQz7AAJj2Fpil35PIz8EdmOBWo5OhnKyncvgVl2+KkUWS71YZBZqcFo9rtm2MNsOmI5N/uctxQdm
FqqJVMIl27rtqts2d1eVj/Lgs5pn2+ufSbztsqDTL6mt6xfI0BtjL9NW1WH0HoA1zlYH8coXL7Fv
oswqVdGhQWcjGdZ14u1r48HsGuNJlomqAXCDV+H3JaJ0Gqumyg5eQ5UiTG8p0pTKTJlJJabMCqvS
Lpu4epdSuLmt8WWP1fbou+0nW23ittyZjXPV1wF119SHbm6BbpPFd8x+P1FOU+wGoqWk4oYmuvqx
UgL03WvR1V4GUWrRWBU7UG9B2ReFTjT5lJv9b3crtzXU6Rhvjuv+dzuXdCleKU0xKHEZf2kDUluN
U33k61y80FMMjWrNY3K3yTlfUuKGkXLadHc+sgNsPesO4uJJiYZMZZh9imW5q/gwoHCBtOn+zLqp
Orttk76Q1aNRaGkCFLHX5rk9kHRMX4yap/2YPYugLZrJcTneip+aBhm9iIYCAnI5cUzGrFJWBdqm
7u7aQi1exohQ9WCN1n774DJbP718liV84abGbfuwdx/ezymljKPW2t8pp6aqukOenadh0m86JD9N
Pg4VtKsUix/Ifk7XrO6KaidTGSiInq7FphRZLLsyNsbr5vSwRsR1IZjY0+ooSsMIymp3t/xO+7DJ
uj7QOkIyav+LDnTj2Vh6epKZGg0ZzKVo0AIGaDWUQsZZA2B0pxTHdtE9GDaduGz7h6l2bGe6CkrH
zSmWYLDr+W2gFzlYWGeRCfXPNC2pMKhXkBmLbsp6Sjc2d4Aqx0NrQ8Wqyzntu6c1+vkC7uYTDTfL
OU+OcV33F4jOTaQZznomeG+bT0MOxUVNCuc2UeXD/4LNapkGQ8vRsC+BOc3rdPUhhplAM/rNW2br
EhN472a3eDdp/Ob9uGOUVeV0smm5FB83ySo6/pYtAZoeacJrf/LsjsawXKMkNqoBEg56Z4ZetPTC
D3PXzXs9pcM0NEBT3SVZMd/6KbCsE5GWlkCtSXNFYBug+sE4d8u6EC+1bklVDv2XdROxtLnVXXJj
XFAi2ViuIYYy+9UEbQfAsGWXaGHpm9LqObZHAA6WofcMCHEnKrcbSBbanSjvplrTaWh9Omc0lej8
sqYoirfVCW9iAAP2FnQCi9IYP3Dc067iJsa39cuy7aImvGlPbZBcZdG6Xrwftu9bMKJhNzhRKEg2
PZtL/QIFLg+Tvw4kE/RLbQVvhipzv3n/+xKxUgFl8tSRNetcthPbvXZMzKvt9NrZWG7kRdpyY2+W
e7zIMtuGTefIE0As65rNZC0bTV7pUgOU7Tb997YR3f/gcne5723jpqCsDl3yXzHeOX9/+r0tHleq
8jQTbT2k/s4b4OsWUT7uP/+i7i451HTK5m7p7PIUxBU6n7uLBaFGCnIhcBL2+0AfCspNFs+pJ2yy
k6ksF3OkA++/bieymGW2XWLb527fhyuKz4Pu4VJaVzonqwbhYfmc20f4x0uKy/oBZcnd1bfLrT//
w6UaMvVgDKiNGUQ7QzGrJ0iK7au9xBtmFVpu2xoAj0DaBiPSaI8SWZzb9xVqH2H567rVW50Jw59W
+6oRL8fo190DPS/qHS8J1ID4WnRc/5UDjdOPTGUolsNJtQy6/I+IPMsRabNTZxce9XSo14XTtkfR
Rk14Es9aKyx7vy2S2bqTbHq3f08BjA0L1t6oHGoJY7JTMlS29jb7d51WhQBvio8x+v/Tkv916we/
B/H/9Skf1j6I21YqHH77KFLVgx0HJwLdNDmrPeBYmcXTAnDqApi2fEcFMAjaXkxvvEzFJwGb6mke
vB/nBNCrXT+lpLSXxTLYFmTCTQPs06ZbdyUX3cNUpbsH2UsJHB0CI7lCk/+XkFR+yCPIHpbTowzN
cr5bK4E5htXU4eh/iq5bDFXMmedgWf/h2GxdYyOiIZeY5tboay+x3XrufbJIYEQsRvFQJcDbgGFy
szGImxhkJsjKsuqvW65txO+GocvnszFkX8FHIaC7DFqiNqemsX8B9h8eHCUnsCuGMh/66CRNBqvW
UMJ0XSN2v7r6FSRHXWWEPxBvVZ5HpZ8WaGHQo0LLOSegWpwBTMpuHQGrW6BUxCTTbEexHf/LohMr
XXVvLqJbzYPjJUd/sPWd+HiTAu3qtpms2URZOM/lf5okdU+iT1SCUJ1BkfcQO1QoGl7afbBIl3Xl
XF5VQNc/uFSSfRB90Az9TQGt+0EvRtVyIWSLoJ/aFtROb2kLVKt+aGg4OayOy6aOZV3UIAQR+K85
oy1dJIYtjySia4JyS80XwLzklzbfB7dtqZXlr3ARtuewL6srVM3VVem+zUY7AC0KMqQf7SrzT2IV
v83lTtdyDHahCzZGzaSftVFOut77q6i2gfUqBrtoMpDE8+kk4mYwKvN5SPXgtqlUJ55vLpSOpEV3
SaG5FwmAyUwGCVR5S7RKZpvhwS8w3RmAz8VRfB6WbNtsu3JACUkAhiVNBtJObrhKeRI+5gHorJfS
1gAwGiCG130AKSi7e+0qPSXikA8npfPMS1JRoKMXtF/tZCoDHB3Upb4P4kg10ptuW1fUEMvU9Rju
RZcrZMV2m3nbi97qbxbZh/qD4lJGzzWPgKsM/lKWYLvpmyg63dDrUzFM/9Umw6qBUcNFDJvf93Tv
y/7dd70iYW8esMt1oa7rDl4TuSeBdQ+ysr2VefBVJEF/pyvl1QbPD4RKcN8z3h55E1fDFSg+oQnh
I93u62rxDzSqR1XFGi+yoKri6LmKW7BJEnv+IZ3htXPS8gyFXfLJp5/2NfJ14uF0KP0KXq2xb4KG
jwWfzk9uDTTAkGu/Jok7nXoTlCpx481gVxRj/bPZtB11VgfN6qHbfu/XkURzEU0ELkU5hMa3XPJd
Wpl64eCgZmq1F6c7y9+mvOc8+40dPFsQrdxkMN5nutZE7Y6CaThcA8ouFoM26G0KLtX71MlaCAdK
V923YJm0u6DmVfPOLtOQfogLpO77ULfCdie6Kpg5nYq7WvHwE+VMh/pO77QS4AH2WX3ULp2fraGu
qHOHmfDFqzwqUSKd/9UF0Srv7ehElY+9AlyJbgW8SqzUv9E2ICoZHkCv6BKJ4dul/fUOIev/s6lL
Alk9tFr4e+9llG+Zw/BT3qbFtfK9EHLCZSpDbfOtvpOTviuu5MzaPZzHVKW/O4pBxNIHoimlX2Ht
F7HTwaNPcOkaoeAopv2t+l2xKst7LhdQvLYaDfq7Zh+20DKOVsd8sUyW7tCOTWPXTVbL4NJ5WlGd
f54Fb08cZZ8YrMmTBl3pbqUimRcGEhlWhpM5bQj+Ca9J6dA9Btp4TjsQTsJVsppFXrlPxP1t6eK1
MaSIP5Aa32hT/sXfdsD5Sy2webR6vMhgWr1He0lDrTWFmUnGr2qx2Y365rC5ig6CBDw3n1VeSCa1
AWSvdTvq895We5ZumMfV6R/3fLjEJq4fCADDEZzBToUpZXjO5ZV5eT2WmQyDvExvcvJubpZX6Fre
hDezzNJlH5mBSsTL9ZT+DsSWse4vy8S4bfWwSsTNJZ6hVlCKDqZRryW4tpQcqHo5X6XYQGZOFBHV
sk3NO9tq9/Lgkkx2/1a+YGT6oOzXjdqlnmHuJnPXxCCjxUZo8aXW+g4MjcV07ytXGX51xyVVLR9D
XGSL7WNMU2YDi7MsFuUUAyEamRHF3bK5KB8+nGFl+rGuQD6orTw0jmUUAwpvwqXxmjV2e/G9OBr+
EC1tQtSWGxZdkqadjgcoxFs9eBUbdVndRTN773lSmrDPKKMC9ebil5XxElEC8dKWQOWUNEavBC4K
1ZGAcDEAWgb2rK6vZC2R0LusPl1ohNCqctsaAgsO6ii+gI+8swghlzvD0ZsrHA3NVVtmm/hoFp9I
S0cYnYwIWBCVzN7jfSaO+5+TwIHgernNbHeYuztTJvcj3QrK3Wb3jPIncOuzM1jpwQ1w7OAmswcx
Snnmxm03H9PIh15h85GZP5BjPGxrPApczWkC9YNN1xUdZx7WbasHjnLXcnpq20G9kOlTAWlolXPj
mWeRRN+/GzedzL4nEqcF2G0zf8/nQSf7b59gW/vvuvVjaR2cDoZKgSllKDBNSjRXArkS5qXcCEQQ
9YNoZJBYcZxf6ZSdV/UWAGYTF1KYD31RUy+g1Rd5S3DSiFZIaLZ3irxhbO8i28vFw7tGSyZwl+Yc
Ku9eZO7eXLYXm9oNjaurnkQjg56k4JWB5+ZEvIg9BMPDOKuf8yqhW/cfAu+yQCL03F0W5FXgg+QH
T63iJ38EvE1+XrMaSJZXYb3qtt+PWN99Rb/9Tt/1mwri0PqsdxBEAaavXvUUut79Oq3UoHqW6dCm
txA4m6fRqUd6ihbP0aksZQ/GPqUalf9N65fLFKgMe29MxbDuFNoA0I5LAZashKM4qp6JTC4M97P/
xNt+/Bm+YgVs5LR7Gpcaa9F1RntMijp9FSlprOglVfwPIkG9Xb6EPb3z3uS80D3tvMjMVIzpAj0z
u3rOC2zHb3o37WmW0NICBmV173zyDJXUzkJBnHVUtw7K1N60ReSO+9nUnfSjDhvSF81Sd2ltdz9q
+uj/EIQqnAo4pW0Kx40y/iRL0sEJbloyG7xQYaS+B7zVYawPYjX9+cnt6PcvQHbsd1rjOjeQFJyb
HfNGGsW0MyCI2rLt9t5DLB1VYCDL+P1xWyqGbZ3MdEspnrLE+iySvWy6uT34aokDqY/uPj1saUba
JTEh6arkyOjkysscgQRjVXRmhYCj5otKhkGD9N6gOOAkvkCZ0i8kU6CGSU+1Dcgr48kw4vbVjRzg
Iryw+gSLbeh34b5V4M221Or3JJg1qCU+ZbCHWWc3dNtTloJwSGfB9EGGFCQlmNASYt6d3mhnZeqm
61BoF3DXrS92UT8Hql98BmuGL0MHFXtkf3HT0HrtZu2L+CiUAV6VKYQwvdesL6PrlefW1CmdWnaA
/5TC3lbxn1RLfR2DOXnOl4SIDOBVJeCJaTeV5+iTqAbJzzy4UMP/tkIMoTXfSsfp4Hx71+tRD6az
TQDSUvuaPsYit15cm69YDQBFn5rNYQUAkO7+Vm+fbF8fbgIC0CxIAGmVu08TvUvgMi6YAKLMXEDO
TZfO+A0ZwMhn56XQDHimCvVMOSCE5VFBTTf9D8lVhnKZ+Wld6VC4QMFqZ0qwb0cKoaqvk7MgvJID
ct1Z50Dp6Ve6prrgINN4kWUm5sYJXSgcxangVTJJNWV3pxSnbY1V9RDjPcq5GfzYGHlx3vZ9uFZX
x95zlRn7qU2K6WTGw3ScEo9DSDrSBc19kXzQmggdFO3ZgOwro5aIXD7viUznrjAuj/JqEu3dgrup
mGSppU31EQyEcHe33936BkD4twsa6dGCKoCicX++G5rl8Tw6ep9RXI7lTf6ezzfdv7uYsPSs+/+7
n+db1KSs1wR+4ODpcOR87yPIhoUG8qyR+j8YjZOe0igznmziXUc3sqy9yoswhXnuhzKy3iCFw6VN
p09zjWYmsLDaPnxKUzPDi449adOTGeTS9ADJNEkMWtnis7UAzkdu+6miPeRFJK3qo2eeSNSNLcZ3
D6Mw/xzNYT7QxR1eNyROmYlOp5oHCJ93c191P8SlyXtj305Xt0gmevtMa9/5T0FD5IrmpLbbyVRr
oxdIg60nIJmD6AIrTUtvd14c6oXlaoqaDiRabyfSNpgLOdY/imLgfxCIzLSnwjBaeqLAoQDkcISp
tTHooh+cq51n44vet8GFjmdo3obgVS2z4DWtRv1sDiovAe86mSkw1kB6fXtQ57obHrUUcCTpqVw7
LYt2sPfZSMfuKks7JkxnVBAuXb3iOQbNKfQ4owNM3T37FjXh5KRfdAoTwbNdpqvMZV+s3+7UyULF
HC2DOKQc7J1Mt543lXiIUXR6qZQQVhYalWffthVDW7XhrU6DL3b8O/EuOsPcwHs1Zs0/KD5v3l43
OeDYDuo+GdL26KRtZ9BX7zkf1JIur7H0biKJX9RH8RMgWt4BWDrv3I79fKnMlAs8ZUpLsqCZK5Un
H2enVLPco7bwPKQLpYYYBq3195bpw9gShto1LivtKjOb1hLusmZ03HRiiNKCv1IioygyZzy3pXkx
zdGGf6oxPoItG3j2x2CGG2HnFukXP3SDq+hgVLApNKODlQDWwbFV7dgLqIpjE6DQfVujbWqADs0m
XwQuoGPxJaLHkW/iBPTCS+2eSTbD0T3P089wuf1jouguRyQ+d3Iywna9f1gJZmdySAsjgOUOWAtK
kPOboifFiTblhMqNbzox1GBBtBTk4yODFdXFzdACKm3G9GkYfL/aGT4g0JNMtWVqlgbo6yOghkup
VdPMvKLLdBuSpUSLCCp1WouPiMYEWEDnUSDk9oO5G9ww5Z4QxHvOjMa+SAP+3O+DAXQVefJ3WWaG
V8wXsAE4JDb6N3MJ405UGtZTqBnNRVEZEmraAaZQuuYy8eNdZLYqxS6eogzdiK7XdfqwXJwi2Wnz
l+34lrP9drkgPKkFQXq/ToaLJMdkJn8WmYXvecHN8I86cSncPnzLCz4s2cTvOm6X/645aFxvX5mV
S3Gvpz0pDhUqATyee/kzmWZVOEeZVlJ5t/1B77zkjymWWkroviuT/OO/QkyZlOst/wZEcypjv8l2
SHEJ56bn1VsMq8/Dwjw5NX7sXAc7a2D7gHchMIInapRH4+d3UUmCqP2saOZvul/TrGOpMUFHl4ow
x/CILzD0Kt0Sqxzkob8qp0gHmnZMCOH4DY/BzT0H36JeZaWOcZJFq7/ex+bJHarf89rft1MH3TUd
7v3OWND012nVQp5gg0mUgmf4LJJCsuo2uYnWw77NVJRxXyZ7xxv8w+gr1QmYxrQjhzn4yl6aOqWd
U2Y5f76TNcKFtxm2VtDNugGcQc9SPvWOU4I/DH3qOHbVMVTd8WOmeT5xfFoCc18Hbcyefhbk4KHx
LRrpFjhhDVAfjU6VW12U33Tcmelt7egHEbBhIzS/um1dnqjoHS7jAo/WL4PMRPcgbi6Kzt50xLBO
X3DUth02XdCkt76ev0CE3N1Am4FOcmEcaYYx+k+UtT9OvTn+aIPud+r62NmD2F6Ad6P8OvCsvQLM
SEFAXFD9GC8MISJvg/hM744mNLtAq8TjvqqK8NNZ5fHySaaOOoef6Dh4pvOdBPFi9RZVVDd/8OTP
2ro4c4g3vM+t7UL9RhytKQydYqe4dk6g2SfHKiRqzaMGqM31fTv2g0PYZLQTy+u1vJlzSIJQ/e39
fHlVX23elQb8+rKdAOThvx0DzEY9G3paPT3oV1yHze/h9CCwDg9LRNdF57w1gKNzjFzfG0U1XcAd
KTlFBvMEjEReEY1etCLbi3K1i3Ibsgh0mtVztYurI+udyRyfkto6iE42muhMgYJ02U5k2ejuM4hF
tWpzP6nQFxO8b5uZaoMle2kvxdFt3bzNNp1vZt3B1RSV1DDv80B/4QOSp2LuZc2dVuTVJF6aGbPA
zzh0crxQjoar/Wa7XnzWK7e+UXuw1xUag0l8U4NTBc85ZQci1Y6jgNhQKflOpq2SnxQtGK8uNDYJ
BQM33nrcD3LkkSE2tIXdbVQPIvp51Bu7uDa9a5RQVr+cltaDE6kqalSLydkn1N5kNiWuZEyqjzKk
rhedxhx48E2XF1Tn5iNlxKr+Kmq9/LkPve42NgCI2HPgHiP4PSiLHZoXoqDNixhkJjqo20dqyF2+
VXg8uOntOI4QO/TnQUk/wKBon4OljSOSXo4FTnZqss8c/Gq2+L4+FwxaY/EF0Z4vEP/pIskgGy17
iB7eun6fNZ15aBQ/uIFBr8002HrkHqzps+goBFOaF5n6hQ3neZJfmg7GIzMjziyDiHUOVAqHsP+s
mYLcoZZvyUtUdktNeLtW9C0KSTHcyVBG65dVXn1lmewy5BPPUfAa50Ov+F9T0/4l6xLtCwju5bVS
zWgflob6pVdH9zw7VXxM3O43ExzrW96B+DdqPxkDTeMilIC7ka/3fxKpAUjrcxKX88lpB8LMi7vo
glFRgIqJm6dALX60qXqBen6CdDLRsp0PQeCziMKmCDpXtssj7U0nIBFwU73pNsyIqbA+F4nTg2yg
UfySBfW1W7BE+wUfzhYo0U0Ws1i+p/OKrirXLRJl0PY0yPV7T4BKtzXrlv8si6WE69nRg2dTH2Ah
aJQEtGI1OPZV3BxWuXKcCIJrw4YyeLG7Cl1tQ/KqWy5R19h/DWkCoZUgTIxLLFNraeYUWYZVrBcE
pjt5cRfxbrmm6PYTLaiHzQ8iW7pyav+zr5jqUevIJa25+r9WB3xPZ0o6P48V9dhkTbWTCoBHR7uY
D3MNDIhnmbBPknnPOW3Ch7KXqbdg9NE+A0OJyJFr5BdXcY35eOc6uYN58ECL2bexBndLog6HqszN
LzZhqOPE69upBhjrY0DY7xMUF8Eu9SiKNuom/iRDNszKrvJt87zplCosDwY0U8d8Cp0D9aUexB6W
/2pFSkWLe3hs7UR5FZUMYES1RyACwFsbAhd+h8V5MrWPhQtknzhbXt4/mbbn7Ma+UneA1/S3con2
Naly0zK7+6SVTvFlJvq6hATbeQBvN1Q/2SI5eXrx8v9j7EqW5MaV5BfRjODOa+571tZSSReYpO4G
SXAFd379OIJqsV62Zt5cYEAggCplKUkgwsOd/5EJb+vY7nhpCn1g+tAVgivgn1u+UkHAT1AknC7M
rmDDKW+6hLohdxqq3vgy+C0It3/ZP+w475W0oOBxax+QaNr7YZ/Z3wf/xDbpY4T8ll9r9icD/dzJ
MPCnSVHat/gsv8uHH2zdwE2GnDj945ZfLfVktpfg2US8sb+q0R83rTlYKBiRoLsh4zIDlR9r7VIc
o8fBt28sewemyeYJ0YjmWHssWoEjnYXAwMHo9f0pz+zmEodF84TLd/NUZ3gjAVNebMhGjZ3F062M
/HlRyXDQXA09yOAF0N/7xa8ZTYgYiz5axSBMfVomlp/zy+5n+X/8HD1h5MA0KRBjoOC6R1Q/53/l
UDR+TQw2HrxIDvvJjro/xsZ5AwdP9iNr/d86JOBtdgOwWpr5Oh06708RI10P1krx5jljvI8mAeLj
qmd3n0P2rR5scxWl4I5wYx3LDhCdalXU7OKs/k6jxU5DaiJeouaCugiuF5vS4yBK0rxefPT7jYoy
Y22YCkH6hecrhLz9KXBcFMbDb7FTj2yTNd4tqxiPTpEXa5wxkh0Fkim4jOocQHRciC5NYJ0lUxHF
1clKvE9kWoLTqEbO1yywkQrTsWqaFQU373W/nsPVgw/GAx2H+0/KThpWk/qiS7mRnv2H2ZNoOJch
9R6WLja9XqUgCltMQ+zzfWQgNatFkzNrcrXO7mYm/Rky7t76vn0czqQ/HJq/5EyvPieZmjOL7RfK
Rigt6ltKHKAeMxRxYr/2qd0fYwflQHMCo0lTJGgNHGpG8IN4YICZI4B5HsltOgQFYAD4jkkwQm3y
Lh2hqwCMj6UbboNLBUd40B7r4QL+oSHBgNw62XdelVyAADTvkQviwroCzSoNR39id+rlHSRsXIQ2
fVGye6ibvKxDYJDUWIfrOIpBRgz0awkMAuqS7eJc14BDolT6zcyZeDPyQd4iVr3gsRvNpl4VR1lA
mQ4BLrWOu8LbQmi+vwwetBdJXTGSKSS0UmAxtVYj2amRQCFA/QznWbCkn+ysb1d27PTnoSs+/d8J
Y0osj7qQrSqbaG0WRb35wLOyCAeOPgRBgyybNkTSQuwq1EgwD+9xOn0XRZWjIAJh6imLkGL+z+EH
mwF6YmHk9oZs1Mi+l7sw6EGKrg/OfZLq07Pqty5qfFFUguMyTSATF95Dc915EYj8w1qCRgpKVEvT
xGobRh7YLn/ZXQPCVpWtxaEHSFg/TKhaa1e1gHPQhJ9GzT43/H4Vqr66O6CD3no+oFLckhWI7GO/
uidlynZxlxuzDzkGfl1tUY084tU3mi9TnjbrqlXTVumXmCqFeWGxQt3OMqZeOwCTXHeQ35xo2jMt
uP9aY5XRj3608x1dF4PCYZBQyOIWRb3IseHI4K6ljjs7loNMAl0TR9WGh8gcNy6ipScR9cPJ/tWj
IU2QrY8bgJeWMU0vS5YdFhv1GgkdItP868G8+D/8RLOPxvlXoRXLsmUFGJH/+VUefGj4u9+RbFbQ
ekdT3W0Z4h+qG7Nr1QpKzB7HJXQw14yZzRrqlkgYQ9vgNcoLPHoHplZlZE6vZFOOBaIqQ6LesTZf
+wnUy7U/ljuaNEWerlQXgFPbMNNXyeqvrEnGbwEOXKsapEd3cPOZgOFcnMwyAegsv09Oaxxs1kdg
Y/in6bnVouoMlWyLjXqR3XkHy+E/Frso/ejulEF4Q/QA4mIHLbQACp6YPxluw5+avjPAEmIyZIQt
G13ll1u8Y9mmFI1joCQk6w9ekYEBQ7vTQkiJjheVx5ecXMimFecyfNX6JPgjT7L0QKHmJRId/4pJ
uwEewZ0F/iEdkSY7uSWlBFczjbNC0za7InBxvANX7NCkHLWCgBMLM8qfqGlA2nuy0/pTOFrZbCK7
oy8kDmL1B46XHEgUQVsApZn8U8rq/Cn1kuHU5/iEUeGDAkN/UCc8UQGXR7X5OR3D78lYZsXa6QAC
XWaLEZJkrR9sfV7h2ArxZvA6kXTw0oQOj5HSRCxusUX60+/1I6HIjWTzMFHneBvVDv9E9n6wo51T
SQAgfp06ltMFZGQkOI3r1NukFXDv5FNa/jAfT0aPTbuJx1/aMcrOYwW5LKhqqGQ1RNa4FSQqR1MD
yTs0WkWu0w2+ThdQVAL1nugHNqjhb74GHuS+I8DbHEdXqMG1Yq8nKpcjwc2SRuyX6SCFnm2d3ksL
tBMTuDO8je2Vw3mKyr0rVAjduBYnqdBxq42HlChYFT1ruhVTechH3DfH1h68jYl0wcHvAQKkYV5E
5o31oB6FsGy+a/qpgwixXkeNc2x9t7t9MCcIbgLu3a9tVqRH/BXGO7670QbUnKALMN3ryAr+l+hr
/P6D95UHxbBOOhcvDqiLrT7QgVOXuMLTBsTL3IXSwG+nyUjk4V2HIB8Xcmfn2cYfvwZOOX2SFQ+Q
SsvKo1sY5otrlaCgmMAHN0ZpsfbrWNeztmMLWBXIwBvHvAyoCbs0ccwQ9rDAvR+m+Ht3VQDCrAhA
lMZzxGoAJ8YubLPuUgUBMLF6YvbxtZFmWq8pTkFoI9QE02KnFb+zQSsOdHIVuAj+H870I/E42IxD
VJ0efpXlR1DPaIF1DSz1F6s7CA9GnvEWm8PKBmPhORmK7M0Gl9s2rHNzawE/+zaFIr4MOcMpxyo9
0DeOKw/xtVfv7pirOPatg2EI+Z5UBgDFEGjykD/aQWL3gx1qxD1AUmEO5LiTlp+nrIFobR2BRhBC
G3sE3NUBd+RP85AFTX6uJ6imJ1P2AyozK6ElZBzAsnTsOzz7cQfGo9KeoJkGfsjdUPvtuR1kdwZo
o5t7i02FZsGRjwDTgmVBfXiZmfzRPyR2XSV/pwPY300DElp24/JXN/GeoGk2fu0tVm3I7mo7wp2z
HYq5P+3cTg0o2FgHrqq9Mur26uksfNsY8bG2QIpHqvFkS/jwTB5ksnTaHncfY0WT1Iiwe3bwHnnc
Y4T+suNBJ3TU4cPCFz0Y9Py0XnkR73Zm0oChs2qTfDuFqLZGsKq+hrqx50Ch7nYxKF5aj58jm2O1
16t636XV35kNmBI1UvfyOC53KJXqVqjbAv/zMk29cMqjaxE+mlPNh1q3mvkZMmPFKjQDtiNj6XbV
9cNWqd4/1fvTfuRDvXm1aIfo2riP+w8yigCrgMbOXKDwQIrnDhKlCskQ7cE4IMCOrYsYHusZZqeH
egcaQpdoX5WQUaIleSYB3Y2CY1CBrwuEXBdc0NhVGJF1bYntsZ5adUS0656qyAHFtp7+2eVCIEIG
nohYu39YQ06xhndxV4k9DVGgBmWMDPDtX9DZkVCyXjnVW9aAcW3Byy4+1KOGgLUPLg9+84aLz++2
pm0e1tFQdOVXyA2XuzCTDIKng5Oe524StRmiWWWIu3Rp+utOT83dWr/rPli9yuYIkGsHp+/Sc1lM
3T43i9ti+tf2NFXTznNX7zlABRtoFb3R/OMgsJpMjEGm4J+9s9h310LUaj1yozmnKN0rV1FStmcW
+Gm+IyuSCYKvw648lShSPBTD4JYrmqHmw3j2JGuiN0loP4hTTmsc5qf1PF7mH9d/2MpvQf/lGCAA
Kc3EAHsnxAskr+ubAazMzcILn614JNuVa4lov8zE2oeGsrfvanL9I61Qpf1zLU0y80vZooqS5pbV
4WR4Z8T3t4tp/lFGnbED7qNflwn6SdxFsVWEPH9sAUWtCY3OqfOelQBNTYGPMIRuhl+9Cnp41Wp2
A/S4WtE8jakXDyATiIb4vixZtvngpn/YkHaIwi7Ty29gN0puZFBma5qdHWmaxrTP/Jssa1q3T9eA
YOEFN6FKOGRAkJNa8yzMDAVPC2G3aONxVV/INos3myipODRZ8j2x3XLPZcWuTu+I3ehz/+ipIH+1
hf0D3Eb5d0P1GtPvAXdru+zU8QSEWQiQfbMTMMDBAarPOBdKxs5FmYPRPgQmPzN/TO7ovqVAJL70
brypa8N9I1Np1RszApcrjeRkIpRop1ca+dMwrO2gk0dlKA/vZGVsDaMOt61ejoNTfhSVsW5w9D/R
S1zKPN2aUQvm3irK37ok9lB96QGPo9/pLpg1X1z3nQbkH2f9D8vJvQu98wcVpduJQV2NPBBRhkBg
Zw0r2gzvU2jZ+uEKGfDysx3kiAgZ0LtD4tE9xKjTPHZlwW9OYSOYYPbep9o1/yzGof87fCpk7/zd
dt43D0zH81rItZT3xBDeh7UsGKaN74fzWvyn5CsgQhCx1KjnGMnnbc8zsV1Qz44H1AMu1xnKwC1I
iFb11gmz8ZkWNAPqzhPlfmNdMgE9V3wFUVn0Hco4IEMNh/gZF3ILz5fIBoMHJpR4T2plvIFa0V6z
yVSvoPwIz6J0/sp6raIxJPV7PhbOJQBq/tW0oZ0dIfD501fbrCZYZW1fPad1UL0aYkL0ADxYW1rA
cHp4SqTauryR68LkfOuWU3vxddPrYqpCHySpRzbu5Ww96tIrmkiCEKoMjhi8ZjX3yQt57+OYDeVx
2Yd6y95m5I7HGHlD/MYliF+RHO3w9Ik5QmVpjKsXdbu0kw3U04fyQmNXO9tWLlZJWwOcrIdk+9ca
mkI1KU5ZLkIsH1brNe3QQaWtsQ7Eu0c8fKheEWfqkW1h6WNOW0Laz39/sJPv75Y+2Jz0iz6lnhsQ
efcIpjsIGwH9vuplhRuUEwpoNYQx1EbAkD2PFx+ysSjFlR94q//GrEb0a20bfkK+lO+gKR8DOmiC
8N0xgdTMRnkSiQ9xPn2fpcYojK/AR2aX1A4E4JqePIEh9KeHb6R70ysq+c2EXs6qAG4UwollgtOV
8g7LbcRKbQR+afxrlq4p0K6GBERkB/j/j2865Fp3FpKgT/TNFUaD4OnACjCuYzLpbWcvZJoC+IeH
hMV7dgOK5t4BhV2vfy0l3xz/39eyaYrj/AzA93hvyCrdFMyD6KHRnIrYytwrzgzbRHX+vgimfegH
4RM1pq1A3NXwL+Y4/DTZQLzdU6dbkQNkwRDYMLpmHzoGuLj1SvIdIA0DTeawOBaQMZx3G7lMQaNt
BUh+gZogC+J2S8VMVLJEFU2h61Y4CZqbxUQ9cvOpEIrGJh6jczWUmeAR1nkC3DOihgIdT7aIISe4
fYM/iWxUXTP9mpjLSai2xnOcZKs8KFdHfb6uvCq/h1LkdzBY5Pe+h8xBI8BDb/tJ6KwKPW2X4CjP
8+Q7+SFCiwkjU9bZaMRxWUu9TNfnyGC/mOeNoE28ydzJvdCOy081jOw1hvgdxEHxOyz2ccrrlc1c
4EN/TUQdl3sjg6ohs03jnMky3ArZZCgrUQaY9mGjCRouDdlolmw0bI1yXDuiDddkQwmWoeZtaKyg
k/RzvCysULKtmqre/W5rsCu12zJj4GuXAJE7pde8W4EZr/mUjm9NHLaI9Yv42cYBcOepMLhCKjuH
1vsELhIUsRw4U/eCcX9V2l3+FDE3ewIfS/7k1d7ZxtX9QnYXD9st1JAgyEVqdqGmJRe2iYJjKH5u
Z6Ns3HqrTADGCBzRolDmJv9BnuJtH9xQMDWCTBWYYj0q/S3wnf6ssQL11m3cT99IR2XRTPkwfNBf
oZl6QjwG/2rosaDCvAByZgo2cZyPoIuSiER25VCvbRfJ5s5S5o1s1Dh6Fr9O53tyNpNDDibkG6gB
QEQKhpDVYpt303tUEQKFEqqZ5AvQYrz2kfVAJAhsaNRMVSjLXX1KRrpqO0m56wrcAAKvTEEn3Do3
VDchKiX4N5aAOtmIpXNb7BMH+lHa8Q8y0ST5U6+ZxHdbL1pM5FaU9s73Pcgq6NBXpoNgKurE3CMb
/jj7QoICmCapWXxpGJbWZ6vo/sSLKD9ObVZAms/eFGYiX0G1dQJ9gHcRyHNdEKntDjVjT2Ra7NQz
hhHnePKbMih7Jh44gWimF1kFEKLeZlnjC7s7+Kb93/aqK4kqUjDcbgwjP894yslF8ZI3Ju/KQYpL
DBxh0y4JsqcBfM8WB0vLKPP8qQXF5ZP0/WJHfuVkIqFMfkXrzn6gRXA33Bh1LO4fJoyFHQNPPHBi
PLBgVH1ZbTnnEGLUNBrLOqLHAK3vi+So3fokJMCTwqrvlhgqexOZhQs5UdYePTxSjgGEJ1DOxJw7
NZPmzFA20q4VUoGbhwnDDr5ZphiPZPdZ5dyLDLW0Lb69o/2tl4axrxycYFkf1C9AAzYvpiMVkOcu
35ONGmH8MUohn8EvKEGEtqePgj6pSHQge/WjI5nocyN71fMYMNzpX77gF5x9exS0AVcvQ8hg+NlW
taI+eCq2P/vMfIfKevGkLJ+9QRUVUZnO/pyr3NijmB7SJ+NT20P0wiVib0S3rzObNwga0isgA2I/
NZBJmY0z8Te5UpNFHBnvAepv87wx9e1J5fXZcu3okkkoQkaoB3wveOhuIiHlsSji+L2aNGi89F9M
q4+fm07+QV5AAvF9wiCpTEO7KiZQ1bX9tZMD3klGyo8+yx0AW0q5n8/Z+rAN6NA1wkH2SmftwLGD
W9ZUO2nxFqrSZVMcKpHf8rC/gT0a1OdeBVqL5SypVDWZOzoISgi77pgZ5qvlBNlIIy5fVu5oQgaS
XAG1W+XCc4//K8MLcb0QE8ziMkIzwegrcyaXWey/8yVbB206XoLuHMzrJXPOfoMQrz2AYtytgQJE
oMe/dbbt31wI0awgU9ruxyIObjRBTdVIeUCoKZmdlxWNXgbuTRRheFpSFztRQ+u5CG+4Pk21tTYB
uURjxVvUDKCAsZSQUHNIAdHX2odxNTDIiZO5HaCVSNZ5DDnInd+O8ZFsVVb+nJ3XkDcZTSjqbhGW
Q5xeR/dCL06OSmV3sNFN5olsXZ4cfWuKTh+idHPX0jScPbI5G3L0ixhRVzN4tXCJ20jfUEew/dif
wza8D0XHnruOyVc/KWdz5Zv1qXcGMGlor3QsPy7KBv8eqsx65k05LxJGEa8gQJCl4R48SmuGsPoX
FK61K692ApAd9uVLkkRv9WSWXyCs5W49xJsPk3Zzx3YF+VzzWSDJOOJ0O9jNTfrTrgdq8ysHA/G2
910GKfKm/5Sz8afdB3kVinjNTR25zqnVTZdB3WHuBZH7cagnugfbw/CXy8NW/4/tyQXZ2ho/cu8m
vXOnxjQ85940OJ1JXKsODxPC/rNsq+62mCGUVJ0G5b+RqUU09O5VhwcJD5nKcq9y933hg5854xc/
pbRQSA5s0N5O+DtxxJdkoy41VtN1zYq65Ngzf3Zs9LeqNrp2PxlN9IxP3705E1vHeHs/D9pEvRjc
6gJBj/tiCuz4Ge8pSFL+cpWmg5yMDBBZ0DZqxtgJ17jKFDsa0k+pxj7YFq2dIanQpWKN6lZ1aD2U
2zr1qe68c5e0xT7oA3FdGr/KIkTKW1wRp9j5U2Ss2JOt8DxcDslRFfIzpS8pVUl5zaQGqNRUMgI6
AZlPmhgMIDn8JkVdLUytaeA1XJc4qyaViqApqrOe3ggQMghTjvgyYJpP8Fz2Qm5KXRthbZjMgkuo
qxScoAsuUVy2EAHuX9qiOOSel90RRs3v1BuHNL3/uRhF2mfzjDmF+6kGlnkxkRtQID98lwM3rXei
hjyGBiln0AmByEFPLKtiEQ0b6FqMm8VGv4BMx36nmk6sl61Svdb0LH7gtfujz1yk0MkZwCLvDLGR
w8Mm8z/AaVtUsg3jsdaVe5Ou5gss37h1lUS5exFWB1t2waF06rcuAjKUGhGHEw7ZhCntCD/qaGTp
4jBax8GLitREYIihFsAp5HMP9bkD1Bpw60xM+Uw2z0q16kz1HrK0OUnp/Ci0K0pQhqvk8uDWYfJc
R2Py3Am/fWrUAaKrrQDuEPbM50CFJ3Kd1R1iZkCsdc4ISvWouC3FIFQ0Iu2fc9x+zmL1yasC77l0
Y/+pmp6ctG0SQBnwfx94lj/mYc8rb6/sPF+Tr+K5/6yUsDe87OwtDWkClbMD0qVBerRBtgzwdVps
irZld9sDPXDT1g2kGDA0CpfdoxJN0LfTpmapvXFziOqwGsQeStdOZFzYSGN6AZAseowzVHaI7P4F
2N3gGAdTBYkmmWbWqopFfQa2aTiwQR2MtKzP4DcBwsfSFxYaU0N+TTAM5bzkd9OLLTOfywylCCmk
QFqOuD5HxuwqNLo8b9jPnojTARPt2shAMYOCVMwCl4cu+SgI8+G27R+tGhBDaGR9QWlo9FrG8rOY
Qv8U6iOXO0lUB6BObhpsdXV9ux1W1GV63FdMrANb1lsUJWGGjMhJIsulG7A6GTtogEmURv5jqx39
V6BxZCJLlkdrGgBoCWT8LzcaJk6EJHo8prgVInBQQvh+NbGou2SF6i7UW5rFBlq9fBfLDAWRgATm
Vvo38Ac4mIjaPfe6oZ7htVrJtwQmMLdjF1WD0tm6CPDgXGWmoPPUxrmh8by8iTBFXZpq8NmA36Et
t1QfKIxkn+ea7q/qUVxCNuZyFI5QVWCoSwOp55jteErwPbUy1N0viJdAxtMOoocA0Gn0BU1o3PwW
ktvJhlVTuk7K2DrghB+94nLHr8Ai36iWuWbQ10TmBNxdfDyAdysB7DT2zmEO/tNycJvt5NlQwtU2
JzOAS8+v9N4PLZRwd2HHnizfwkU4AoUCGNPHrzThQ5kUakvxvqkD0NxJTdkTIbiOklndLWK3818V
cNGryW4FLvORAfZZBAxOSzPGbQB6TF1KRUZcG+NVzliHhEtZnMtAfGwaJwZP12J88Mn0kqnzA+Db
gXNBNdp0Sl1/PEVVM4GjBsPFBu0OfCI0LmRxbyKUivzOb7FJVdnHIvhW5n57bYq8vZrDiOsUjVWC
ALunQH2cD8g+6wZv5vwK+llg6iGGh8c8EDoqQhMN15wE8lIgZa7c9t394BXPddztgnCExENs1K8d
TgsQnEz6I9mAEocksoPUcDaW2xRCp1fZGBBIsmPoZoctQPihdM14yyVO3wPUGlU2qBsQWAD/tV26
amw/PZiMI6w4vizhDgpToHJOnbzJvj5EQGhYaQDQMJiHMUAspwIdCrLLWV/cUWvTb+oqMjf96OMP
HA6Ju8V7v1+rwkOdn+HkxzQz3Bc3D8SGF3GKCIPyXtxEWM9T90YDckgA7N5KQC+2qqvwgg/B+qfh
uknmZvhO6W6kEboBzgh7x26eFlPmKlDzptDhPeIutiP+UGoiCV7ceVyXwVseCnlKrCwBgAA1T1AQ
rzVtyM/XkswDABcC9UYvKbKzPBoPcQjNJlP0uMRUHDpCiHrLEY8m6jWp9c21a+cI0EG4tUPwtVqd
IZ8haYr3YpFZa0v0XxG3LQFDkcMz85z+2XdzG+SP6a1hoX1AXWC/zk0v2wW1mQGNIHq2B8s7P4YG
P2VqNNeeE76FftZpEPv3wPHN97wCRUJnGWwPcc/0hcfyDD1htsnBh7PRoiz3SDdjVHd3CDugEo4p
BpgKbIlhl2dpoH6gS9gxM3j2Pk6AGPmRJ69mnKXPtfDlKrJwZgahCapWcudSVKb9oWmg5XHh+NBd
x1fnZZJ8mWC8XWW9X0H3QWzpmRoG099mypE81k9YejjSs3WkJ+bymH2c1t5KejenkxtolbK9JYLk
NhWZvFGPGtx0UUoiO7E19azdK6BYPTffIxk1XIs+63HOBTqroS+h1F84kqVUCqVwNmv5vcwznd6d
+JmaYABw6EhdaDSDb96c7bH24MskqpD5uRI4n7ZD8t6Y5RuVldY4bkPsTkJ7dSz4XrYdO1NJKjVk
r7gdrgPUhG7JlmtfmkBtqn10PPVG9qG2+3DTY5NMb0Iey07LJlXQbSozbF7cgqHIs4cAIfRhjT8i
IKwvcV6Mq0wPUYUcnnID9KG1m0xIa4BiB9CMQTfUc4DcBlFYkm0XW2zm6aVAFQaYMn85kjEbvPRS
OeMzzjj+niYXO/UcE49LQ6GUGXG5do3K+W4DEg73IhMUvJogSMzLUIHvBg1VR1MP3/2/g8Bguwc7
/jf3zQonAbQ0lSXtl0Ba+X5ZuyyJPXs7MFQ2U8WIGDvcYPLiACTbcCXThwaUSVfyKIPsMNuBqdog
Y682y6sW/7GQMBZjCWFmvH4NI82clemg8Kc1rXMPhWoHiYH+54vZ8JNtr0HWi6nPhq/uEKujO0Dn
ibO+PSyVglRkCLnfnxMUIKdZmqAV6P1cMVcekjHkxb+2oYnAz1JAAboQKkyabcde2Jfp6TgQMU9Q
IcYIjD5IPDwfz15b4q7A2voIHXT7HE2hfaYe7lqe2pWIrIKNSx3I5oFPQu1c/Jedfbo8xoeGwMaa
CjEBKTe3CH/4q7nW8qE6s8xL6IJL8JPwMua3oQq3iAe6J6gG4b8JVWtS3WYWO9MqrQEhxanpRVhW
ebC7ERk9wPihhhrVwBvGvr1TqKw9UtqBBxm7zLOkhkpjmvlPvw+ZCprddPpgU/nDEfUzJr49WXbK
P3eovd21QV5k2waglRIZ+ivTQtKkJp0EdnqEfhmgjuTCbdGtTQloJ/mkPkTWVqOD4DNem79dV6lQ
bnoFNkuqF0l9p7mmDTvOFSE0xKPoOJeP0BAH9OOsGQ2w6r+c9VraCdjbFXhxV5MOcXvpmD+ZSK5V
k1/cyERNVlTB1mxcf01DgPOyJ+r1ZfrBl+xJYUPYCkxNvk7u0Ec2f976D0EfcqKQDS+NH/ThLx87
DWdX/afxajD0+C7yXCH/HkFX8TqOBXsbK8DzheFPBxr60KiCRs0Ub2nIuOIAGw2I5gIN8uYapnzq
+wbq4RiRx1Tl0Irkd+YqxM9V/D1Ny3WBN9SXqSv7nUjT9Ig/7vTGWfpGDiBAwR3MqsK7k9/cDhy5
S5KFkinUCGA0nRSnrSWjMuQZkEiSG9vAGaJLUhcRSmEcgAmXccRBSV63f9KkYVR4t1P3cVzQuqRI
8/VguivgOMHT7E79E6oRy3WUpOmPyfrC8Cj708cDbVXwCoSTriEAqQ6j14k5QArggLKlC1qSCnYJ
Q6OQeLamKAvRQOqO6rxwpIpSw93TiBpBhV3L2NHwbBpGZg/Oe9QKrSnxwzqczpvQwSXi33kjsi1u
PR68S95oiEOxB4E2im06o760fHodf0mZo/KgA+dTBpb7vunlGuWDFgJmCtIr2of0zRGPgBChfGZm
kV56nWIPprRam7XMjq0e2lbh75kIE/CkIx8fF657i7L6TiOLfXFjK9gnUo53WzjRprRZ+WVogqtv
COOvPFCHKcj9r4WKhzWCpMYuhDo19gPfZQl648OAUj08QuN4OAQIj66q0UX9IBn9CcVHJo4TY8bh
AwUnbxOzNNi4bds8AUXaPlUW7gg5StsyVm9rA9kCnTr90LRyP5jcuJRWh2hW8LlkyWcITibvSRN3
SLyoZIe3S/weT8gDT4DQ3NysyT5FSGoChx6/a274cwY415rc0nRsNyxA8TTNJuFw6IRxdtPA2bAp
fsa9nF3AgsguAAAjCuERXJsMIo2rg/YBtwUeqfM8+XMQQ6e4LEHxJoQK1yQvoUwhgZr2VnwDaZLh
/OnY7F47lnjyCoCcA7PJr9DNtP8oS8T2aejm5schzS7OpnZehhG35R4nx2lTDqp5Kc2hR83CZB5N
26hfwh5Fvdz5SnPgBqxfZC84SONE5d28DHGoOCq2YCjt3lxut2fRAfRKw6g1wuc+89Y0ipXbvcUV
qAomVKYh0dW9DXacrls8dA4/s84u8/Cf7VfmlnqsApVeDDKJLWqWxjMUnVAeicJNhBOA+TIgfBeM
2zzkzSqCouuVmtKrqitCAd06Al3jhmwmfuHrqJtl6ObMP+a2cSQ7edDkwxClOV+goMuh24x9yWPZ
g3wbcKntphof3MMEDXlWgsQT4mwDcKRNmaxF7uY3EbfWxmDJ9DmLIuQlXf6X70HID7e172EsEK3L
i/Y+yvhr71Rvo34JEgubqXuFLHNIko/FlmzLBJitj3hK5ZfZbppbmfbsCF4Ndp7cBqhj6s7jOrLO
tukBAj2lmpoDLtokKi0a+bjkcXVfoSSbV+mJ1jhMpFtd4r0ualBPAOTwtQYmZyeBzDjQUCCJ3/Ev
oraqg2EaxS612vir9MQu6aPiE6guxhOIf3Gv0vbCnd7EaFS3eBr3yk3YU8UBPqx8JBdNo2VPRuqx
Jxe8AccxdyVuv//YqIebcgsBqydaaXoO7oaFiWIOWW4aJSBxnDTspAlXvuHchMAZOOBebdDe7Rjg
ihcQN4pzCWnYvS1l+ZwJ31znLO82JsoA1/TB4Hj4JFWGDK8PxbHKanFeGQO88vQIcjPpJtQyYxMp
jGWiy7bghENNDgmSkRfNN/gzoR44yjZB4jSbNrPFrU1NdVacix0yKOJT1TpQpLS8P71qwok6sL8M
KvzpmsZKQa8txXFNu7qcfVGyrDdB1dTbRpPApboYj5kROEay2obKim5ap+MfxxPNk6tludkeAOQ7
OS5LaHL2cweorWdJ9EdohH+lRpe/DFPMzkOLi1EQyvrbUDe7IfTLz6AEKQ4iHLTsquN8mdRXmu9s
1FFiL/BgxV3zJhR/9tup/jZBP2At1bRPcrdB4c30wwPH5SkdsvqZyDRjaf0YuYcYnFLm3nH7AMHz
GLoSSZgHJxpHpfluWUm3AaXnUdYquk9+1/JNOB6m/+Hsy5bcxrUtf+XEeW5GgyAIgB19+0HUPKVS
menM9AvDdtmcJxAcv74XIZeV5Vv3VnTXA0N7A1RZSpEE9l5DAwTyLRo1oJljkWv8NHH7wNNJncpx
+kRJGlz1UBTHErbbvkUd+9zI6ZuphpiDm+b4mVJUsu4Fkzhz9LJCAxVfPAD/sxFwYNx/zUs9e8OZ
V7jTl4exejJBVXXZrnedF13a7GXMLGjMdzT+0b9qN25+JC35UcPJ4hMathHub6M8da2b7bWepo2C
k95j1OLbstOYfu47APLmk8AA2U6wo/iC76P06y7kj04QgbdXULRvKwtmtUw2oCxJsNAnPaiLOcgu
dg4FHLdLL2i9hcmBaBSjalrXu6aXP+dB+l1BOw0SCfecmZwEOex+J3G854uqJ9Aat6G8UOfqYgb6
knydVAVYGPQDdm4H3HICwdUnrwFxwXXzWaiP6HqJLulLq1y6qADoxc4jyh+SOp3JZJO1BUwjeshV
iu4OEcGnTrNvDivJj8kvZGl9ilob6uxQhUZFqGkeJ50BDD7mB8sNm0eTp7z4kALnrEKjBdrUps3Q
jPbS6zKYPiYpfQjmQxpZ49FGgc9zS8YXZhpkDlHY4+gmmnkmdztkaBpHmctxPePc2+TMjfBJ+25T
9mDSeSzFnjjtz3XboWDMwUCDCoO9K4v4ikrKz9R9UBF4UgtIifiTU1sQ4/01x+5QIicoE25aN4fA
cpB+N09pt8X/q87BNDVPcHNI4f0JdBiP9ybsIBt5IdRZmMicVcPQYwMex8ezqhwyrhYKCNBajuUG
NHCxqey02A1oKC0Ed5urOUzozPhlDWxFSzJ9y/Vqm4iMPpoJ6KrnOzrhDshBMcz8fHQzX9Ps5wnZ
mHxPKpjOUxbNYnCzBNyHl9UsD3iLuSLgvjrv0O+drrlm2O8Kkn2L+tgHUQDcPKLfIqwj8GjKLjSC
cxH04CqKQrmG9fgcxmjD+XicM/92URqnx3y+aGuZr7ICAmwwpweGwly4thmuEsiDDoXjV0MQgMpV
/EFarDXxx7bPI8/sM37u9hkVhHYd8Al70Dl3m1vE5EXI+iIbGx6HuFGAgokGWlWKSxVVI7qvFBLJ
v3JuWmUb5YWPVE5606Oo/Mo0RCFbEX11wO/zWUTYCQrSzjmsGohCOk30tZLWoYaUrh9p7e2tmmA7
QZr4IaAWrrFpl3RZvMINh6U+3FDgfsQHqGBhx33NS9ROg+pRzYHJwD5LQTE7BVO3JpUPRwFydX5M
lI3fEwfiAWnE+2coZ8drDxeXH7Ax78+2KKAOXDrtWlt9vmusscfegD1PMQE4vaI2qhJdD/5G/Har
psQuFENCF/TamxImKqDRwg7G/xzjg1wDF0AZngh25HOBdGoq0LEKPbAjhTpa7gXOvpojgW1vtTRz
zOxEYlkopi8uLl2UZ2hV70faFTudgScmLGxDa1WuCB2gFjWHdQuWj3llDiQbsL4qdec7aV2e7cCB
1vekQMDlctyiolQsbS90XuAw+THUEWRF7qMR6N+rpB2/tJ3qFr1wnIsdJ+ySp0P4MEB54J5y5nxd
u08odA1bnUl+srkTvdT5uiaSvsR9Gr+U+bqZA9inTtehe2ma4sCtVF7cSdOXySpvEe04fSnc7EP0
a8xKnfR5BAuiBHpKOdanaqzEA+9RfyFp+Np1UbuXdodC7zzYl0kJsZeYrcEq/kpbyZeAWVqP4HR/
IyIcP7vMmqtQfXgyeV6n39LO+5ifPLD++sHrcSND82z+0oqwsK4Amy9pROjLGIrARCBvYucyj/2a
acbmiGL9+kJQAjtOo9x0g7B9LbEACoFDeyNbpbR+m9piPFRQA8bQML4xndqQPXAb4OoRouGRpt3b
ROPhkBbp5IdZOr5RC1sWaYfhxmksbPDgugF+FRBCBxNP+H0cKphQw4liHv8Qaxo9Z3j6wblHvTtx
Wp7uBwK8x4cQhIh3HUa4if41jx1VjIcFvArNAwsFuA5s4slBfe7Ph9g9d3+KTQOEjUUx+Ax6IO/K
mz0nqPrSQ79x1cat2sOi3nqK3PLZLLmiui99wnl2hoC1AsA75AszQCPrKxxlyZXjez2QAIz9YF7D
wS99lQTORU/AFGqUKk996/482KDcnxKFHS3oIOM6U5UFfz5zNJPKQzmG5HaCOVU5WAJZTXe7pZrb
bken5HgwL+8LpA/33Q8v69TD1GzMfy6j7vNd6MEIwuDREsr3PO67U5mg0ZVHLAExiYTbeg69oQnB
dkHNwozyWLZot0afzWBiJ8WJjQSLI7+YEniJCbhfzS0Cc+iMxuWkUPUtJuw+e3RuF2Yk0LB6YnES
rUxYdloAY2iBUcXI4PesS7Yh7bKnUhbRmRXkDBpd9uShK/gUpFosYjwudybnTpE+TmH6Gc2ApdtE
8tp7gC8WHQwLrNpzXnkeqLXAp9iYEFR8EFbDEXgNlrxBsziGi4msjzHxttwuvQficSJwW+nqFXCM
MDiek/cDGK0voUXZMk6gzu9YjjjFQgsAEmJ5e5UVE4HwTSqWfe3CT8EMm4lZn7zl0Dj2k3zKjg2E
9g5tSNkazPrm6kIG1M9cN/nicmcnWMl+BHm3VrQuv46zlWxRDwQUaKeD6rIBnJhD6hB717nd5a5e
ekejtEnpbnur+8HDskjSxUDglt01UvEzwCAJaJoot4Gy3D0G0wzimara3U98emxtLInK0Mu29TRB
H2BmswS4kaV2xh4MkcXyvGYzjhBlvVNd7BK2Z/jXP0QzGcbMKJw88G9yDr/Ov70bo83mt1GRcBD4
0CTz7zBey0ZTrMwdtTYQ3tvA5HancKhWd2iveVVDYuY214RW1OotsBedD38w0GewWlzEfUyeOMr4
l97udrJNDj0rq0+tmJptEGbRppcBe5Oe8OuBu194qNsl1h3hcYKE7GMolFpAgihcc1Tols1cnTIV
KXOQebKL6qjb3UtXehYVMIMmdw/nuRlKGrt7ykwzb9kr+4fKsf1DK3vmdVQxrOfg5SIWgQDFwQUR
zF1EXlhvGjclWP/MsZcq9QArV7aBD6e+hXKebgZKKy+2Gh5GC5MT5pR4tCk2djz8+BYyJfkOt7Ov
ZqL5H5p30A2nO5RdX+9vavKFw4q9O4VPt/c0uW5MoGXRP6Aokn+OKhQvABr6o2VYR3Ru4D65uh02
WAdku6Eby0f0f7yFXcfqD6L3duvW31Cpa0G7K9wHB3qlewsKOuCSke5F5OpzOL8ZNnbHPp/qt+DB
WhvtEqNaMklZbzVq5HfVkw/S22YK7r8FkDcozy0ioKoXvQORyltshgDlq/1x8txtnY1PGp/hKnQU
nMoB62VhTeQdikqZbxUiP7lyHJ6iUZxNfqSAh0RNzrZQALPfsQQo7QJLUMUfVIOiubm/t/OT4HbX
NzGEaT7HEa60+yPi9jQoU88+dLa8nXbL8ZKvK5cEx0rNawLL6nyjGWdU3exSQFdp6Y6c1agmedqP
rBLfm5GWmybl7oE5eTGCcmZ+UGTx0YrA2pzxRffD3Q7A5H4L77lBJRHwotmLDDYQQfRzVzfkwqsy
O2MpCT84AYEW/J2w+Pv1qh9Dn4Ojd/wtX2e0PJcZ1BHmQTM/q4LQXpiXroA4k+d2twHFBmuVM277
wLKn5zhwj52T0cJPa02BnavpZnBr76qEjV1MRpa30QqycsvSLRrcozCaQTf3OgpQFxHcMtXAVqVU
0cr6YqRd+rkZYQ63cIBY7k1c7rdhM0c4bgP6g1euOgt23Hj+H6JZVBYKI+JsWRIocRvqUJYAxtDk
8lmf1ryKw6yFDZKHX+R8hplsBkxYlJYvIC5zTGsHcBkz0FpJsUxk7IBCgndmbfYwai6PVZ0ToIqq
byzv7WvYMnJNCVRGZSLExoRhpPhjBI7RPGYODtDZazjIZEsAdewr8aDl3UXQ2Y3YpI46gkYqGqX5
3Po2GXMIAoYNfCTGlxAtNhs6mAS6VkFSdQcrwDrPvIK347wYpDCR9KBI7JuknOfctNTuMbfpV5tW
gJ2Ztg2F7w/4ceW2h2X1Dj5pgLIADwxXHTR17geT+zUtSoBvYINdr6DEN/mkRZPDa8hP+7S7kZrJ
KRhSkQQoA5M3zmvGg82EUgu+nTr5dM+TSgNPDgiORfIQWpnTeO5hU/lpAGTBJn3wLCGxcx1QLxzn
dE7B+MQaCRpjc1iB1r2Rg+xWVgVoVBxY/U7N/GJ4zhzBEGVPI23kmmUOWdaDcp/6orceeCQ2JgLr
y3366/xIwOHXzDeDoeIBVinebb45aZ6fzu9vovt8MaXxOu9KWN3MFfnCa6thAcDgN8wlG5PLGYGM
xzzKGDgGi5YCTAXxIHvREYrYDN0PvAeR6ucysHT3uigYGkDJ+LOcZ9apH+JbVQB8ZoiWzlPN+G3J
OgHyk6IxDz1UDV0ZgGrKHWcQhw/dpIuwo/prrPuo2uEurRba5hi/zw+6GAtsx+JbZ64ONHYYn0IG
IaA5GjL8nRZzsSbzwJEz5YSaB+KSJeD4TzlEOU3OTPZ0PizJMOiVyQ3SPpWA6V20xuOtlC/4gorH
ASgLLPasTy2pgVUd8EM0IRkh853xMQC3FKNRNnDIuvXRfswZALSjrn4qzCuIIWLZf7zrzefm9teF
wMd5EJH7DV1s1njzoJvX5NgFNNsAuYrK/JBAjL1vIMs+vzKHALDoW24oyLCJ++h0H/wv5/7dFOmV
wzpq0xwAGQ9r97YC2SUmzbaKbVS5IAB57Emh1mlVRdeWAauVe4V6ixRsSwZNv7OZDVTncEQGAnk3
NdLesKihe6+XEJEh43vdSbhwQ8kZyolO8xyr+oWEafw10fAYcwqvvpRBVx+zxFJLMxBg5VCSfHx3
YPSwbhxegt2S6PuZktkEFouomqmG1HvLne2bSZh/Lir9oEXYhDAOeQFTFu45RfFHQ4l+bTyeLKOg
bC6KaXszDBbZYz8AJbnI2oe5h4ZiUlDoCEfkkPRgQ7IGBuBhrPtdFcJqqprZanFKcHCdGk8pcNlM
zhyy5lkXuI+A74M2XKsfISodrlQ8KqhhxViAFxCnWaHI+2d8H59cDkQYT4cT6YGWETbuKjXtB7hh
8mLD0NJ6S2h1HcsheKygkYwftHw36fssDenHN8rU1Zqy4JHH4zlKavJNQSvvgTvEu7j+UxCo8BOE
kuoT9bDXNbt/G7WBJZoz7o70Tr/MSD8ddE++R+B/PrFgRMml8YZNYhH9wi0PfN00//Y3E3LOZqNU
gho66nzHMZNg3/YoZRRdANWDOTQDTj+SY5Z7rxZJYIoXDOOKYAUPtjJxn/IuFyfoy1+bSbCnSRTu
E6+7i0Pwe6yMUhSBUdcWprgRnG9k2iygJRcBP4YDs5PoSFUgIYg7sOVvAyY0U8zkzm0BlTAx9D3K
fegAMFpzqCWDVDOINFp7fVE8a/TRDyFFHS9NRf5c85w9JbZvxkwmTyhUvr0kO5qcRaJxRXMVocWH
+ffTb+82cudpgt2F0+bPdtJ2T3GywroxPXZRs4a02LjL5w09fmzp0eRNCEgCbrn5AIYw+Dfdop6r
ekNDuyXuk60Pex52tC3gzm8jYi4J3uJGOo8AidVbkzPnjaZMKOaKoYkzr4z3LlDd5m1MKhpmITzY
NiyrqQAYrLYCSPhVQKjToERHIMoeRw30Zott4h9OAfm6rv8mSKv9YgSQJWQALU1xYK/DyFYvk5N+
sYCR+qNqmgPKn90bH+p8BcksdUS/UUNqILkEHBvOidkAo9apfofWWwYNlneXeMl2rNA5M2HcROsE
Vb1PXaMZgKngryXzNKhjvvWxyAA+HN2TdHXom/mgmdLZb206W6CTPQLp/4fJqwpuowktyNq2E2z2
iwEwmWbqdvC6+PnKnXOQR+x2UAX8p1F3nmfehbjslNUUIi1zPasp4ImRJAOU835VwcCSjyDTdo/7
rxoczKPJtAmAPgWvwmOuS2fhVZm+lEKzA3Y1fJmkvP36LkTQfNUkl0vsdCiWoiVQuRnI5GaYNR7A
qcp6gcil3GRUA6Y9aRQqE3koRv0wokZ+MQc3ytlFpvXSFrpCvf7PPK4yB8vVPtrecygh19B97Zjf
KXqqsvHd0PqyLHxNSu4+UvQUHzzLhoruTOvz+rYCibyj+7yb3NeMvps0yxuxzSjvVyacz85Fxh+x
C1MPNZj7H84W+PfvvbpXx5RO725lNy+Z6NZAa9fvQ5XAMiHt6NrKvOq9L/QB4gghZKoZ8O4qhP7E
nE8aW/vCQefanA5qM0q1OL1OZPvhdODoDxBeCJ8nu8GqGIWD0hLQLCHpJh2d8F0q78Aylzw1Oa3O
RVyDkTznu9Ypl40TDHtL9Oyt+WqyuRjzvYcCwNKEcSBAAfBq5zzhdw0lFWiKmYomHDXlKalGSPLi
q/axZpGnfJw291qmmaEE2bjTCMaDzRZ1KSvoRNILh1LQAdieV1GzmQyRdNVBMvXaFEw9Fm6jHk0q
QKqeU5OoggUYP4AxtSAniH4sD54bgcVgXmZTgJu23bx/yJmJH+LbS5N181RJX46iPLjNtCgZCBXe
xOm3qF2Sfoy/JU4t/Rgd93MIeaRjkIMQQJrcfW9sCOq3in4rAzEuPDT9HnmuNYBCTbQB+cp61tyH
zZcCWNhNHoGWC7EDBJwoy7T7JYeI4hiH7ltKUM9J0MgDQCPatJ6dv1ASX6GIV331JBTvg8gbL0VZ
80PKIUNpBvBriQC8/SKGTIFtNvOHsEZ9TDS+BTMhS+m7YEI+4R+idjEuynXSdNabttvbO+RBw/2g
y8cTHKAhIBvUCpxYdRa4824Awwdx3oXF2Was0FTkeZXBV2aO3RDtwls8oou6ceb4tgqEvxkA6QOY
eW0twd8KpumhJ3n2AO6UjRUk2gj3AUAlsockaO2FyrqfAyytpodsHvjtDDMQBgIDlbIhQIfOg3kr
GWt7qaA5scuo/TJaFn+3gaFfQvUGBSk0bV4ZUDZO3Ir3tq/UJunLeBPnUrx3I2qCsG77pCCQvFfa
I0uTZ/XwVukgvDZ1kZ1BPuALVY3gpVlWvyUOs7YgvI1+L2v72RIePbEgfTdRoN3hiQAONQ+ZQ+V4
R3z95MHSjv1cQHR/USYeXMHwkNy1VI7z3XE42Z3wDlwC4j5HN71JUAZgSAVewy386zzmWv0JFqev
zTjp89DHbBvPPBUCMs+bjZ/wIlddf6RziDZYoD3ITMCrFeT+AAjrOQ2IRbNCqaremnDo5WPEhVrD
pa3b5IZJYzD9UFz1sXXvD11u9+UmLkE/5NAcBfoMW42gOhQEeCCC8ty1B/cK8v+iPGFrbu+wlWbb
tg6aM+7B1QrozezZ5fCD5c4UfG4S6yQ8QJMXatxkVdVcshElUFAAQYzsAnXJPVkd+yptlpMzxl8D
LrC+iad3S9o/195hkziX+VsYQ/ClysgGOgTfy/0QJvV4rFzg78oB3+8wgFDPM/x655fckfjp9ZlC
07nQC5u21qOmA9sFHhikHoAFr5QDhS6V8zWBym8ONA1U09lzC3X+FYXHwlFZYX5s6eStkigXz15W
FothFo/9MUBG+bunonJBLY6dfQQA1lBZn7IwsD6B+9ftyww/IhPCuQZahn3irE2YOi203+O2XqNu
kvmUZP3K8mT8nljyS14nwSXpvOkikuIPh7LkPdG6XgnU2LZ4aiBEl0h0efJK8UOGr/3EfHO211dy
AZWw/tSKon0exM/5Wjl6M1QpWZvTbZI91HjoPBW9ohBNQdOMX0cUHK9R17FrB2MZq2v40UR1WIIm
M0Ek2oRWixmDZBIPrC7ambOGXkDPnEncFv58D6zXvaWlIXE+NoLd3nyAW4PK6zWNIkjFsektmfrx
M4kL1+e87I5QECTX7M/8OOflr/w8P5DB+HkA2t0f9PhzfosrOYM30h6LdbUcOg1fMiahue301qcE
TxE/cll0KOa/Cdz5rmj7T5dW1eOnCiuuOVtCJOlhDOTt7zaM3dkucA27UI95bSVJQUCjwAAQe/xU
JNBgpc4rtVVwTNoYhKQ5jKsA2C9o5sD5G6HyQAf4L05qnWDWc8Zbm5Pclpd4ilR/dxJaHvwpsMW2
kKO16dwI+ldJbj10dej4PR6AnytB1/GQtN+hfPpStUP+2iYxRBfSNDvlZTwdkowl6yal8Ys31PHC
QaP/e+pki7ayrJVbRGiRWMKFejUOru74EeAukNJAMfFHmvGjF6q6XpphMscWEYDyA3AXM8rXHupb
10n14JMC4PmVjcOKAHYCRdv0rIBEfFcWrKnavB8ulVtkW8dxB2DsG/vclz1deEHyKLNCPeTCCXdQ
tLe3JSqpD1DGjpZRxelbasNKiozNj95Gg1fk5bcxwYkBpe0TWly4Q6CIvLBbaBGNTSgjX2SDP+He
BBOqOUwFNPDqFuYWfffoUlU+QvePuO1jnGbdowMT1ksRhNh6zdGcTwjsdJxaY5HGt4xI9Qymnnpu
mN5CPKa+3FIT8N0WIF07MxhJ+PMBZCWWZpSJAhtJEv4wgxy8l+c/zADMWhXeID8EOthBRVR/iuyi
3zZWImZtF5gc9Q3YEHr6UsDXFgohdrDHxoJdGXbEJu9NOdwNhjADXpGlO4AsoNyjh+dbvYkQRg45
mX6Gle5u4a1aFUl06ubJroS6zdD3S8cNgn1GRvuYUO2tUjpYT5pjJcJqGzz9nC65A8HEysOFxpT6
7Ek4R9hR+R320+Wikdg5R8yBxIVtv1qd5VxnqsvR5Mu2Gj+PLX/1CuauRdPnyzHzsPlJ+OcW3g2w
KwtS7Pk7b93DxeSA5a+C8DsuIofI8cnTIVswi9DrkBDYvRceFLyp7g42tL5AKplf6lluecxBL9eZ
1S66Mng3Pat7C+sDRtuMpIToJQirrW/C++zfOmQmzOfJDk0+Tv7QYaNNDd3JpPEN280Q2qoOqspz
Bx1FcauxlgN4jzf+mxkOy76FJ/tMfSvmOXKe09s5DIf5kPqoyjjTIoq4dzKHWsMb2ErFsMLeOjgl
RGHYvGxt0ewgmH35kLu91Ky/oiqf7n5/MyxoGWgOReib986qsT91ycqa9fsdCO3AWbX+bkT7zWHS
cHJXMgKRwfFuAv8mX8t4VcZJcb5P7SNY+VRFwnfmzcwJuYNqrsjcam1ytGEoouaQkge/n4P7OH8F
uKgCrIOw0xRO7f0kDZoRlllTvLyPfzgJSsyuX8qGgRvYOlhfN8GhIlF+YR5zF6CWdF+5XZ0cqF58
sjgaLyNksrZMtc6LW6UXM0GD1rmQuHFfgiKHcI0MrGXT/Qjthq6ok8r1oCjafAmBwTOf9gQgtb0J
3YhJ3/aSH1U9posqTpyXgRTpyYQBLplne3hE2QdUWVhrLe24iN6nMGgWUITiZ+H0UGCM7XMAzth7
ryq+1pTkGxOmXY8uCVY+JIA96e3LhRdKmJbN7as2XysrQJZCdSzYxVPiznoZkvmTN5sQmRj/dteG
Vt8w2uAtF2EG24pA+Dy1gemfc+Zgizp7CJN0XEeDFyzuA+YMLG3TPXagV5MPdOEuWlWM6w47njN3
3T2II/Z+mCOTMq+mHE5Febk0QZwP+hyjcHo2YZ8n1q5CP8jkbzN+DeKboWv4KELK/VfOvDKTca9L
l14BYfl7zrzKGti5WviHLGENUCw4xFk3BklJAkgbL1CWAwxTFAuPe/HJgC9vA2Cs0h3aj48zqdJd
mhG8TbpyWQJIrQfNk3//63/+n//9bfhf4ffyUqKzXhb/Ktr8UsJhvPmPf0OJ69//QkNxzu/++I9/
u9BngKIhczwslV0Coj/D+Lcv17gI5+n/w3ITQHTQtlkPWTQuHEmq1zIEjTjS5bVtwPEP4mmV5Lx8
TaHIcBQqcBbNUFSvhebhBhJm6TrqIhhpwLoH2t4wTATO8hWMAraDaNYIm5o/c54q2S6aDRdNCqyT
BgIr2WvsZdYaT7/bmEn/Ose8T6/Fz3N+5dEfZbv71F/5+XGwM5HjNOM2syC4YaFtgEqczhaE5OVV
psCQe1DrXY75kK5NaAZcMVw6GxslR/LiWlH8SqAyvDWRmQVXsXRGi8Mp+9cbTdG8C8zDfGemBEX6
TGzJN8RL64M5GKNAHcI1ogWR2c97N1+aAWwa6oNsggg69/PsPOLTzuoBApzRIEzGILA1UGUy8A+G
nzBai+OnGzZkGCExYkcDuITzZCiHWmsKajncFTVu3DEAc41bB49um3rLyp7GlcklLQX6PWlnvkXt
7kxoBmD3sUSbQj2Ys3Koqp1LxrYCl+K67/Jq2c2GV61q6yOavg+3p/mv0AzqeUYmnduM2xM9+TOE
xp56NNNMSk70gTVV8zjAkAVt53RPevTU0XfwAHosPekDrw1ZBUPpvQ016GrdhkxSYddebkyy6afn
jkyfs2TkFfxLce/GMimcOJqs8NNoNv9wyfDfLxnJpbAp8wRnEr4iHv3rJdOqMRuFlu06T4rAF3Hr
bLUAZHZVO/IALyn0irOqhKQtZ35iTxEaH5DXTrr6Gxb3/b6UsZq3VM8wsuv3dhkN21BhuZI34xWY
MQgyjfUe4p3RPgK7mgFGag4xLdu1qNP3SOjhrKtSr1OQBtGPnE4ym3LbFyLr9j2J9zBfapkGqIoO
4aLjw3QE2eTnwYS502PBOUG6pumb4zi7VzuuukRWHG+4ccLts+w62BBdBeM9hhG5Y+8zG47B2US/
okIxrGzl1zOqDnSlJTZz3i6ECdMWh9WEaqSbFXwrIR6R1Rnf8wxkbaz/w304YV0+oMxVpl23d3LS
nUC02dC2mvYhdkfLMLBz7LS8djV0MXTNC0AKo6jE5g5cdeWQ9HjLT3a7sVkQ+kGeqGUbA/lg7ETt
2Dpik5XvdKqHfAkPtwYOI2BQFBAZ2PASPt+aUIXHhVMctG6sEoRzFD6KkB47KBTVJaTjxgCaVBp4
pzz0gn0RglnURSQCanP2t5wPEWCYe9sb0fWWoR9DaPHA0hDdSSW0OqRz3InR2SmN9Ygrmueotj5b
QVnNvdDmWU1ULcG4njYhnqeAxqBxbeGvfOiVTBd9g2vDTxoFTR6iT8Tm6mlqoAgBbRfpQ+YQEtuy
fyKAMqkhrJ9CDqlDHTXTzgN9eo1a+xLEohoOmTjEDq33JvT6/BGP/O40OtkXrCGAI0+FftbRp2I2
4MIPFWCLX16SU2AJlFRgiRNxuEWEOT2YQ5mAGvvfX1GO+9szCBeUdF2B/3BwBZN/vaDCerRUJV20
apqx+Vax6Yo9VLsn80Hpot2bMBweQK5xwLMJj81QrwjMnzZT2AFPAB7UBtru/aKEjcopGoQ8DaLz
Tia0J/D4LdDIOzA6D8VAl5TX47oUCrRcXahVnbjJihHoJsQC6KR28rbx5MbHdJzVbSoBnAcJiC/9
f/jY9t99bOlS1Eq5pNxz/vqxtSxDLAgBYweoulvzifXYSk/xMRHqO4Pws1vUMKUXeOawkfuehbqS
OYj51WQxsSMUjFJ4/bFZ+iDKyFdUOqE2MptVw3PS3umBypcJ3B10ufCjdWGyo9H6OtppBkhXyL8A
CZxsKGqvYKHhEMLD8R8+JeN/8ymFIJIIaEozLG3++ilFQXUA/USotwy2tXEyFp/d+VCPndj0tfdV
BWl7HNOoWIOSlC9MaIfQhy+lc65KRXwHXVWDu/bbon/soZVwTkLH2uYCXTuXTWTnTSC7lI2WYJLh
EDrRwUXl62Ciqh0h3gn67SLO6vy1B+knRpn17LQeNurKbRcRyGAvvRzt80QemnidxN4XXdDxU9TI
ZJV1LbBSMRq7doX/NWQZy3NUL1yJPdL/+0/Co8zGD8KBOKon50fPh9VY6WQhs2SvocBIQTwqQmhu
zwcI2qIND+TlugDxbV9BKmMBGDbfIA2StFhVQIEeyIA2F7ytIECSJ8FycDp5YS3A+hjEJrQ5AkIS
bGLHri8TbK4uiYJnwaDwV2Fu6VekfZPJG5sNXtu0KVcOdPQAKvyHz8jmx+PHFSeudg8NRpdRxyH4
5f+24rTroYKra6XXgeeJDUWV0cUuve79pkU5V7cZukXzAdRUlKhafOZ7Dvr0tk/cjPphn2cHZ/Ds
lZQCD1s86E8zzaOoOUCTcQBK0nnMEhfAYw6wCPT+4hM4kbgA0JM14v1YunqLHnK6EBiFSiQNx3oZ
hAUAJ3ObWPGyWA6i1auUg+bh1brd0pnlEIXZtkzrc8iCVWIF7v/H9eJxfMnMdWxC8AX99hNI0/b/
Mneeu21kW5u+FaP/l6ZyAL5zgGYWlZPTn4Iky5VzrsHc+zyblGxR9rG7D3sGJBpsJpeqdu2w9lpv
SPvBAXVHSvgUboF6qmfo81WF0k47S7kYpaI7wekvm8aW6Z0bAEVWtZt8QOXYB/SRNP3M0JICxaDx
Qjd0LHWUPMFjPm6NdWBH1A9s/SrJKaMb/WMW5tZNX99BZxqIRYphPeJuAHZYuasiFB+oMNcrW5GO
Xb+aF0PszlDvpr7lt8pl2vWfwsIgtKzjR11JSZTY+lMbZeeFShYFL+S1VH8iGWRbk1if/WaoWD/p
RpbBrKnqOjSut0MFrQWuyu+qBTl0D9Vjzl8XRo+yuIjNq81nbCwEr6jDCyRam2gJ3DQgzTSmlNnF
6IngLBrHVQpU8cQ247mLXcd643AA1hAkhLTW5EJl71vXqy7W1zkV/5McP7SlnqW3lBDNtWJkl4rV
BZO4JPM4SvlKtZ3xosQ4Gn4WFhk1LkarX1+9+uPVg+9xZFVVHNm2CEN3e8mYp3JeGjGBiYc+AXQF
ixzWQDVEjS6EAdYNxbIrP4oIgXQ1Oy6TzF9LGj4jBWW/RsFSYwNJ0CtsyLusX7pZ65/7QeyfAyc4
l73ma6eGxmlaNe3K5w5CWco68pbwLM0+kc5t2BCLX1/TZiXYnRgAPmq2xk5UV9mMvgkDglEJSnXM
qwXsSX1a6/ac0neyLmNDO62yzF5ncGh6PA9Pa7jdp01sPD85uN5ONcM/li2Dsm0i9Zcj2fPLsgrU
Myk4ZTLEGmVwTr8/2Y0xH000ElXUl2QHM5EIAyMfAVIwVHEz2byEqNED0OIJkxwqo0HPvg5qnkAk
A0L0TsVeLunCeN3mTTENvObMaDVjtQF0VnFlzRo1o3BQ6tl1FSF6VEanAnQ8d9QOGF+qkS6srKnv
1p24VOQRZUldS66VID6JUICfaP55JCnIvmGyMPGVzrtUmzHcPpWN/6iQN/vN/KyJsOPtbVBVnf9s
2+Z/b25Dg44thFOAMxHN1c+iBK0zzA7Q0opRsGof1bH96FulBJ5Tlc4dXXfXUmOfBlUHgLfpSduN
9vHIYn+MEMzDmKlw6MRT/+1VUyP8VsiFNTdULVzDRiFT2YSnCCqGp2E53JJNCs9AqTUwREp/UqfK
ktubTeysuPpNp/vJ1SqmrcgEn46hqpvN3qsVV098q8Gxqlx0Ghq8pQdaonGsjjKCHS28kyF1kUJ1
kq+D518N6dJI2OCGBdmzgZ4ggb88DuHr+CV6ZKV13ElZcj6aZkvurMmOK8QZ3TZLp15iNktyMQ74
t/6DFcb4TqFAPU2zspyObessHS0JZwGOBGwU5egkFk+qBqxBA685HRDPWXfiidKWs7AyinwBu4nN
U0YC/8zOEZwYB+FTkWNC09WIogwDuNUyuvZQsLc6u71ErtRcYYAazTKxZzCdrp6Z6fheUfHZC8Ys
Z6uptsemL6HpaWbBeZZb5jwtJGkSgT3+TU/TfwyAHZzcRKODSZV1Q0QKr9o+99mD6qi4kv3BIFCg
LuXR6Fa+aS6GzImnTqX0S8tEQEHp88fastuLQIMWa9oLBDKSDylyMbMiw8u2yq37XMs0Ed5OUrmV
z6SRGhI6Rfaio77uGEU1sVxcRSV5OG6dSzlwdbxEnGMNb9BjMHnYIzVys9Yo6BVtpq0MqdemBYRO
zXDmQ2biDBInNI2kz4rSTFdt7z/+/a4oUnAWLEuFRnmbV0D+s83zPCkXQPU5ATyUyqS5j/QCFLSK
UU4s26ee64UXihsrU1i19tJ27PDGxKnytMSGwpPT1Uayt84Lf2Ulm1S2aZ5WDvvpcUzzaQcstMjN
7M7A5Je8lePNeljvXjo81JasrjZhAHmpeA1AZggGbW1p2ZUTgyRknxyWk8xBElGLYnLujcJOEp4T
tftqWVTotFYxIHRXhcAvokuMmz+7UP8W/UYHXDwVfZQsYSOcBXmvrUFnSnPoq9HEKSTUSVRlWGZd
3swT1FvmjTXY16C07esxnFfwsNkwqCct2LgzxCbz34Rdhog638x6hqIrCsAJMe+9DbucPBwgNkii
8gvq2eiTa8srvyQ9nNagyZmtfQqZOkX4M4r/8rHmyidlrDeryjL0Cfmd4NIo21vK4qdB4oBeDRJ8
HB11JXdmt0ILLaQsUHzEJjOasZ6Ns4DYSdW1m5RB2qb6Q5IZwVnkyZcGJfbZYENwYA36UDaxtW5j
K6R+n2Mq6BUgKHMdrefRg3ttu1PTK1j7kwe9j3rASOQ7rEipTu3Bc07GtL3xQQueOiRJrFBHX9NN
IsChPKmweEkZaWToVdIzv+7Lm+Z605yWbsqabVjE30xUu0Pbz5KmwHuHoV2bbKc7nOYa+H9NU4zU
jNiFBYX01NvFp6xTQvYfIS3cWvWiiAUGjXusds4tJWim5KxQSQO99+Jw2SRjS26cnLPCvwdFW2Jc
rM8r4t2ZW5bux4Rt1SQbC8IwSNua0vus1sIYre7NiyKqzmoNakTpKdxVSB9BGZ78+sINsTruXLhF
XKZohuZQ0rHkt4EZoynL+5Z+ZI7GQsEt+AQ3M43SMX5ZRRAsamqG06hz2mk1dJih5IzPEHLFlKJK
NCt6WO5wbLWbaLgdgTAsocUnq9qDGxt18qQD6YTueoyoodqh1O1E0QKtvkVvIXReULU7H6R+ERok
LnQvMBaYFZNdZj6tc08vqIEj5+g4wyN/UP3Qj+qs7NUpufH+sSqtKzRCJWQ4BnK+UdDOfalLbxJj
ogrR4tQ2krVOLbALnQVOSUghFP7c7TO2nH2poesb4p1gOy25p+y2BNCwpqqur+vCKn8T/No/5IvY
G5vWZriaBlPPmx2kAIOEwKFibODJduiFc5a7snNmNoRWLpWr6eYtkYlCNjWUnDOAO/qZCsSbX2EH
q44Ym/Fy8+QaVQzxK+3m289Q2JrnRI/TwAjTq1QFru5KRrPQ4ja92nwGNBYAAnvGOXG+e9YoTeLP
JB3PljADdWc26XgZOfCriDvlR91bIxxEqq5o9Usn1toZWDsfBiEa13ItO+u2K5315lXTjxeRbYbL
75+rYDGQ3RC/G8zqq9rq3cXAEjJBtDC5obhtLOpEctbgxOoz38CXMDXG9n3qNQ9ZXUXHZYf8yiVb
CNavAIBTrgzNXNJC6/3QtuiJwdtblYlrvUdOEjB2q2KF6/fZKYDf93Ypa0vPSMNpLFn9OgWLSH0h
zs5s3Vjnjq2QVGmzM4iWUbTkLuGMK5SxTL8GiUsQq/xmUlG0H3Y9lkqFXrEMGRCaqtlvQlOkZXJJ
M5NgMQy6Dz8FVEJdxB+AfZeouQEvHVjXP5nFnQY6794xkxGFwdI9zkHs3ErYx1eaVt7rQJKnmjCt
V5PxPO9zY+WGPiK/WQWzrbDSqYI34Sd2jrdD6WF1HRfcaYEQs6MRpw3F+Gz6AXB4WfVuvRrcoyU5
+Yli1IBzzfzGh7CuJ0GBrxPvqM5lS0ep0WjqsvKCYHPRNnCSoWvpwRyjMXmaCyUInBXRo5BMbx6i
t63gPnhL2ku7E+/YLkVnGFJ/GAopuMVH5MHuIa9t33VKwyYWE9nNW6lvnRNkiaPJ5m1nkzErknbq
pIN26Wie6xIV3RvYm194icY70G3lRCudAOykBMCaLPyWZGDEHdsSP0QEZkMtcEgQTdoRR/BGpWyW
2Fdo2BYkIYz2sxRIJzX9+msjuTMzkuwHjQwBRAiyC2FVSfOI5fy0dsnL6S4UHwuJljf/PImE9SX/
3A8b50GvqKvZiRuvksqUANYEQBGi1Lssg8AkxV25p6aTesdqE6XrbnT6E+Z0a4kqXnNeWK05N9Cs
u2KsxzOtavK72EBALGmG7FOh548+xaVHYCXHdAdsqhpOXqJky4XGMwUV6yfXLK5R5ylPTa15SCo/
TmAVBf06UMp+vXkVfXvVexCjfr2KKOYPPd1WKMsSDpIpUxxHf5MITE0fqXNddufgFruZ4RsA+gL0
cDb0/60wQBVQIjeJkugsJMJmcTJIaFdfb37SmYN/XBT2bSXEXr8/FeKt42jV2h3qyffPN3KwsJif
f7t5q8LnL7a/2bz//usuD/0p8Md69uYLOXesCRz9YVYLLmj77em7/uSbz2LJU9d5c9tuyKIJ3gUz
xVDvY1cNVyWeBIs2HIgS8vrSVlX3WrLi8tzUKxmNaz43yHZOtQRikNZ5/Xk+sMh5qYK8aFYOX7pW
W/dKqgJxoE89+pqXLTeb8M1T15jo7mxeUghG6b1SK7TX2aOjh56vg4rYSuTVMZqupyh5urNItSAF
R+gWwlFClnDcFC0Hnc3DwA6vWqTo7kxcb3ifqU562gp1IrfOJMyh6hPycjWwRT6qFbxYhhrBgzBX
1GU76A6MHm014KP02Q1QE4nkQrlkB1itKtILx1pZKBdtGHkzSWaiKcLmHsx1tSoC+b3cWiY7QzlP
J/D1TJAPrM9xjeSl7wVIlghWUVLe2k2m3wPQlGduV3ur1g/BimoZ2UzCU4tcZMfwqsM5tTm0KrX6
xfRR2D9mntWjRmKp1YkinjZfW2ktNpvifRv76w5dxtXmC6UcobAkKfAFGh3HR02agt3V8nPfDiDH
zFqKD86i1lh2TdMuSKInMXxl2VKwoc1Nyk7blwpekZSorcWYhHxjRuTzN1+/+s3mZRwFrj/TeooB
ve4V882HRg9i4tej8sflx1Y0VcHP09Ys0ySw3Q1qWSsDtfJkPA8NeZwr0PQuFKQo9ImJM5acqjZF
O7Kvb+V23bmmuuoiLrRmhYoc5WnxFEkDTAhJImAIcJUGvUpovHmJap8fTwAgkKxGt3i9+XDzqpcz
ZmDDmsV6vGRXRm1TPEHSPqWFvRs5FPrurqG+l8symQEz6S8VpHKWm4b4XzuwkWoDI3nM8qHEw6Z+
8/bft1nCf/8j/s233+z+i38vn7Lz++Sp+uWPzoLHMquyr/XbX+0cmb/+fHaz+/p+5808rRkSV81T
OVw/VU1cv8BfxC//6pfvnjZHuR3yp3/98Zg1aS2O5gVZ+sfzVwItI274N3SNOPzzd+Iq//UHl1t6
wf3bf/B0X9X/+kM3j0SmwKTsQTHFkjVyId3T5hv5SKZDK0xfzPXok7FVIu1T+/wj7ciwDXIkIFUN
RTMtEiRV1my+Uo5kg9Ih8B3NsXVcJP54ue7L7XZke8N+DgNyjN1UjCWj0cJyIyoylkgsa2/WG7vr
IvhPdTl3dRndOzUI3I+KazYxEGo9rCCipDnuz2Z7No7ZgLqf7F0DRiuXSMZYyDFpykKya23WGENH
Aq1ojiNz0MDdVS4lVNdYJJHylf2ueWyOfbU08F6YFeDdF3jx1mu7w6GkL4yRucRwJmqYeEsPKWlw
Ko4Xz+o0j+7GCCZqOcLXaooY+hgutHMVPfx178r5bCj9Yt1q5PrtcWCZdMduquckH3C/6CA86O3X
bpBgREduMaWlC0EglRYFBNKTvsVjpe8cbab2AWaehmJMrKy2vjpthR+MLZkJ6WOQA305mAtLbh9R
oEQMLzQsEf74EbBBCrMERqkzCzo7niFaCfBJFftZFWnqqEaGAEp4eV1qCD9bUodnIfy5ZaKF0QLs
6DCHHlyw1/Nc1GVYGDJsKxdoEHQLFPiluWkm6DRJ9cfMwrcdbqp7yWU6Mzsfe4rmgoim6vlcC/x8
mYc0m1HrhkBksv+hun7RmA3oQ2jzE7uUMPiI4xStaLO/zMBBTHJcf9iU6I/QLV0K4THo8o4CLOmk
eBZIQz6zXEo4gew95u2AJ3sZfoiz5EJXpOBYL6BKDlWJOFtrw7/R7PgRsim2pywic8VlXQoMQ5oF
fpUvVASNVo0ouYWu3pNegwI86eJOn3rR4M+yzC1nBpZtc+J1Z2mqgaD64LJnGwVJKh+4dpUpCaav
QaHfVm3F4jykaJFVeibM0nr5jGhxMCcxFK1FIgUWQYMPNSBD0xiO5yRQrHINPqJEc6GJPhmW060i
T4Gz1Nn6pz5MvbNGbeVllRvZp15FqXFShUmL9KwfBkuFJe9aihw+LHv3YzOglAI0BngKIBsLP1lQ
x1CqDeVzhnzJVRYF+HkSoM5iE8PQyaDAXJkgJa+vO7cjiRvE3VrrVI8sa4RhuRI5NqYzUrIamgZd
3NyXr7uk8M+IGeTjwm3zy6FAwLXLEu/rqLV4osKmKs+jLIpvZVdOMRVi8Q5hFn3CLM07DQetO0F2
BaNpd2CLilGLdy5nY3/BniTKAMapzSp38KyuRkWHoawBL9Fj7OajVDWOoWIPbPXqThheaWsTVv5N
E4fVsg5BVnVSF9y0miktEakbAg7mZ8PMcVNIN0lhXkS1bPXTOEY/jXwssPG607onDXGNsy7V0xMP
+uxl3gLcGJBiDCZlWDcfkfqIryTTjz+4YxZKk5Rt1lmPLdxxpgT9giWyRQ7UtYKvduX1V1I3Spd2
bSACbhrgkVpgOxbSIE954guIs+ZfyWOojtMKini8kuD2rhurjV0gNrB+cqfxHhVMsu6wr6gXdluR
4ASCgEmRYrSDh5gfvsgUvfLcm0SG0VDS9L0rx/S75YDVC5TSwErJrSX9tdrbAF4TtQQZ3EeRf9lB
4LzEOzydSq6pXVlxJS2qNLSuMGlMnmRwzdZ08Gv+otsO3ccwcZxl3enDx9jMcIUzQ1sp1rrXVV8k
3awf2y6QVgH6+J+pytKZtCKoInZaNswG0JnYemhNl01Kpmlj0pZduTCxuM6JCYOWzHhcu1yNXd4H
ZmOPc7Xq8rWPYhJJ1S7/rCZqPLdjvfgCmlubeGWQZZMsr5JjxwlRRYnL9gvQIwOCpOOCB9Q6zAYY
KNHUz/CHPI596onZmAEiVEwfaDE7gHweOJVE5gDNG5xuMtyHJGrSbdsD0RvKE4QHi+MC+YqztmWX
PbVqiJkTlxa9SDzfWjk6OrFT206Su2AwfBS2xvFqwM4ym5C6709TSqDHViJkkCMvKxgaeQ3SVijT
TtmTHyuDgk0zWsgOkaulox+aSeYNf0qPESMwc22WZJ3/HjNI5b5BS3yRtbK0IrUaiJ2WX66SNpYX
ZmslsPdsBd5G0cHti9Ns7QPgOBsSm93CCBkxAhgrTaxIT8BPNcDuJNlwJ34qtvJllSLmBMN3BrOa
KTXQWmQ0Xdup02ndF8pZkbXuojBhONRaKV8Lu4lpm5fBRdan7l2viI28Uhj+R6COLWXoyvyax+Nw
XGbj8EHt4KuGvomogSwplz5FI1zk7LR/wGu2vUFaD8+3PG6yeYaFMr5gtYx8cYzBxHpkzv/MGCo/
8U38pcrR16u8wbksPBVtCUAadPlAytahTaW/6NIsogXZimpBBWHGqR2YpoNuBoi8kCKadEEvfQBH
ZawiKfdPyYm5Kx1BrhsF/YK562j6Yy151ofGVMt4XmFaiNK8HZ4FRWx9LGotOlFSN/6kFKX9Ede6
upwEBTYrSqEVCz/xq+vCs+OnWjWAzHVYYKd23WYTyPPQNqu6Qk5HretJExftNG4Qeg00e1wGOuJC
Y4jRcGOAh6EYgTpUnoeBzp4xNFH3ja1JqlfGtUyw8h6zQbhKlUlToN1SLGTbdc/JieDixN5QLyFp
twjMD56H+aUaGdjG0csWcj2G57GD0PcEgzPvQu6N8D30xPaLX5s56dUWwZZJC9JkkSaN9LWOqMTV
pW2demHihxiEyMpZZwcRXUA24FnquiRWHHJZ2NSlFrk0pZDPal3GF4JK9yKvTIcE4+ixxyuG3JyS
KyE3bIBEPxWSWqd6XSJE76heUh9H0J2cJfp0STBjoEQQqK2ckCRVi3QZ0T3LSaMNzsOolGTMC8PM
L5oCsEBWu21L54kVfaWEKgn2os51GKyqAyOwZvuKinLl2jWqgVITXGCKFgQTGaTnFwIm7zPjl8W0
8lAEcCpwCCcjbVUhgTLSTsqQDeeSkXW4jPveMK18GdcDtzSNYs5cIY8AEX2N7XQnknF2DaREtRS9
wW7NVrolTiwQA2K3r7W5G8ehPhtJW6WTEZb3zZg/pO5XxsjZmKp0eTSmDO9+bGFOhnGLuqBRQ6Iu
HpteXxglkB+0gRUDcPiYnVdWOO0qlIPeh/Zd693AX5yUwUmd+NOUTpX368F6qvxrRcXr13OmLsrr
keZPxpaqt3kelFcVgtuOuXLM8tFXG+yBNYeVD0+XOfPFJOYgnXwztOUybgb4QwX6LN3xsMlhFneJ
0ZxYMNeMML8tcuPOKmE9p+XU9Uao/Y+FvYxS0I5dCA9DSj9ncvWx1AsipvoWzYZyqYeDc0xasf9k
Q2wcwYWghSsn7o0cRNqJmedBNq21wD2lOH0TR+4qLIu5SV1pooSkQnSle1L7rpy56WDdRXVRPNVx
sIiZt21X7e/pPMO8860LZDzhLuRVtK4rREfcIhiXnW8zZQC8ayk/1OYkSUOtn2GHkc2NPL4NzDB+
CMiULDrUeJd10xoIByEmk8TuZ9ttwFgG1hct6S5zFsBpYyE3Ds51URn9B1trLuuEwsgIQ+u6iUx8
Fd06GadWSfFsLOwZDgbGWQzu5aqWPWUGrw/i11hFU5R4HfB7ozoZcgtxZit/7xUZDPe8ZT6TjEjA
t/2VS94IvQ+pvfYqt75sTScC+MxSY9nx3Kwr2juvPXYzRTEHtpEAr6ZgasPpS82q4u9hx+nKFYXq
zC/u3Ng8oy5yBbLbWTsaXAK9Q6IxcxBK7tAsa7r2I8Hq53p0lFmUIbQZjuct+vYTVyMFIGc9tfhh
QJcgMGZNyWofBfqD1BI2xJr/oc6ZAxDlF5iWmBEhoa6iowI5SXuLmV5rPoweo9rIpGqBNmswKRx0
Q90+xbNU77SppCFEZvZor45dFM9KB7HbJsk/NkrkTjJTy24t2/PnWt3XE89i44Au98PIQjyJkO5e
WW6IQhzeVLM8NdSl3JHfCRz5nvydNhsLFGIa4WNpxG4DZSxGb4qE5AQNvmjeFrXx0fF746Inzd6w
Geurr7bUWFcG+kxgzVpMClXX+BBk2ljPJMKt04GA+7r3yuhBxkoPZcpOv6/0JMf4REHRp41Rv5TM
MgEumMd3kaQr59CdU/ijqduYy8qUIUWYEtQIWSKONGyrndejjPlrLbExaPyUiad2zbsuUzN6VGKu
TD0QraZCIm9al1XeAS81LZvAERmDEGoIV9ppbnScQFV4aJDCQh7DrG+7OPIWNgoFH6I0GKCbNOqp
PGho23dobs3o/SHxplLxr9UhT4h5rObCdwr7Q5tV4w1aS5CN+gQciaaP+l3mqM4tWudwJJk88Ook
tVdNc8Y3SNkM5hXVpO5jOar1MHdSyuczUL7huEQxASJtoaoOZVIXihIq2R1YYa+WqenJajVRKgPT
wAqAdX5MMKZ+DExLTWaqi4XqDKpJOgdUKE1Lw5I+t5ZrPcl11i78KGGrU5ryeAx8k5DesrL0ZpSc
RJvJVpd+kDFVBUSI1YAbhaxFGMivlKEyw0nbFBU8MyezAGdWtXHW2yPDHO8EmOooihYLC9jrIpRw
jnZUu11p8mjPzQHNgMbz3QV2jd6pojCOcRhUp86oSfPQzirgG/ldJYPwQLW2+WpnyrgEQ93Dfa3H
J5laPpvFUU1O4qqUT0tDtvAZ8OE3lcTrZwoOb5PEbuu5JbY9kwGmEfx7O7pQk0j7FJojjMBmiL+y
mwpOaTRjiXhAcKE0cniZJ42D+V+KA3vXNcOj3YfDqQ7YJCX2U4tZpQJQHTOnu6ga15oXnd7fBFGl
r0fLtye6BSx/BHKAtJc7tO91fTCeqkj4G6MsNdFonVNchjNIxo4/HcIwXxRIpC88Wc+7Y9cKwSkZ
A7wor+qo47d4vSUTz26kuyAbzNs2Yg85C7TUx45YT9qvbeMgCmxX1Z2L4FE7t0gXhtPUBTvgVZkG
eyPiHnRVic1lMaKcEgwR9CG2CGgA9H2yDEAWrNDWBRBreKiAzb22dOiu1B+IsZrGv1WiHrhhVoTQ
FyFCS+a0Tt3sugbSMQHIKC+trmjjKVJF4Qw2812e2Bckab2pbozE5Fl2XIfI7bipwhYEAMbMVKV+
mke5NO1BELFRUksPeWGZkSBL+XmW+sUHv22QXsgYVCea5tdzgMzlWYzFyyJDo/ZU7LM+NZlgA3sW
1ZD/r3nQPTKcr5KhP6Q4vyX+RIZyQ/y7zf67H71kFH9+oL+WM1VM7U3SdHNKm3ztr44Q35P8ab6Q
V9WMIwA5JEipd20eHBABC+ThNl8r+hHgMRXnq+0fetU0/+nif31dP2aRfzzOr878aZNKFvli522+
+G9fun2k6LYMRfOnl65qR2AWbfDPJIZJTB/QpZv7XrqhHSmWZWuaYf7srkublrEtQ31uGZm0+WE1
gaJT1N0pF/zd2687R5YFNQgkkbN50Kiver55JDsqzsOy4AmIB0n9A2sCUULbrwm4z7KiUjYxt03A
AV83AWUVy6YeZ29bQAYqdGBNIDv7NoF1pJgMcw0cwE96geIc6YqY/nTr+ftDawJj3xbQ9CPHVjW4
MOr2Nu+uABpThU59DCLk9uvDGwfKvtOhKAXCizBk+3m+4xpfjQNFPVIMbj86LgfaBKqxbxygK0cO
SyE1+OfZcHcqoAkoYDoATg+1F1j7ToamfmQoDhRZDE43j90WUM0j1VZhpeuHFwlRT95rHdDMIwrg
CjVTbXvpu1OAZBxpkPFlG4GL7ePgIiJF2bcNuP0IGDmW4ApvHuBeX80BkmIfgbZ22B8/zxGH1wYC
Dr1XPzDUIxUSMTCc3b5vHJm0CnuE55Eh0zaHFQgAHNrz2lkDHGCpAEKeI4HdcFBMgDQM1MaDu3ZB
ZdnrthMJc9dpQrr39rHb9VV6PtkwfGYO7rZvI9IttOrbRvpvbH91nfDP1uTNbX013BXryLJZDtgd
HNo177vO6fKRZaJIBK13e7N3xzotAu7JNHUIsJvHwS137Fz37PAmAZ0uaCTks16u8dXNd45Mol2k
Z0TQJx6H1wTq9pT26PjOEQMeR3LjuQl2Q16JFtJUy4Fv8/w4uLDf2XfGN0D5OZAB0efame8U+Ygd
ryqz1h/a2Ic4vGfXJ/MDZhDmFDDJzYMDvur63HcDtr/yMjAOMO2x92aPSxR7Gcd4DnZ3e77CYgdD
HtDmwd18ed8YVyfZS4hrAjnfTmy7U78qQmAhImMd3oQnMLP7BTncWJk0ti7/NL6z9CPk+VjzCHU2
j4PLdan7JnoY+oau0AIijns15lX7SCYJSnS7XVcPKNG92Yjsd9uZzBG+YJF7zm69me9oE0Djlk58
u31sp5eDaoM9e74hH4lozjDZv20eu7efeM+k7GrYL1newxv8Qrtgv15gHalCzsViUd8+3o4AHa6r
zNy4XRQPLtjh3PdsAmJeEvkmCaznJM6bZY9cv04SmP3/toEObhwoz4m3PWJe+4jIRxcqeD+LfUSu
H9l62BoHt/Sb+959g3IWOTxqPT8Nepwj6h9cOPjC7WM74A5oFtw/v2NB9+H2y6Jw+Gr1o8JN/Zfc
vvZ9XDDXHNClq/tv9swjYnqqmS/FTKb4V01gH1H+ceBGvZQ6D+7uox257/SnsMwhskKtb+faHYdN
oA1//iW3fXBTv+LsPfjZzKvIuDH8t/Pe7u0X8x7eAKppH9y8pxiKundSWz9Skd5GJ2V3my9R70FH
hOTfS5Lj4Lq9IvLwewU+mnzEXUfBwHyOfHaz2tR+oUDqFPmfHwcX+wkBy71aAG6oidgaYI7deV8U
NGEaf9sOOgeX6LX3HfcizakhkyO/3N/dcS9ZRzIpQIbYc0wgH94AeE69/vcxn0Yy10bHkZhvZ97n
4h2+YEukPYc826F2QOu+IuSP9uv7GrxolFxETXvz2B39FtgWC6EeQE7bx8GtfRCv92wBQF4IgdEE
P20Bhcq2Rhs8V04P6Oar++PblCPuPRV9MQOIB3f3VdBnbuGNAt21aeMDunbwRvvedlBd4LZkVved
i3bI9qg22ZDDG+wOKrv7XjUxroxwgcjybR87F68qbH8VusOrMu+B7XSsfZc8qpesZia5nu9pjFed
XqX2KSZ8VEa2j8Ob8fbNcxs2Cx71W5HM3jx21z1VlABQY0UH80BbYN94HyQbPjI4PgmA+O69l0ny
Ccjvt9FxWN1/71lP5LoRt0foZHuFuw2gC0yDhQ6K8bwNPLjO7ziKjn79vtMgBT4bZgT7um83ercf
AORUccL4ngo7rH6gKttA/L+Petn0AGPS4Rn9FONBzgtBHPLdQjn0wK5d6BhzSntcOxkdAlqDkbAz
/jXiISSChAT6oV00scqeF22IQJbkPnXt7bTONb7u8wR71PiEFsOBzvrkYPdtApKcBtt5lP1+2gQU
t0VV33wB8h/cfn8jBr9X19dY+1Vbsejj327zq15giWQQ5X1QL9/Wh8Ma/Yq8dwxsiHQ+Tcm93jwY
Wa+aQDGPdFoIJa6DW/w44T1HgK6ywFPl/d7Hd68dyJehmKRCnm//wY0A4V211wAQLcDajxTcz+cA
g90BISB51QMdAHvnuwSOhSFO8PMc35M/fdX/YeiLGFFwOr+z3g5rDvhBB/BvE/tIe1LFZaP303KH
IPvIbLa/8Z0OLhwgXbXnOCDriYgmKEbnp01g8DXQZnZIz5Pk30j7/4U80TeO9BRPmy8bdnTwVL0S
kfztD17ivx8P8MwNFgRghjIp8p2fConJ7cG3PGHx/t87ipObwu6rL0Wg+ertzm+32pqvvn2pCm9O
6/lvPbfHj2e6c2JzQVumEV4+XAVP5T0qNcPmi+H5qrZSl9P79P7L/WulSwFQ/X4aP2hofpsyf3XU
Zfn0lMb36ZeXQ2041Nz4fQ989tQHj9nLccRRFZPIe9/D3txjqvvuknYqn95x2u9Qq2qemMpeDr3p
AgKqse9fukuD+unLu5v6vn6qXg63Obrgeux79CkHKO/jd38mT2XwuHNbWfFtJp//+Bc4mb90a6f3
ZfDw8HS/0zRsgdAuFcZdvzn+zzrwN/zDj916l8D/979/Ph3RvuxPlf0H8Ovz/382Jif3PvJ9uw1M
Yu0/Nu1fvXNDXjY7fU7Qefc96vJ+vKc7l0H+cqzNqBTlvX0PfVy+6WXKPzAAj6vy/il+ObnNuYrC
9z9wrsXLUTYHFRi6fQ+6zsovb5pAIBT2PexJ090H9ctxNmcr0hf7Hvb06eE+3Z0yyY3uf9yL5E0b
CJeQfU/2CkWV8uUwmyYQQOV9j3pz33wJ3v1Z3j/sqkerQs1g74Mj3707pav/wCB7XpDEOb+bJ0H5
w7okfOT3PfUP6GO/m9yn0cuhRItDgn95K6bS/y7S+PSUPO3MlKqAL+57vsuM4OXd6mkjl/7upnn4
EqCYHTzuDBqdu/oPdO/bJn14d1yJaGlncsYYR2wd/4Gr+fOheYdA407feT76P9CB/vf1/GZ+/X4+
+z/vxG1+KtN3N297qigE4DwgoN9we5G5EUzHX9+k1yvt/FtA+7NPX8X6LxHvXpECyEWyIzuHel7q
34bvnFbKVfwmzM8eiZZ+85tD2Ar8+fVtzIiY7tvb9HzJfzHk+DNlln2s34SipIV+uP1/87jVm5kQ
rPF+Zzpvyix/ejnG/+XuapbbOI7wq+wtdlVUNiCRlC6pIsBfgWAQAqKrdBsAY2DEBYbZHzLgKU+Q
e845+ZBbjrnxTfIk+XqAkdGzKwDkdMRYZZXLpFy9vb09Pf37tbsQfkRp2//CG6insXlJ4P+1zriL
JoMT8DTahyUskkoDOcDJjxREn7YS1PH8Gpd5xUt4Gs9/pJPAOUbeAG3wwDmgwZi3MBHVa/hpz+jh
Yp/Y8Clv0IiAVQ20oR1dWJisr0ip/HVRxK6hEHRGBYqIajhWPKDiR0A+DYCpVy/+p71OV2P7sS3U
jIsNBnXv3R4QBDA8jM1+GLepqOozXqirJtNMD73S0ynAVooD+geJXhR6D9DmIvGgz0FkcqmLqc4q
lx/2YAAgA2lDgocAJBzmJz1X/ihW3q/ubvg6sSVqqO92ujDWeP5NXAiTKc5rXnD/e9OX2PVeeNDZ
UJlPnLCAO3iYwR0MjsoGxdmRXXiuk1SNgQftaTn/VUAQ3YWaz3ggQq3DGkaiWNRo+q4MT8vwowl4
8a2snGvjuSMREChcLK9tNRvaMf9mVJ+NpdvPTHKBkIO5vVWHZu1I7ihcOJdzTlRAcc8Ag5l06F/9
wyv/8ks3RODLnc/Hdq6Du6qBfFi0lEGZf7pGQ+BYvFe33DRgi3I8rx1sn8BC0eBkAG0unvTS0+vY
TDPNaNByqGhFdh5ZDW0Bxegge3czrYpE4FxfKJv7l3eKTIWmWFl01UjZyhGhHVjRlHH2bOBOo7tD
gLBKx+aOJ/uBAilCWC3CM03rJ2NFcalvFc+QHgh8up7K1EintakOKsPGct1T2Hkfnu13Ame7h8Ki
wUYFGFDPpbv+N3rCO94lfTOfqFuYDUa5IaAdg6ky5FYzwhK+xUB9MlVJu36i2E84UOae233MFPgX
eL43NCizG3ILQ+1wpe9Ynj88DHWNOGiiIpb0tdHFXM08Iad0EqbuvCiz8nZ1ENepYx0rDSvE8t0p
5yqfmqzuCVglL+Af9LHzuUgXdbbkNeCEJK4DMx6nOjnGykcvEJL/sor4ZQnBQuxURe1PzQ2i+nmN
iJAcQ0S/KT+x4zO6KlULlXSwGCT9z1//nt/QT1dmPGHGBhmj/ddvKomd8td0yI6PG5iZzV5dUAp4
XWKYhAUMgMQ31/Dlb0r/zX84MsouEOaY5E/lfKxYUwBN4AFf1PPxfNNxZG/GNvkhGagbRH9mxrw7
THK9QRom/ikdVWIPCSuOEBQ4uooE/I+eepWaV6OpUa/yvPTMOo9s+QyBb99HgFxDWcCWXKjbYhp4
I0u2t7oML5cPAtAdUse7VBDWjtlvISGUosLLwz0B5TlEcJpl7GRt/bbLjv1NLUguP855JViP2Lut
pdOJKfmdLHDdtGwOwbrWozOdPeiJvQuSDE0BnxDMq6AFpFo3WVPJHS0/lvFN0BXEviB118bK+khT
boyZRYni7nkGMXDHmHZcxHJ7nBdh2YGarGPJth802W5PiOw2DSrHkj0xlf48QjqNJqsyq/0V7ckR
zxvrEzvq2Umm5iPNqAqc6FMzRB0t6AaRiBtPsch8nuvFOsOE8hkr41OdoSOGk5WQA3o2uXRppjGW
2XZmsf6Hqa+bu4ile1YicM6YEBq0nyOW7jlSFIFxcHDv0XQLlXJuaQI7lup7nQUKBnwNAbIITLpq
wRtrGhI30IUq7gJtkMj1X5hiWoauiRt0i5VwP7V3SCxxBSZwuFjCFwZ2vdBzhEtBqycBEkRTL/+i
UVYpM+6WS2QlujYdQyaeRxdIEM5VLMtdO1dBazdhkkSTJdvuyThmJRIQXyhbNwjbI5Zj1BLuFbcV
Eldzj3raxp49JwmJ5rIeelzKSRCh0WRRrBiuLG45fvAwXxJPl050WCN2Q9CxDCMIhtXMzJylItyy
iGjSt0E/uMOqjaZ6pxDQZUwnMKktIOJ7PeaXh4MUjeb33mDVp2sW8TySGjvIwljaH26o5Z45l+jh
8Y95fgJp1V7bQZ5/bHnYKFGLvoZzNYLetdEu4Jl1MtnYL7Ojvw2LjAtKTzKu0BJRTR/9H8HZJjiW
2K+INlqd2J9xDFlP8ArZL5b6ssiLEqRGNZ1z31gi6sQ+oWNze8ek/RmlYjPpl8t1LdsCv8FcVzYh
kfNOD4nKQgtV5sAHlhjqaGXqwbCqLUFPbNaa7Vm0NmqfzChKVAraNrWz4PhL1LWOR6VCKtG/NdlB
ieHAk0zPR9PktDSYlVwnLuHsnaj0hvyyupzJgUA8e1qiw4xxjcqCf4nnX2t9FJVQmmSq0ZDI8VCX
wKQM3N+3AhFRT2elf2/n/L4VSHd9yMqQWWDf+sc8X7zXuHYfMIDKPpxbD7X5QL/cNUCjAt/gJZBO
MEjLvoJApu2QOo0YUYGD3rJFjuYJRrYhQRexEnOmmgJBeQsNCGgc9AeFzqNEd1h7qlgwI+HAX+nb
cpiaEbmVaFVP2tQnts64RDLoSM/sCC0NeMz25wloIHpudWb5rObGkYgdI4a2RQ8Ab/vbE4gnP4+1
uwml+WcZrX8GiWHCtrrVybXOxuxeIzDfzWZ3ux919MkgG1cwjadV77F0jyeL28KTcQ6PALPHfy5V
YWH3UnJ65ryldV/Aphxnpgg6ZSWiv+NiauwtN9cSTSADHPtTdKlzygRgH/v5TtWQH0IJp+QUQxvs
GqiOhJVP7u6pKgIwH+IF0H78V6GT8e/O76zhTZCAFIwn39HzBRNFzZzg02VxYYahVwBo83hu0Ttl
iym7XABRKUDXDAMpvBG4w7vAjZmofMSnVxoS1whqT7bgbWQNkYQWOuLumQ0GQl28fNFoFxAVMMJd
XKSjsB4icCS6CqEbOg+5McMGUgE52AeykkDO8bRcoCXRXHFp4IgzqhKG3VENBCHRXLE0lq9aJs8V
DzqrE7RPNz9XcPM5ZBOwx71snh9z9vViNNVpGna5C5iK1UxxZb4ca08l+EaKmtefsGlWgC6hQank
QmNyylMjfW5KDDj1UdwKhk2aEug2/XLMU98YnfXMP181BpaHPE2J1GL/8R82GdjZ4y+u7a2XPf5z
PjJ8Br/5WqCQCIANE4zJNF8LHJiBmj+EdhRrr+LF/WFSOeASTRIIum+QtEtOVM58DGDzxfMMNDkT
OMhNiempYyQ1kIU3nkN3AvcFjvfHikPflGgM+GhmQzW85xZDArBoaUOr51siCX04XPC53gOM82Au
EgurDlDYgjndHkK8XOpxiWwXm3xc558sJdAT1391TBPZHliSPcv/jf/lpqZkNOCaB64bAoaobTHZ
hMkODvgncvrSpK/Su7CqciDgLJ4ix6BxCbLwrIoL83T3CJPUYwLmWLcYmKXwPz7/FryEgF1xwpNy
3u1GUMUd02Y9BOx8tKSxvVG0Tjs36KwglKLD7/HqThXC8erAhPhIax/vtzDdUAtWBPhe/72/pDov
+CU87mbs11h/hf+Z9TvMyiE77o1tkt2eWAXClEEJzrmQLZUN4f96os5V8D986dvt8oRJaVJupyQG
dIlbGFZupwSCLcpWAkEUBoWRlgBQaKsFevLqStUSjaXtQDskUjNHdgbnkV+MEm6ep1tfi5CY7geE
cojMLNGuiWt3DGDjksdZEmmJM2CKMje9ITH1+R56HHw/rBiNP9Vo1KSwIsxVSVSrqG0up9xB4dl0
joJEgaqHkZLCkqvHIzgJtN0lBnbHFEXurOmlvjPcgkjMhi+fclGOeNqtKTENMUBPihmrsWN/YIfA
gVv/AljT5n98/m1AWAJL+bShlzavM4ZNiaG6paCuDSaeAE1OHUJUfV5ahQoUhUQ+v4W0sMmnybXJ
JqbWyAPEM16AH/obnyAQWbQwSBAUk7CSOZ7zNqIKoM94Qs69kMhC9xX3ipoHAvYNwCJFcgyMSGRP
Sn6MJTLcS+2EC1NMH39J9WyxLpU9mfQrXqCr8ATeSU7L4wXKK8sXWN4CyXfLycLv118Cm1q3e/7b
vcfHv6EjeayTVCWX6k7luQaawPK/1Mp2JN8dmfy2pLUAClXx5EP/8NXZ4fngnPED0Nz9d/izB8DH
dwgP325Pja479b9mKep+Kw2hu1+Dt/l1Q5Sv8ZaUePomcR/roGVpTSBuoihYQjTQ/2zTm5Xee3pk
SPexGBwLJN7t72Mr49u3gMfdesbrvvDXyX/UYdbGaveG1MkLbYZZ7RABmreaWRZUS5j3FoaYw1hd
wLvoU2u5rfVeJGD+Wra800WN/krsT2hb8ie/62gkieeT7+s8Swk/z02xEEo7zaoh8Vj3HIl5zra1
/qQz/0NiqPO9yhCc1HwHiUrLifnE4lgJ8LsTDMTRagW/+ccNKZlRVkXl3LhEZ8d88mpiAROfiwrq
p0S+ugU0pDp0L1qAHntHrHh35S7SUop8PsPIE6DrmGmTxGgAciJsMq8KQV4+uV/uTGOwcqWg7h26
oyPEJan/HXsJ4AXFC+7M3q8Nknh6LvUgEbj78NABvs4TB+WeDJDmMGgVZe5/QwJn572dYjQelvyw
sCkba2pIgBjSPCalMq+0/pmJSqKzoQMwryHiLk5Y4Gy0pxlADJHYrbF8DQnEnZ5KZws0vVSFLrGd
bNl6FoSjWA3v5fT8rMylvk/aKq2Zy5QYVr00QUebRLPytZqjAlr6d3fnVCLwv0R/H6cqcaOQgD9q
VGsDBAEJi98zxQgJm1qnDSsUvISerx09dYsKEb1CTRezDMReGvb5CRh0+Gc5oO/qEXMlKuXLHMiZ
TlFp+H1ymCPTmBuYXLpykUsluNRkrJJ2OZ8y/x+bLeI/ysDeYL6NaWpTwkUfYD6HcyuBwT0ogZUQ
MCugmT/h88KPJYGflAVgU71cXXJRogD2E1y1mtuiKeGFVwLDpgQYZteMAX+y4pm5SUDpkGizbxOa
M9VRvMVZF/oe0n4HB9g9sofJ+x+B77kdeuUFExE122a+vUTEqbaoSLCjIYEXflXmYVeoRMFy8Phv
tFku9LpSYXmw//FLt9jLKVHdKqFYJVp/G3rjzc106/+3z1NLZ6Tr9hh9e29Ztzbp/+wtt3zslaaM
UsTPf/gvAAAA//8=</cx:binary>
              </cx:geoCache>
            </cx:geography>
          </cx:layoutPr>
          <cx:valueColorPositions>
            <cx:minPosition>
              <cx:number val="1"/>
            </cx:minPosition>
          </cx:valueColorPositions>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65881</cdr:y>
    </cdr:from>
    <cdr:to>
      <cdr:x>0.32242</cdr:x>
      <cdr:y>1</cdr:y>
    </cdr:to>
    <cdr:sp macro="" textlink="">
      <cdr:nvSpPr>
        <cdr:cNvPr id="2" name="Прямоугольник 1">
          <a:extLst xmlns:a="http://schemas.openxmlformats.org/drawingml/2006/main">
            <a:ext uri="{FF2B5EF4-FFF2-40B4-BE49-F238E27FC236}">
              <a16:creationId xmlns:a16="http://schemas.microsoft.com/office/drawing/2014/main" id="{6BC0E46D-897C-4CA2-275C-1F42C58F49C9}"/>
            </a:ext>
          </a:extLst>
        </cdr:cNvPr>
        <cdr:cNvSpPr/>
      </cdr:nvSpPr>
      <cdr:spPr>
        <a:xfrm xmlns:a="http://schemas.openxmlformats.org/drawingml/2006/main">
          <a:off x="0" y="1393950"/>
          <a:ext cx="1082012" cy="721895"/>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ru-RU" dirty="0">
              <a:solidFill>
                <a:schemeClr val="tx1"/>
              </a:solidFill>
            </a:rPr>
            <a:t>С.</a:t>
          </a:r>
          <a:r>
            <a:rPr lang="ru-RU" sz="900" dirty="0">
              <a:solidFill>
                <a:schemeClr val="tx1"/>
              </a:solidFill>
            </a:rPr>
            <a:t>1 Политика, нормативные инструменты для реализации ММСП </a:t>
          </a:r>
          <a:endParaRPr lang="ru-KZ" sz="900" dirty="0">
            <a:solidFill>
              <a:schemeClr val="tx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51822</cdr:x>
      <cdr:y>0.14108</cdr:y>
    </cdr:from>
    <cdr:to>
      <cdr:x>0.73494</cdr:x>
      <cdr:y>0.29085</cdr:y>
    </cdr:to>
    <cdr:sp macro="" textlink="">
      <cdr:nvSpPr>
        <cdr:cNvPr id="2" name="Прямоугольник 1">
          <a:extLst xmlns:a="http://schemas.openxmlformats.org/drawingml/2006/main">
            <a:ext uri="{FF2B5EF4-FFF2-40B4-BE49-F238E27FC236}">
              <a16:creationId xmlns:a16="http://schemas.microsoft.com/office/drawing/2014/main" id="{A5F31B4B-187C-83A4-5863-2837D590F567}"/>
            </a:ext>
          </a:extLst>
        </cdr:cNvPr>
        <cdr:cNvSpPr/>
      </cdr:nvSpPr>
      <cdr:spPr>
        <a:xfrm xmlns:a="http://schemas.openxmlformats.org/drawingml/2006/main">
          <a:off x="4293883" y="749432"/>
          <a:ext cx="1795749" cy="795528"/>
        </a:xfrm>
        <a:prstGeom xmlns:a="http://schemas.openxmlformats.org/drawingml/2006/main" prst="rect">
          <a:avLst/>
        </a:prstGeom>
        <a:solidFill xmlns:a="http://schemas.openxmlformats.org/drawingml/2006/main">
          <a:schemeClr val="bg1"/>
        </a:solidFill>
        <a:ln xmlns:a="http://schemas.openxmlformats.org/drawingml/2006/main" w="6350" cap="sq">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r>
            <a:rPr lang="ru-RU" sz="1600" b="1" dirty="0">
              <a:solidFill>
                <a:schemeClr val="tx1"/>
              </a:solidFill>
            </a:rPr>
            <a:t>Завершено, действия реализованы (0)</a:t>
          </a:r>
          <a:endParaRPr lang="ru-KZ" sz="1600" b="1" dirty="0" err="1">
            <a:solidFill>
              <a:schemeClr val="tx1"/>
            </a:solidFill>
          </a:endParaRPr>
        </a:p>
      </cdr:txBody>
    </cdr:sp>
  </cdr:relSizeAnchor>
  <cdr:relSizeAnchor xmlns:cdr="http://schemas.openxmlformats.org/drawingml/2006/chartDrawing">
    <cdr:from>
      <cdr:x>0.77477</cdr:x>
      <cdr:y>0.21476</cdr:y>
    </cdr:from>
    <cdr:to>
      <cdr:x>0.98605</cdr:x>
      <cdr:y>0.36452</cdr:y>
    </cdr:to>
    <cdr:sp macro="" textlink="">
      <cdr:nvSpPr>
        <cdr:cNvPr id="3" name="Прямоугольник 2">
          <a:extLst xmlns:a="http://schemas.openxmlformats.org/drawingml/2006/main">
            <a:ext uri="{FF2B5EF4-FFF2-40B4-BE49-F238E27FC236}">
              <a16:creationId xmlns:a16="http://schemas.microsoft.com/office/drawing/2014/main" id="{A5F31B4B-187C-83A4-5863-2837D590F567}"/>
            </a:ext>
          </a:extLst>
        </cdr:cNvPr>
        <cdr:cNvSpPr/>
      </cdr:nvSpPr>
      <cdr:spPr>
        <a:xfrm xmlns:a="http://schemas.openxmlformats.org/drawingml/2006/main">
          <a:off x="6419650" y="1140767"/>
          <a:ext cx="1750653" cy="795528"/>
        </a:xfrm>
        <a:prstGeom xmlns:a="http://schemas.openxmlformats.org/drawingml/2006/main" prst="rect">
          <a:avLst/>
        </a:prstGeom>
        <a:solidFill xmlns:a="http://schemas.openxmlformats.org/drawingml/2006/main">
          <a:schemeClr val="bg1"/>
        </a:solidFill>
        <a:ln xmlns:a="http://schemas.openxmlformats.org/drawingml/2006/main" w="6350" cap="sq">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r>
            <a:rPr lang="ru-RU" sz="1600" b="1" dirty="0">
              <a:solidFill>
                <a:schemeClr val="tx1"/>
              </a:solidFill>
            </a:rPr>
            <a:t>Завершено, не реализовано</a:t>
          </a:r>
          <a:r>
            <a:rPr lang="en-US" sz="1600" b="1" dirty="0">
              <a:solidFill>
                <a:schemeClr val="tx1"/>
              </a:solidFill>
            </a:rPr>
            <a:t> </a:t>
          </a:r>
          <a:endParaRPr lang="ru-RU" sz="1600" b="1" dirty="0">
            <a:solidFill>
              <a:schemeClr val="tx1"/>
            </a:solidFill>
          </a:endParaRPr>
        </a:p>
        <a:p xmlns:a="http://schemas.openxmlformats.org/drawingml/2006/main">
          <a:pPr algn="ctr">
            <a:spcBef>
              <a:spcPts val="300"/>
            </a:spcBef>
            <a:spcAft>
              <a:spcPts val="300"/>
            </a:spcAft>
          </a:pPr>
          <a:r>
            <a:rPr lang="ru-RU" sz="1600" b="1" dirty="0">
              <a:solidFill>
                <a:schemeClr val="tx1"/>
              </a:solidFill>
            </a:rPr>
            <a:t>(3, 23%)</a:t>
          </a:r>
          <a:endParaRPr lang="ru-KZ" sz="1600" b="1" dirty="0" err="1">
            <a:solidFill>
              <a:schemeClr val="tx1"/>
            </a:solidFill>
          </a:endParaRPr>
        </a:p>
      </cdr:txBody>
    </cdr:sp>
  </cdr:relSizeAnchor>
  <cdr:relSizeAnchor xmlns:cdr="http://schemas.openxmlformats.org/drawingml/2006/chartDrawing">
    <cdr:from>
      <cdr:x>0.81055</cdr:x>
      <cdr:y>0.7149</cdr:y>
    </cdr:from>
    <cdr:to>
      <cdr:x>1</cdr:x>
      <cdr:y>0.86467</cdr:y>
    </cdr:to>
    <cdr:sp macro="" textlink="">
      <cdr:nvSpPr>
        <cdr:cNvPr id="4" name="Прямоугольник 3">
          <a:extLst xmlns:a="http://schemas.openxmlformats.org/drawingml/2006/main">
            <a:ext uri="{FF2B5EF4-FFF2-40B4-BE49-F238E27FC236}">
              <a16:creationId xmlns:a16="http://schemas.microsoft.com/office/drawing/2014/main" id="{A5F31B4B-187C-83A4-5863-2837D590F567}"/>
            </a:ext>
          </a:extLst>
        </cdr:cNvPr>
        <cdr:cNvSpPr/>
      </cdr:nvSpPr>
      <cdr:spPr>
        <a:xfrm xmlns:a="http://schemas.openxmlformats.org/drawingml/2006/main">
          <a:off x="6716078" y="3797521"/>
          <a:ext cx="1569793" cy="795528"/>
        </a:xfrm>
        <a:prstGeom xmlns:a="http://schemas.openxmlformats.org/drawingml/2006/main" prst="rect">
          <a:avLst/>
        </a:prstGeom>
        <a:solidFill xmlns:a="http://schemas.openxmlformats.org/drawingml/2006/main">
          <a:schemeClr val="bg1"/>
        </a:solidFill>
        <a:ln xmlns:a="http://schemas.openxmlformats.org/drawingml/2006/main" w="6350" cap="sq">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r>
            <a:rPr lang="ru-RU" sz="1600" b="1" dirty="0">
              <a:solidFill>
                <a:schemeClr val="tx1"/>
              </a:solidFill>
            </a:rPr>
            <a:t>Запланирована разработка (2,16%)</a:t>
          </a:r>
          <a:endParaRPr lang="ru-KZ" sz="1600" b="1" dirty="0" err="1">
            <a:solidFill>
              <a:schemeClr val="tx1"/>
            </a:solidFill>
          </a:endParaRPr>
        </a:p>
      </cdr:txBody>
    </cdr:sp>
  </cdr:relSizeAnchor>
  <cdr:relSizeAnchor xmlns:cdr="http://schemas.openxmlformats.org/drawingml/2006/chartDrawing">
    <cdr:from>
      <cdr:x>0.51284</cdr:x>
      <cdr:y>0.88744</cdr:y>
    </cdr:from>
    <cdr:to>
      <cdr:x>0.74141</cdr:x>
      <cdr:y>0.97719</cdr:y>
    </cdr:to>
    <cdr:sp macro="" textlink="">
      <cdr:nvSpPr>
        <cdr:cNvPr id="5" name="Прямоугольник 4">
          <a:extLst xmlns:a="http://schemas.openxmlformats.org/drawingml/2006/main">
            <a:ext uri="{FF2B5EF4-FFF2-40B4-BE49-F238E27FC236}">
              <a16:creationId xmlns:a16="http://schemas.microsoft.com/office/drawing/2014/main" id="{A5F31B4B-187C-83A4-5863-2837D590F567}"/>
            </a:ext>
          </a:extLst>
        </cdr:cNvPr>
        <cdr:cNvSpPr/>
      </cdr:nvSpPr>
      <cdr:spPr>
        <a:xfrm xmlns:a="http://schemas.openxmlformats.org/drawingml/2006/main">
          <a:off x="4249327" y="4714000"/>
          <a:ext cx="1893873" cy="476750"/>
        </a:xfrm>
        <a:prstGeom xmlns:a="http://schemas.openxmlformats.org/drawingml/2006/main" prst="rect">
          <a:avLst/>
        </a:prstGeom>
        <a:solidFill xmlns:a="http://schemas.openxmlformats.org/drawingml/2006/main">
          <a:schemeClr val="bg1"/>
        </a:solidFill>
        <a:ln xmlns:a="http://schemas.openxmlformats.org/drawingml/2006/main" w="6350" cap="sq">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r>
            <a:rPr lang="ru-RU" sz="1600" b="1" dirty="0">
              <a:solidFill>
                <a:schemeClr val="tx1"/>
              </a:solidFill>
            </a:rPr>
            <a:t>Разрабатывается (3, 23%)</a:t>
          </a:r>
          <a:endParaRPr lang="ru-KZ" sz="1600" b="1" dirty="0" err="1">
            <a:solidFill>
              <a:schemeClr val="tx1"/>
            </a:solidFill>
          </a:endParaRPr>
        </a:p>
      </cdr:txBody>
    </cdr:sp>
  </cdr:relSizeAnchor>
  <cdr:relSizeAnchor xmlns:cdr="http://schemas.openxmlformats.org/drawingml/2006/chartDrawing">
    <cdr:from>
      <cdr:x>0.16092</cdr:x>
      <cdr:y>0.60601</cdr:y>
    </cdr:from>
    <cdr:to>
      <cdr:x>0.3912</cdr:x>
      <cdr:y>0.67757</cdr:y>
    </cdr:to>
    <cdr:sp macro="" textlink="">
      <cdr:nvSpPr>
        <cdr:cNvPr id="6" name="Прямоугольник 5">
          <a:extLst xmlns:a="http://schemas.openxmlformats.org/drawingml/2006/main">
            <a:ext uri="{FF2B5EF4-FFF2-40B4-BE49-F238E27FC236}">
              <a16:creationId xmlns:a16="http://schemas.microsoft.com/office/drawing/2014/main" id="{A5F31B4B-187C-83A4-5863-2837D590F567}"/>
            </a:ext>
          </a:extLst>
        </cdr:cNvPr>
        <cdr:cNvSpPr/>
      </cdr:nvSpPr>
      <cdr:spPr>
        <a:xfrm xmlns:a="http://schemas.openxmlformats.org/drawingml/2006/main">
          <a:off x="1333382" y="3219069"/>
          <a:ext cx="1908050" cy="380147"/>
        </a:xfrm>
        <a:prstGeom xmlns:a="http://schemas.openxmlformats.org/drawingml/2006/main" prst="rect">
          <a:avLst/>
        </a:prstGeom>
        <a:solidFill xmlns:a="http://schemas.openxmlformats.org/drawingml/2006/main">
          <a:schemeClr val="bg1"/>
        </a:solidFill>
        <a:ln xmlns:a="http://schemas.openxmlformats.org/drawingml/2006/main" w="6350" cap="sq">
          <a:noFill/>
          <a:miter lim="800000"/>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spcBef>
              <a:spcPts val="300"/>
            </a:spcBef>
            <a:spcAft>
              <a:spcPts val="300"/>
            </a:spcAft>
          </a:pPr>
          <a:r>
            <a:rPr lang="ru-RU" sz="1600" b="1" dirty="0">
              <a:solidFill>
                <a:schemeClr val="tx1"/>
              </a:solidFill>
            </a:rPr>
            <a:t>Другие (3, 23%)</a:t>
          </a:r>
          <a:endParaRPr lang="ru-KZ" sz="1600" b="1" dirty="0" err="1">
            <a:solidFill>
              <a:schemeClr val="tx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B25686-C135-714D-ADAE-A031C4BC0204}" type="datetimeFigureOut">
              <a:rPr lang="en-US" smtClean="0"/>
              <a:t>11/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85B747-18E9-E746-A276-B387773C2AC8}" type="slidenum">
              <a:rPr lang="en-US" smtClean="0"/>
              <a:t>‹#›</a:t>
            </a:fld>
            <a:endParaRPr lang="en-US"/>
          </a:p>
        </p:txBody>
      </p:sp>
    </p:spTree>
    <p:extLst>
      <p:ext uri="{BB962C8B-B14F-4D97-AF65-F5344CB8AC3E}">
        <p14:creationId xmlns:p14="http://schemas.microsoft.com/office/powerpoint/2010/main" val="19337718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KZ" dirty="0"/>
          </a:p>
        </p:txBody>
      </p:sp>
      <p:sp>
        <p:nvSpPr>
          <p:cNvPr id="4" name="Номер слайда 3"/>
          <p:cNvSpPr>
            <a:spLocks noGrp="1"/>
          </p:cNvSpPr>
          <p:nvPr>
            <p:ph type="sldNum" sz="quarter" idx="5"/>
          </p:nvPr>
        </p:nvSpPr>
        <p:spPr/>
        <p:txBody>
          <a:bodyPr/>
          <a:lstStyle/>
          <a:p>
            <a:fld id="{2385B747-18E9-E746-A276-B387773C2AC8}" type="slidenum">
              <a:rPr lang="en-US" smtClean="0"/>
              <a:t>1</a:t>
            </a:fld>
            <a:endParaRPr lang="en-US"/>
          </a:p>
        </p:txBody>
      </p:sp>
    </p:spTree>
    <p:extLst>
      <p:ext uri="{BB962C8B-B14F-4D97-AF65-F5344CB8AC3E}">
        <p14:creationId xmlns:p14="http://schemas.microsoft.com/office/powerpoint/2010/main" val="2610743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tersectoral plan (beyond healt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B85144-7DDA-4CB9-9D58-ED5B5A951C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2601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who.int/publications/m/item/10-proposals-to-build-a-safer-world-together---strengthening-the-global-architecture-for-health-emergency-preparedness--response-andresilience--white-paper-for-consultation--june-2022 </a:t>
            </a:r>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 Nov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959894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7DFC79-30DA-484F-85C8-36E3971802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77565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150" y="608013"/>
            <a:ext cx="7010400" cy="3944937"/>
          </a:xfrm>
        </p:spPr>
      </p:sp>
      <p:sp>
        <p:nvSpPr>
          <p:cNvPr id="3" name="Notes Placeholder 2"/>
          <p:cNvSpPr>
            <a:spLocks noGrp="1"/>
          </p:cNvSpPr>
          <p:nvPr>
            <p:ph type="body" idx="1"/>
          </p:nvPr>
        </p:nvSpPr>
        <p:spPr>
          <a:xfrm>
            <a:off x="704292" y="4785409"/>
            <a:ext cx="5397030" cy="169331"/>
          </a:xfrm>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Arial" panose="020B0604020202020204" pitchFamily="34" charset="0"/>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Arial" panose="020B0604020202020204" pitchFamily="34" charset="0"/>
                <a:sym typeface="+mn-lt"/>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400" b="0" i="0" u="none" strike="noStrike" kern="1200" cap="none" spc="0" normalizeH="0" baseline="0" noProof="0">
              <a:ln>
                <a:noFill/>
              </a:ln>
              <a:solidFill>
                <a:srgbClr val="6E6F73"/>
              </a:solidFill>
              <a:effectLst/>
              <a:uLnTx/>
              <a:uFillTx/>
              <a:latin typeface="Trebuchet MS"/>
              <a:ea typeface="+mn-ea"/>
              <a:cs typeface="Arial" panose="020B0604020202020204" pitchFamily="34" charset="0"/>
              <a:sym typeface="+mn-lt"/>
            </a:endParaRPr>
          </a:p>
        </p:txBody>
      </p:sp>
    </p:spTree>
    <p:extLst>
      <p:ext uri="{BB962C8B-B14F-4D97-AF65-F5344CB8AC3E}">
        <p14:creationId xmlns:p14="http://schemas.microsoft.com/office/powerpoint/2010/main" val="1969856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3323987"/>
          </a:xfrm>
        </p:spPr>
        <p:txBody>
          <a:bodyPr/>
          <a:lstStyle/>
          <a:p>
            <a:r>
              <a:rPr lang="en-US"/>
              <a:t>This was not developed in isolation over the last 2.5 years , there have been internal reviews such as the IOAC and the GPMB, expert consultations and member state led processes such as the G7, G20. As well, as the MS led processes in the through WHO associated processes such as the INB and IHR amendments. </a:t>
            </a:r>
            <a:br>
              <a:rPr lang="en-US"/>
            </a:br>
            <a:endParaRPr lang="en-US"/>
          </a:p>
          <a:p>
            <a:r>
              <a:rPr lang="en-US"/>
              <a:t>Resulting in over 300 recommendations </a:t>
            </a:r>
          </a:p>
          <a:p>
            <a:endParaRPr lang="en-US"/>
          </a:p>
          <a:p>
            <a:r>
              <a:rPr lang="en-US"/>
              <a:t>Broadly speaking they fall into three categories Governance, Systems capacities and tools and increasing Financing for emergency preparedness and response. Moreover, these areas are underpinned key principles of </a:t>
            </a:r>
          </a:p>
          <a:p>
            <a:pPr marL="171450" indent="-171450">
              <a:buFont typeface="Arial" panose="020B0604020202020204" pitchFamily="34" charset="0"/>
              <a:buChar char="•"/>
            </a:pPr>
            <a:r>
              <a:rPr lang="en-US"/>
              <a:t>Equitable access and equitable outcomes for all people</a:t>
            </a:r>
          </a:p>
          <a:p>
            <a:pPr marL="171450" indent="-171450">
              <a:buFont typeface="Arial" panose="020B0604020202020204" pitchFamily="34" charset="0"/>
              <a:buChar char="•"/>
            </a:pPr>
            <a:r>
              <a:rPr lang="en-US"/>
              <a:t>Inclusivity for all stakeholders and decision makers</a:t>
            </a:r>
          </a:p>
          <a:p>
            <a:pPr marL="171450" indent="-171450">
              <a:buFont typeface="Arial" panose="020B0604020202020204" pitchFamily="34" charset="0"/>
              <a:buChar char="•"/>
            </a:pPr>
            <a:r>
              <a:rPr lang="en-US"/>
              <a:t>Coherence with frameworks such as the IHR, Sendai framework for disaster risk reduction and the IASC humanitarian response mechanisms . </a:t>
            </a:r>
          </a:p>
          <a:p>
            <a:endParaRPr lang="en-US"/>
          </a:p>
          <a:p>
            <a:r>
              <a:rPr lang="en-US"/>
              <a:t>These need to under pin all of the proposals going forward</a:t>
            </a:r>
          </a:p>
        </p:txBody>
      </p:sp>
      <p:sp>
        <p:nvSpPr>
          <p:cNvPr id="4" name="Date Placeholder 3"/>
          <p:cNvSpPr>
            <a:spLocks noGrp="1"/>
          </p:cNvSpPr>
          <p:nvPr>
            <p:ph type="dt" idx="1"/>
          </p:nvPr>
        </p:nvSpPr>
        <p:spPr/>
        <p:txBody>
          <a:bodyPr/>
          <a:lstStyle/>
          <a:p>
            <a:fld id="{1DF34805-1F01-4BDA-A8CA-FCEA2B4BC8D0}" type="datetime3">
              <a:rPr lang="en-US" smtClean="0"/>
              <a:pPr/>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20050962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2077492"/>
          </a:xfrm>
        </p:spPr>
        <p:txBody>
          <a:bodyPr/>
          <a:lstStyle/>
          <a:p>
            <a:r>
              <a:rPr lang="en-US" dirty="0"/>
              <a:t>There is also a recognition that this can not only been done within the health system. Health emergency preparedness relies on intersectoral coordination because the investment, impact and solutions will come from other sectors outside of health including  </a:t>
            </a:r>
          </a:p>
          <a:p>
            <a:endParaRPr lang="en-US" dirty="0"/>
          </a:p>
          <a:p>
            <a:r>
              <a:rPr lang="en-US" dirty="0"/>
              <a:t>One health including animal and agriculture but also other sectors such as …</a:t>
            </a:r>
          </a:p>
          <a:p>
            <a:endParaRPr lang="en-US" dirty="0"/>
          </a:p>
          <a:p>
            <a:r>
              <a:rPr lang="en-US" dirty="0"/>
              <a:t>Health needs to interact with these sectors and these sectors with health, in order top provide a  comprehensive emergency preparedness and response</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9</a:t>
            </a:fld>
            <a:endParaRPr lang="en-US"/>
          </a:p>
        </p:txBody>
      </p:sp>
    </p:spTree>
    <p:extLst>
      <p:ext uri="{BB962C8B-B14F-4D97-AF65-F5344CB8AC3E}">
        <p14:creationId xmlns:p14="http://schemas.microsoft.com/office/powerpoint/2010/main" val="8793991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4339650"/>
          </a:xfrm>
        </p:spPr>
        <p:txBody>
          <a:bodyPr/>
          <a:lstStyle/>
          <a:p>
            <a:r>
              <a:rPr lang="en-US"/>
              <a:t>Another thing that came out strong was that fundamentally Health emergency preparedness &amp; response cannot reside only at national level health systems but needs to be grounded in primary health care </a:t>
            </a:r>
          </a:p>
          <a:p>
            <a:endParaRPr lang="en-US"/>
          </a:p>
          <a:p>
            <a:r>
              <a:rPr lang="en-US"/>
              <a:t>There are large overlaps between primary health care, Health promotion, and Health security. And the for example when we talk about the NAPHS, these have to fully embedded with these three areas and taking into account </a:t>
            </a:r>
          </a:p>
          <a:p>
            <a:endParaRPr lang="en-US"/>
          </a:p>
          <a:p>
            <a:pPr marL="342900" indent="-342900">
              <a:spcBef>
                <a:spcPts val="1800"/>
              </a:spcBef>
              <a:buClr>
                <a:schemeClr val="bg1"/>
              </a:buClr>
              <a:buFont typeface="Wingdings" panose="05000000000000000000" pitchFamily="2" charset="2"/>
              <a:buChar char="§"/>
              <a:defRPr/>
            </a:pPr>
            <a:r>
              <a:rPr kumimoji="0" lang="en-US" sz="1100" b="0" i="0" u="none" strike="noStrike" kern="1200" cap="none" spc="0" normalizeH="0" baseline="0" noProof="0">
                <a:ln>
                  <a:noFill/>
                </a:ln>
                <a:solidFill>
                  <a:schemeClr val="bg1"/>
                </a:solidFill>
                <a:effectLst/>
                <a:uLnTx/>
                <a:uFillTx/>
                <a:latin typeface="Calibri"/>
                <a:ea typeface="+mn-ea"/>
                <a:cs typeface="Arial" panose="020B0604020202020204" pitchFamily="34" charset="0"/>
              </a:rPr>
              <a:t>Empowered people &amp; communities</a:t>
            </a:r>
          </a:p>
          <a:p>
            <a:pPr marL="342900" indent="-342900">
              <a:spcBef>
                <a:spcPts val="1800"/>
              </a:spcBef>
              <a:buClr>
                <a:schemeClr val="bg1"/>
              </a:buClr>
              <a:buFont typeface="Wingdings" panose="05000000000000000000" pitchFamily="2" charset="2"/>
              <a:buChar char="§"/>
              <a:defRPr/>
            </a:pPr>
            <a:r>
              <a:rPr kumimoji="0" lang="en-US" sz="1100" b="0" i="0" u="none" strike="noStrike" kern="1200" cap="none" spc="0" normalizeH="0" baseline="0" noProof="0">
                <a:ln>
                  <a:noFill/>
                </a:ln>
                <a:solidFill>
                  <a:schemeClr val="bg1"/>
                </a:solidFill>
                <a:effectLst/>
                <a:uLnTx/>
                <a:uFillTx/>
                <a:latin typeface="Calibri"/>
                <a:ea typeface="+mn-ea"/>
                <a:cs typeface="Arial" panose="020B0604020202020204" pitchFamily="34" charset="0"/>
              </a:rPr>
              <a:t>Integrated health service delivery</a:t>
            </a:r>
          </a:p>
          <a:p>
            <a:pPr marL="342900" indent="-342900">
              <a:spcBef>
                <a:spcPts val="1800"/>
              </a:spcBef>
              <a:buClr>
                <a:schemeClr val="bg1"/>
              </a:buClr>
              <a:buFont typeface="Wingdings" panose="05000000000000000000" pitchFamily="2" charset="2"/>
              <a:buChar char="§"/>
              <a:defRPr/>
            </a:pPr>
            <a:r>
              <a:rPr kumimoji="0" lang="en-US" sz="1100" b="0" i="0" u="none" strike="noStrike" kern="1200" cap="none" spc="0" normalizeH="0" baseline="0" noProof="0">
                <a:ln>
                  <a:noFill/>
                </a:ln>
                <a:solidFill>
                  <a:schemeClr val="bg1"/>
                </a:solidFill>
                <a:effectLst/>
                <a:uLnTx/>
                <a:uFillTx/>
                <a:latin typeface="Calibri"/>
                <a:ea typeface="+mn-ea"/>
                <a:cs typeface="Arial" panose="020B0604020202020204" pitchFamily="34" charset="0"/>
              </a:rPr>
              <a:t>Essential public health functions</a:t>
            </a:r>
          </a:p>
          <a:p>
            <a:pPr marL="342900" indent="-342900">
              <a:spcBef>
                <a:spcPts val="1800"/>
              </a:spcBef>
              <a:buClr>
                <a:schemeClr val="bg1"/>
              </a:buClr>
              <a:buFont typeface="Wingdings" panose="05000000000000000000" pitchFamily="2" charset="2"/>
              <a:buChar char="§"/>
              <a:defRPr/>
            </a:pPr>
            <a:r>
              <a:rPr kumimoji="0" lang="en-US" sz="1100" b="0" i="0" u="none" strike="noStrike" kern="1200" cap="none" spc="0" normalizeH="0" baseline="0" noProof="0">
                <a:ln>
                  <a:noFill/>
                </a:ln>
                <a:solidFill>
                  <a:schemeClr val="bg1"/>
                </a:solidFill>
                <a:effectLst/>
                <a:uLnTx/>
                <a:uFillTx/>
                <a:latin typeface="Calibri"/>
                <a:ea typeface="+mn-ea"/>
                <a:cs typeface="Arial" panose="020B0604020202020204" pitchFamily="34" charset="0"/>
              </a:rPr>
              <a:t>Multisectoral policy &amp; action</a:t>
            </a:r>
            <a:endParaRPr kumimoji="0" lang="en-US" sz="1050" b="0" i="0" u="none" strike="noStrike" kern="1200" cap="none" spc="0" normalizeH="0" baseline="0" noProof="0">
              <a:ln>
                <a:noFill/>
              </a:ln>
              <a:solidFill>
                <a:schemeClr val="bg1"/>
              </a:solidFill>
              <a:effectLst/>
              <a:uLnTx/>
              <a:uFillTx/>
              <a:latin typeface="Calibri"/>
              <a:ea typeface="+mn-ea"/>
              <a:cs typeface="+mn-cs"/>
            </a:endParaRPr>
          </a:p>
          <a:p>
            <a:endParaRPr lang="en-US"/>
          </a:p>
          <a:p>
            <a:r>
              <a:rPr lang="en-US"/>
              <a:t>That doesn’t mean that simply countries with UHC or strong health system are sufficiently prepared to manage health emergencies, In fact COVID showed us that some of the countries with the strongest  health systems performed the poorest. So it really must be this three pronged approach. </a:t>
            </a:r>
          </a:p>
        </p:txBody>
      </p:sp>
      <p:sp>
        <p:nvSpPr>
          <p:cNvPr id="4" name="Date Placeholder 3"/>
          <p:cNvSpPr>
            <a:spLocks noGrp="1"/>
          </p:cNvSpPr>
          <p:nvPr>
            <p:ph type="dt" idx="1"/>
          </p:nvPr>
        </p:nvSpPr>
        <p:spPr/>
        <p:txBody>
          <a:bodyPr/>
          <a:lstStyle/>
          <a:p>
            <a:fld id="{1DF34805-1F01-4BDA-A8CA-FCEA2B4BC8D0}" type="datetime3">
              <a:rPr lang="en-US" smtClean="0"/>
              <a:pPr/>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a:p>
        </p:txBody>
      </p:sp>
    </p:spTree>
    <p:extLst>
      <p:ext uri="{BB962C8B-B14F-4D97-AF65-F5344CB8AC3E}">
        <p14:creationId xmlns:p14="http://schemas.microsoft.com/office/powerpoint/2010/main" val="33372200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2492990"/>
          </a:xfrm>
        </p:spPr>
        <p:txBody>
          <a:bodyPr/>
          <a:lstStyle/>
          <a:p>
            <a:r>
              <a:rPr lang="en-US"/>
              <a:t>Finally, we all know that we are not going to solve this at the global, regional or even national level.</a:t>
            </a:r>
          </a:p>
          <a:p>
            <a:endParaRPr lang="en-US"/>
          </a:p>
          <a:p>
            <a:r>
              <a:rPr lang="en-US"/>
              <a:t>We can provide more guidance, services and support but at the end of the day all health emergencies begin and end at the community level.</a:t>
            </a:r>
          </a:p>
          <a:p>
            <a:endParaRPr lang="en-US"/>
          </a:p>
          <a:p>
            <a:r>
              <a:rPr lang="en-US"/>
              <a:t>So all of the work that we do has to be cognizant of the fact and undertake our work through a frame of strengthening preparedness, response and recovery through that strengthened communities, and their ability to pull down national, regional and global support will be fundamental.</a:t>
            </a:r>
          </a:p>
          <a:p>
            <a:endParaRPr lang="en-US"/>
          </a:p>
          <a:p>
            <a:r>
              <a:rPr lang="en-US"/>
              <a:t>This interaction therefore between the local, </a:t>
            </a:r>
            <a:r>
              <a:rPr kumimoji="0" lang="en-US" sz="1100" i="0" u="none" strike="noStrike" kern="1200" cap="none" spc="0" normalizeH="0" baseline="0" noProof="0">
                <a:ln>
                  <a:noFill/>
                </a:ln>
                <a:solidFill>
                  <a:srgbClr val="000000"/>
                </a:solidFill>
                <a:effectLst/>
                <a:uLnTx/>
                <a:uFillTx/>
                <a:latin typeface="Calibri"/>
                <a:ea typeface="+mn-ea"/>
                <a:cs typeface="+mn-cs"/>
                <a:sym typeface="+mn-lt"/>
              </a:rPr>
              <a:t>national, regional &amp; global is key</a:t>
            </a:r>
            <a:endParaRPr lang="en-US"/>
          </a:p>
        </p:txBody>
      </p:sp>
      <p:sp>
        <p:nvSpPr>
          <p:cNvPr id="4" name="Date Placeholder 3"/>
          <p:cNvSpPr>
            <a:spLocks noGrp="1"/>
          </p:cNvSpPr>
          <p:nvPr>
            <p:ph type="dt" idx="1"/>
          </p:nvPr>
        </p:nvSpPr>
        <p:spPr/>
        <p:txBody>
          <a:bodyPr/>
          <a:lstStyle/>
          <a:p>
            <a:fld id="{1DF34805-1F01-4BDA-A8CA-FCEA2B4BC8D0}" type="datetime3">
              <a:rPr lang="en-US" smtClean="0"/>
              <a:pPr/>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1</a:t>
            </a:fld>
            <a:endParaRPr lang="en-US"/>
          </a:p>
        </p:txBody>
      </p:sp>
    </p:spTree>
    <p:extLst>
      <p:ext uri="{BB962C8B-B14F-4D97-AF65-F5344CB8AC3E}">
        <p14:creationId xmlns:p14="http://schemas.microsoft.com/office/powerpoint/2010/main" val="33730884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6494085"/>
          </a:xfrm>
        </p:spPr>
        <p:txBody>
          <a:bodyPr/>
          <a:lstStyle/>
          <a:p>
            <a:r>
              <a:rPr lang="en-US" dirty="0"/>
              <a:t>With that that as a background;</a:t>
            </a:r>
          </a:p>
          <a:p>
            <a:endParaRPr lang="en-US" dirty="0"/>
          </a:p>
          <a:p>
            <a:endParaRPr lang="en-US" dirty="0"/>
          </a:p>
          <a:p>
            <a:r>
              <a:rPr lang="en-US" dirty="0"/>
              <a:t>Leadership: </a:t>
            </a:r>
          </a:p>
          <a:p>
            <a:pPr marL="171450" indent="-171450">
              <a:buFont typeface="Arial" panose="020B0604020202020204" pitchFamily="34" charset="0"/>
              <a:buChar char="•"/>
            </a:pPr>
            <a:r>
              <a:rPr lang="en-US" dirty="0"/>
              <a:t>The ability to convene heads of state to come together to address global health emergency. This currently doesn’t exist</a:t>
            </a:r>
          </a:p>
          <a:p>
            <a:pPr marL="171450" indent="-171450">
              <a:buFont typeface="Arial" panose="020B0604020202020204" pitchFamily="34" charset="0"/>
              <a:buChar char="•"/>
            </a:pPr>
            <a:r>
              <a:rPr lang="en-US" dirty="0"/>
              <a:t>WHA Governance e.g. Committee E and A new Standing Committee to the EB to provide policy advice to the EB and ultimately to the DG on PHE</a:t>
            </a:r>
          </a:p>
          <a:p>
            <a:pPr marL="171450" indent="-171450">
              <a:buFont typeface="Arial" panose="020B0604020202020204" pitchFamily="34" charset="0"/>
              <a:buChar char="•"/>
            </a:pPr>
            <a:r>
              <a:rPr lang="en-US" dirty="0"/>
              <a:t>IHR amendments Which we all know is fraught with danger and will not be an easy process. but there are critical elements of the text that need strengthening including Reporting compliance and actions to be taken during emergencies </a:t>
            </a:r>
          </a:p>
          <a:p>
            <a:pPr marL="171450" indent="-171450">
              <a:buFont typeface="Arial" panose="020B0604020202020204" pitchFamily="34" charset="0"/>
              <a:buChar char="•"/>
            </a:pPr>
            <a:r>
              <a:rPr lang="en-US" dirty="0"/>
              <a:t>Accountability: The universal health and preparedness reviews (UHPR) are a new instrument that is being piloted and aims at increasing Peer-to-peer accountability and solidarity. and then strengthening independent monitoring mechanisms that keep all of these process is in check.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Systems: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Financing underpinning all this is</a:t>
            </a:r>
          </a:p>
          <a:p>
            <a:pPr marL="171450" indent="-171450">
              <a:buFont typeface="Arial" panose="020B0604020202020204" pitchFamily="34" charset="0"/>
              <a:buChar char="•"/>
            </a:pPr>
            <a:r>
              <a:rPr lang="en-US" dirty="0"/>
              <a:t>is work that is being done with the G20 to create a coordinating platform to increase domestic investment and international financing for health emergency preparedness and response </a:t>
            </a:r>
          </a:p>
          <a:p>
            <a:pPr marL="171450" indent="-171450">
              <a:buFont typeface="Arial" panose="020B0604020202020204" pitchFamily="34" charset="0"/>
              <a:buChar char="•"/>
            </a:pPr>
            <a:r>
              <a:rPr lang="en-US" dirty="0"/>
              <a:t>the WHO contingency fund has been a great Critical game changer in our ability to rapidly up responses to emergencies and get to the field within 24 hours but this needs to be expanded to include partners and to the degree possible reproduced at the national level so that country responses can move with no regrets. </a:t>
            </a:r>
          </a:p>
          <a:p>
            <a:pPr marL="171450" indent="-171450">
              <a:buFont typeface="Arial" panose="020B0604020202020204" pitchFamily="34" charset="0"/>
              <a:buChar char="•"/>
            </a:pPr>
            <a:r>
              <a:rPr lang="en-US" dirty="0"/>
              <a:t>We've also looked at the need for more finance coming into the preparedness space and with the World Bank, and WHO as an implementing partner , a new mechanism has been approved called the FIF, financial intermediary fund.  These Funds can kick start critical Pandemic preparedness and Response  activities where they are most needed. At the moment this fund sits at 1 ½ billion dollars and is likely to increase. and not only on a one time basis but annually . </a:t>
            </a:r>
          </a:p>
        </p:txBody>
      </p:sp>
      <p:sp>
        <p:nvSpPr>
          <p:cNvPr id="4" name="Date Placeholder 3"/>
          <p:cNvSpPr>
            <a:spLocks noGrp="1"/>
          </p:cNvSpPr>
          <p:nvPr>
            <p:ph type="dt" idx="1"/>
          </p:nvPr>
        </p:nvSpPr>
        <p:spPr/>
        <p:txBody>
          <a:bodyPr/>
          <a:lstStyle/>
          <a:p>
            <a:fld id="{1DF34805-1F01-4BDA-A8CA-FCEA2B4BC8D0}" type="datetime3">
              <a:rPr lang="en-US" smtClean="0"/>
              <a:pPr/>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2</a:t>
            </a:fld>
            <a:endParaRPr lang="en-US"/>
          </a:p>
        </p:txBody>
      </p:sp>
    </p:spTree>
    <p:extLst>
      <p:ext uri="{BB962C8B-B14F-4D97-AF65-F5344CB8AC3E}">
        <p14:creationId xmlns:p14="http://schemas.microsoft.com/office/powerpoint/2010/main" val="1575001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2893100"/>
          </a:xfrm>
        </p:spPr>
        <p:txBody>
          <a:bodyPr/>
          <a:lstStyle/>
          <a:p>
            <a:r>
              <a:rPr lang="en-US" dirty="0"/>
              <a:t>Taking a deep dive into the interconnected core capacities and solutions proposed by the HEPR system, We have five areas that underpin the new strategy and these are fully in line with the IHR core capacities, Goes slightly more in depth into details of what is needed at the national level : </a:t>
            </a:r>
          </a:p>
          <a:p>
            <a:endParaRPr lang="en-US" dirty="0"/>
          </a:p>
          <a:p>
            <a:r>
              <a:rPr lang="en-US" dirty="0"/>
              <a:t>Collaborative surveillance </a:t>
            </a:r>
          </a:p>
          <a:p>
            <a:r>
              <a:rPr lang="en-US" dirty="0"/>
              <a:t>Community Protection </a:t>
            </a:r>
          </a:p>
          <a:p>
            <a:r>
              <a:rPr lang="en-US" dirty="0"/>
              <a:t>Clinical Care </a:t>
            </a:r>
          </a:p>
          <a:p>
            <a:r>
              <a:rPr lang="en-US" dirty="0"/>
              <a:t>Access to </a:t>
            </a:r>
            <a:r>
              <a:rPr lang="en-US" dirty="0" err="1"/>
              <a:t>Counterneasures</a:t>
            </a:r>
            <a:r>
              <a:rPr lang="en-US" dirty="0"/>
              <a:t> (experience from Covid)</a:t>
            </a:r>
          </a:p>
          <a:p>
            <a:endParaRPr lang="en-US" dirty="0"/>
          </a:p>
          <a:p>
            <a:r>
              <a:rPr lang="en-US" dirty="0"/>
              <a:t>Underpinning </a:t>
            </a:r>
          </a:p>
          <a:p>
            <a:r>
              <a:rPr lang="en-US" dirty="0"/>
              <a:t>Emergency coordination</a:t>
            </a:r>
          </a:p>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3</a:t>
            </a:fld>
            <a:endParaRPr lang="en-US"/>
          </a:p>
        </p:txBody>
      </p:sp>
    </p:spTree>
    <p:extLst>
      <p:ext uri="{BB962C8B-B14F-4D97-AF65-F5344CB8AC3E}">
        <p14:creationId xmlns:p14="http://schemas.microsoft.com/office/powerpoint/2010/main" val="3995217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onstitutes the primary tool for ensuring mutual accountability between States Parties and the WHO secretariat, as well as for promoting transparenc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first edition was developed to expand the scope of monitored capacities, and to harmonize monitoring of progr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WHA, held each year in May, is the governing body of the WHO, and also marks the end of the annual reporting cycle, as the WHO Director General reports, on behalf of the WHO secretariat, on the global progress made in implementation of the IHR core capacities at the global lev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 - Reporting cycl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 In regards to support throughout the cycle from the Regional secretariat, we organize trainings and workshops on both the tool itself as well as the reporting process. Following the WHA, we conduct more detailed and region specific analysis of the scores reported, which are then shared with all IHRNFPs. Throughout, we are of course always available over email.  </a:t>
            </a:r>
          </a:p>
          <a:p>
            <a:endParaRPr lang="en-US" dirty="0"/>
          </a:p>
        </p:txBody>
      </p:sp>
      <p:sp>
        <p:nvSpPr>
          <p:cNvPr id="4" name="Slide Number Placeholder 3"/>
          <p:cNvSpPr>
            <a:spLocks noGrp="1"/>
          </p:cNvSpPr>
          <p:nvPr>
            <p:ph type="sldNum" sz="quarter" idx="5"/>
          </p:nvPr>
        </p:nvSpPr>
        <p:spPr/>
        <p:txBody>
          <a:bodyPr/>
          <a:lstStyle/>
          <a:p>
            <a:fld id="{2385B747-18E9-E746-A276-B387773C2AC8}" type="slidenum">
              <a:rPr lang="en-US" smtClean="0"/>
              <a:t>3</a:t>
            </a:fld>
            <a:endParaRPr lang="en-US"/>
          </a:p>
        </p:txBody>
      </p:sp>
    </p:spTree>
    <p:extLst>
      <p:ext uri="{BB962C8B-B14F-4D97-AF65-F5344CB8AC3E}">
        <p14:creationId xmlns:p14="http://schemas.microsoft.com/office/powerpoint/2010/main" val="1126667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677108"/>
          </a:xfrm>
        </p:spPr>
        <p:txBody>
          <a:bodyPr/>
          <a:lstStyle/>
          <a:p>
            <a:r>
              <a:rPr lang="en-US"/>
              <a:t>all of this requires a  way of working From the local to the national regional and global level but also across the emergency cycle so that we are using the same language and have can seamless interaction and support through the local national regional and global of resources and services. </a:t>
            </a:r>
          </a:p>
        </p:txBody>
      </p:sp>
      <p:sp>
        <p:nvSpPr>
          <p:cNvPr id="4" name="Date Placeholder 3"/>
          <p:cNvSpPr>
            <a:spLocks noGrp="1"/>
          </p:cNvSpPr>
          <p:nvPr>
            <p:ph type="dt" idx="1"/>
          </p:nvPr>
        </p:nvSpPr>
        <p:spPr/>
        <p:txBody>
          <a:bodyPr/>
          <a:lstStyle/>
          <a:p>
            <a:fld id="{1DF34805-1F01-4BDA-A8CA-FCEA2B4BC8D0}" type="datetime3">
              <a:rPr lang="en-US" smtClean="0"/>
              <a:pPr/>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4</a:t>
            </a:fld>
            <a:endParaRPr lang="en-US"/>
          </a:p>
        </p:txBody>
      </p:sp>
    </p:spTree>
    <p:extLst>
      <p:ext uri="{BB962C8B-B14F-4D97-AF65-F5344CB8AC3E}">
        <p14:creationId xmlns:p14="http://schemas.microsoft.com/office/powerpoint/2010/main" val="9585317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4292" y="4785409"/>
            <a:ext cx="5397030" cy="1831271"/>
          </a:xfrm>
        </p:spPr>
        <p:txBody>
          <a:bodyPr/>
          <a:lstStyle/>
          <a:p>
            <a:r>
              <a:rPr lang="en-US"/>
              <a:t>So this is all great! </a:t>
            </a:r>
          </a:p>
          <a:p>
            <a:r>
              <a:rPr lang="en-US"/>
              <a:t>But operational, technical and financial capacity needs to come together to make sure we serve the community in coherent and collaborative way. </a:t>
            </a:r>
          </a:p>
          <a:p>
            <a:r>
              <a:rPr lang="en-US"/>
              <a:t>There is an extremely complex landscape of technical and financial partners that operate in this space which all have to be brought together to work coherently. </a:t>
            </a:r>
          </a:p>
          <a:p>
            <a:endParaRPr lang="en-US"/>
          </a:p>
          <a:p>
            <a:r>
              <a:rPr lang="en-US"/>
              <a:t>This could be role of the NAPHS to coordinate some of this. the key question is how do we bring these </a:t>
            </a:r>
            <a:r>
              <a:rPr lang="en-US" err="1"/>
              <a:t>kety</a:t>
            </a:r>
            <a:r>
              <a:rPr lang="en-US"/>
              <a:t> partners together to walk the line in terms of the countries’ priorities within the Framework of HEPR</a:t>
            </a:r>
          </a:p>
        </p:txBody>
      </p:sp>
      <p:sp>
        <p:nvSpPr>
          <p:cNvPr id="4" name="Date Placeholder 3"/>
          <p:cNvSpPr>
            <a:spLocks noGrp="1"/>
          </p:cNvSpPr>
          <p:nvPr>
            <p:ph type="dt" idx="1"/>
          </p:nvPr>
        </p:nvSpPr>
        <p:spPr/>
        <p:txBody>
          <a:bodyPr/>
          <a:lstStyle/>
          <a:p>
            <a:fld id="{1DF34805-1F01-4BDA-A8CA-FCEA2B4BC8D0}" type="datetime3">
              <a:rPr lang="en-US" smtClean="0"/>
              <a:pPr/>
              <a:t>27 November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5</a:t>
            </a:fld>
            <a:endParaRPr lang="en-US"/>
          </a:p>
        </p:txBody>
      </p:sp>
    </p:spTree>
    <p:extLst>
      <p:ext uri="{BB962C8B-B14F-4D97-AF65-F5344CB8AC3E}">
        <p14:creationId xmlns:p14="http://schemas.microsoft.com/office/powerpoint/2010/main" val="2069061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rrently in the process to conduct a deeper analysis of the submitted data, including comments provided. The analysis is shared with the regional IHRNFPs, and is used to inform activities and processes at the regional, sub regional and country level. </a:t>
            </a:r>
          </a:p>
        </p:txBody>
      </p:sp>
      <p:sp>
        <p:nvSpPr>
          <p:cNvPr id="4" name="Slide Number Placeholder 3"/>
          <p:cNvSpPr>
            <a:spLocks noGrp="1"/>
          </p:cNvSpPr>
          <p:nvPr>
            <p:ph type="sldNum" sz="quarter" idx="5"/>
          </p:nvPr>
        </p:nvSpPr>
        <p:spPr/>
        <p:txBody>
          <a:bodyPr/>
          <a:lstStyle/>
          <a:p>
            <a:fld id="{2385B747-18E9-E746-A276-B387773C2AC8}" type="slidenum">
              <a:rPr lang="en-US" smtClean="0"/>
              <a:t>4</a:t>
            </a:fld>
            <a:endParaRPr lang="en-US"/>
          </a:p>
        </p:txBody>
      </p:sp>
    </p:spTree>
    <p:extLst>
      <p:ext uri="{BB962C8B-B14F-4D97-AF65-F5344CB8AC3E}">
        <p14:creationId xmlns:p14="http://schemas.microsoft.com/office/powerpoint/2010/main" val="1315213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KZ" dirty="0"/>
          </a:p>
        </p:txBody>
      </p:sp>
      <p:sp>
        <p:nvSpPr>
          <p:cNvPr id="4" name="Номер слайда 3"/>
          <p:cNvSpPr>
            <a:spLocks noGrp="1"/>
          </p:cNvSpPr>
          <p:nvPr>
            <p:ph type="sldNum" sz="quarter" idx="5"/>
          </p:nvPr>
        </p:nvSpPr>
        <p:spPr/>
        <p:txBody>
          <a:bodyPr/>
          <a:lstStyle/>
          <a:p>
            <a:fld id="{2385B747-18E9-E746-A276-B387773C2AC8}" type="slidenum">
              <a:rPr lang="en-US" smtClean="0"/>
              <a:t>6</a:t>
            </a:fld>
            <a:endParaRPr lang="en-US"/>
          </a:p>
        </p:txBody>
      </p:sp>
    </p:spTree>
    <p:extLst>
      <p:ext uri="{BB962C8B-B14F-4D97-AF65-F5344CB8AC3E}">
        <p14:creationId xmlns:p14="http://schemas.microsoft.com/office/powerpoint/2010/main" val="34526045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85B747-18E9-E746-A276-B387773C2AC8}" type="slidenum">
              <a:rPr lang="en-US" smtClean="0"/>
              <a:t>7</a:t>
            </a:fld>
            <a:endParaRPr lang="en-US"/>
          </a:p>
        </p:txBody>
      </p:sp>
    </p:spTree>
    <p:extLst>
      <p:ext uri="{BB962C8B-B14F-4D97-AF65-F5344CB8AC3E}">
        <p14:creationId xmlns:p14="http://schemas.microsoft.com/office/powerpoint/2010/main" val="1292497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u="none" strike="noStrike" baseline="0" dirty="0">
                <a:latin typeface="ProximaNova-Regular"/>
              </a:rPr>
              <a:t>There has been extensive uptake of NAPHS. 75 Member States developed a NAPHS to mobilize high-level political commitment and resources to implementation. Although some Member States have built momentum for implementation, country-level practitioners have experienced the following challenges:</a:t>
            </a:r>
            <a:endParaRPr lang="en-US" dirty="0"/>
          </a:p>
          <a:p>
            <a:pPr marL="285750" indent="-285750" algn="l">
              <a:buFont typeface="Arial" panose="020B0604020202020204" pitchFamily="34" charset="0"/>
              <a:buChar char="•"/>
            </a:pPr>
            <a:r>
              <a:rPr lang="en-US" sz="1200" b="0" i="0" u="none" strike="noStrike" baseline="0" dirty="0">
                <a:latin typeface="ProximaNova-Semibold"/>
              </a:rPr>
              <a:t>Delays in moving from planning to execution: </a:t>
            </a:r>
            <a:r>
              <a:rPr lang="en-US" sz="1200" b="0" i="0" u="none" strike="noStrike" baseline="0" dirty="0">
                <a:latin typeface="ProximaNova-Regular"/>
              </a:rPr>
              <a:t>On average, Member States take 420 days to translate the JEE into NAPHS</a:t>
            </a:r>
          </a:p>
          <a:p>
            <a:pPr marL="285750" indent="-285750" algn="l">
              <a:buFont typeface="Arial" panose="020B0604020202020204" pitchFamily="34" charset="0"/>
              <a:buChar char="•"/>
            </a:pPr>
            <a:r>
              <a:rPr lang="en-US" sz="1200" b="0" i="0" u="none" strike="noStrike" baseline="0" dirty="0">
                <a:latin typeface="ProximaNova-Semibold"/>
              </a:rPr>
              <a:t>Unrealistic and poor quality plans: </a:t>
            </a:r>
            <a:r>
              <a:rPr lang="en-US" sz="1200" b="0" i="0" u="none" strike="noStrike" baseline="0" dirty="0">
                <a:latin typeface="ProximaNova-Regular"/>
              </a:rPr>
              <a:t>Plans lack clarity with regard to resource allocation, timelines and accountability</a:t>
            </a:r>
          </a:p>
          <a:p>
            <a:pPr marL="285750" indent="-285750" algn="l">
              <a:buFont typeface="Arial" panose="020B0604020202020204" pitchFamily="34" charset="0"/>
              <a:buChar char="•"/>
            </a:pPr>
            <a:r>
              <a:rPr lang="en-US" sz="1200" b="0" i="0" u="none" strike="noStrike" baseline="0" dirty="0">
                <a:latin typeface="ProximaNova-Semibold"/>
              </a:rPr>
              <a:t>Missed opportunities for incorporating lessons learned from real-world implementation</a:t>
            </a:r>
            <a:r>
              <a:rPr lang="en-US" sz="1200" b="0" i="0" u="none" strike="noStrike" baseline="0" dirty="0">
                <a:latin typeface="ProximaNova-Regular"/>
              </a:rPr>
              <a:t>: Measures of systems performance, such as recommendations</a:t>
            </a:r>
          </a:p>
          <a:p>
            <a:pPr algn="l"/>
            <a:r>
              <a:rPr lang="en-US" sz="1200" b="0" i="0" u="none" strike="noStrike" baseline="0" dirty="0">
                <a:latin typeface="ProximaNova-Regular"/>
              </a:rPr>
              <a:t>from After Action Reviews (AARs), are not routinely used to inform NAPHS planning and resource allocation</a:t>
            </a:r>
          </a:p>
          <a:p>
            <a:pPr marL="285750" indent="-285750" algn="l">
              <a:buFont typeface="Arial" panose="020B0604020202020204" pitchFamily="34" charset="0"/>
              <a:buChar char="•"/>
            </a:pPr>
            <a:r>
              <a:rPr lang="en-US" sz="1200" b="0" i="0" u="none" strike="noStrike" baseline="0" dirty="0">
                <a:latin typeface="ProximaNova-Semibold"/>
              </a:rPr>
              <a:t>Limited monitoring, accountability and follow-up: plans were often developed once, with no or very limited follow-up making it a static plan in stead of a living operational plan.</a:t>
            </a:r>
            <a:endParaRPr lang="en-US" sz="1200" b="0" i="0" u="none" strike="noStrike" baseline="0" dirty="0">
              <a:latin typeface="ProximaNova-Regular"/>
            </a:endParaRPr>
          </a:p>
          <a:p>
            <a:pPr algn="l"/>
            <a:endParaRPr lang="en-US" sz="1200" b="0" i="0" u="none" strike="noStrike" baseline="0" dirty="0">
              <a:latin typeface="ProximaNova-Regular"/>
            </a:endParaRPr>
          </a:p>
          <a:p>
            <a:pPr algn="l"/>
            <a:r>
              <a:rPr lang="en-US" sz="1200" b="0" i="0" u="none" strike="noStrike" baseline="0" dirty="0">
                <a:latin typeface="ProximaNova-Regular"/>
              </a:rPr>
              <a:t>In this light, f</a:t>
            </a:r>
            <a:r>
              <a:rPr lang="en-US" dirty="0"/>
              <a:t>rom November 2021, WHO together with the regions developed a new 5-year NAPHS strategy to support Member States in their acceleration of NAPHS development, implementation and Monitoring. Input and experiences from technical patterns and external stakeholders have been further collected in the development of the strategy.</a:t>
            </a:r>
          </a:p>
          <a:p>
            <a:endParaRPr lang="en-FI" dirty="0"/>
          </a:p>
        </p:txBody>
      </p:sp>
      <p:sp>
        <p:nvSpPr>
          <p:cNvPr id="4" name="Slide Number Placeholder 3"/>
          <p:cNvSpPr>
            <a:spLocks noGrp="1"/>
          </p:cNvSpPr>
          <p:nvPr>
            <p:ph type="sldNum" sz="quarter" idx="5"/>
          </p:nvPr>
        </p:nvSpPr>
        <p:spPr/>
        <p:txBody>
          <a:bodyPr/>
          <a:lstStyle/>
          <a:p>
            <a:fld id="{2385B747-18E9-E746-A276-B387773C2AC8}" type="slidenum">
              <a:rPr lang="en-US" smtClean="0"/>
              <a:t>8</a:t>
            </a:fld>
            <a:endParaRPr lang="en-US"/>
          </a:p>
        </p:txBody>
      </p:sp>
    </p:spTree>
    <p:extLst>
      <p:ext uri="{BB962C8B-B14F-4D97-AF65-F5344CB8AC3E}">
        <p14:creationId xmlns:p14="http://schemas.microsoft.com/office/powerpoint/2010/main" val="1064515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a:latin typeface="ProximaNova-Regular"/>
              </a:rPr>
              <a:t>There has been extensive uptake of NAPHS. 75 Member States developed a NAPHS to mobilize high-level political commitment and resources to implementation. Although some Member States have built momentum for implementation, country-level practitioners have experienced the following challenges:</a:t>
            </a:r>
            <a:endParaRPr lang="en-US"/>
          </a:p>
          <a:p>
            <a:pPr marL="285750" indent="-285750" algn="l">
              <a:buFont typeface="Arial" panose="020B0604020202020204" pitchFamily="34" charset="0"/>
              <a:buChar char="•"/>
            </a:pPr>
            <a:r>
              <a:rPr lang="en-US" sz="1800" b="0" i="0" u="none" strike="noStrike" baseline="0">
                <a:latin typeface="ProximaNova-Semibold"/>
              </a:rPr>
              <a:t>Delays in moving from planning to execution: </a:t>
            </a:r>
            <a:r>
              <a:rPr lang="en-US" sz="1800" b="0" i="0" u="none" strike="noStrike" baseline="0">
                <a:latin typeface="ProximaNova-Regular"/>
              </a:rPr>
              <a:t>On average, Member States take 420 days to translate the JEE into NAPHS</a:t>
            </a:r>
          </a:p>
          <a:p>
            <a:pPr marL="285750" indent="-285750" algn="l">
              <a:buFont typeface="Arial" panose="020B0604020202020204" pitchFamily="34" charset="0"/>
              <a:buChar char="•"/>
            </a:pPr>
            <a:r>
              <a:rPr lang="en-US" sz="1800" b="0" i="0" u="none" strike="noStrike" baseline="0">
                <a:latin typeface="ProximaNova-Semibold"/>
              </a:rPr>
              <a:t>Unrealistic and poor quality plans: </a:t>
            </a:r>
            <a:r>
              <a:rPr lang="en-US" sz="1800" b="0" i="0" u="none" strike="noStrike" baseline="0">
                <a:latin typeface="ProximaNova-Regular"/>
              </a:rPr>
              <a:t>Plans lack clarity with regard to resource allocation, timelines and accountability</a:t>
            </a:r>
          </a:p>
          <a:p>
            <a:pPr marL="285750" indent="-285750" algn="l">
              <a:buFont typeface="Arial" panose="020B0604020202020204" pitchFamily="34" charset="0"/>
              <a:buChar char="•"/>
            </a:pPr>
            <a:r>
              <a:rPr lang="en-US" sz="1800" b="0" i="0" u="none" strike="noStrike" baseline="0">
                <a:latin typeface="ProximaNova-Semibold"/>
              </a:rPr>
              <a:t>Missed opportunities for incorporating lessons learned from real-world implementation</a:t>
            </a:r>
            <a:r>
              <a:rPr lang="en-US" sz="1800" b="0" i="0" u="none" strike="noStrike" baseline="0">
                <a:latin typeface="ProximaNova-Regular"/>
              </a:rPr>
              <a:t>: Measures of systems performance, such as recommendations</a:t>
            </a:r>
          </a:p>
          <a:p>
            <a:pPr algn="l"/>
            <a:r>
              <a:rPr lang="en-US" sz="1800" b="0" i="0" u="none" strike="noStrike" baseline="0">
                <a:latin typeface="ProximaNova-Regular"/>
              </a:rPr>
              <a:t>from After Action Reviews (AARs), are not routinely used to inform NAPHS planning and resource allocation</a:t>
            </a:r>
          </a:p>
          <a:p>
            <a:pPr marL="285750" indent="-285750" algn="l">
              <a:buFont typeface="Arial" panose="020B0604020202020204" pitchFamily="34" charset="0"/>
              <a:buChar char="•"/>
            </a:pPr>
            <a:r>
              <a:rPr lang="en-US" sz="1800" b="0" i="0" u="none" strike="noStrike" baseline="0">
                <a:latin typeface="ProximaNova-Semibold"/>
              </a:rPr>
              <a:t>Limited monitoring, accountability and follow-up: plans were often developed once, with no or very limited follow-up making it a static plan in stead of a living operational plan.</a:t>
            </a:r>
            <a:endParaRPr lang="en-US" sz="1800" b="0" i="0" u="none" strike="noStrike" baseline="0">
              <a:latin typeface="ProximaNova-Regular"/>
            </a:endParaRPr>
          </a:p>
          <a:p>
            <a:pPr algn="l"/>
            <a:endParaRPr lang="en-US" sz="1800" b="0" i="0" u="none" strike="noStrike" baseline="0">
              <a:latin typeface="ProximaNova-Regular"/>
            </a:endParaRPr>
          </a:p>
          <a:p>
            <a:pPr algn="l"/>
            <a:r>
              <a:rPr lang="en-US" sz="1800" b="0" i="0" u="none" strike="noStrike" baseline="0">
                <a:latin typeface="ProximaNova-Regular"/>
              </a:rPr>
              <a:t>In this light, f</a:t>
            </a:r>
            <a:r>
              <a:rPr lang="en-US"/>
              <a:t>rom November 2021, WHO together with the regions developed a new 5-year NAPHS strategy to support Member States in their acceleration of NAPHS development, implementation and Monitoring. Input and experiences from technical patterns and external stakeholders have been further collected in the development of the strateg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15AEE1-C739-47CE-BF6D-80F737A14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0819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a:latin typeface="ProximaNova-Regular"/>
              </a:rPr>
              <a:t>There has been extensive uptake of NAPHS. 75 Member States developed a NAPHS to mobilize high-level political commitment and resources to implementation. Although some Member States have built momentum for implementation, country-level practitioners have experienced the following challenges:</a:t>
            </a:r>
            <a:endParaRPr lang="en-US"/>
          </a:p>
          <a:p>
            <a:pPr marL="285750" indent="-285750" algn="l">
              <a:buFont typeface="Arial" panose="020B0604020202020204" pitchFamily="34" charset="0"/>
              <a:buChar char="•"/>
            </a:pPr>
            <a:r>
              <a:rPr lang="en-US" sz="1800" b="0" i="0" u="none" strike="noStrike" baseline="0">
                <a:latin typeface="ProximaNova-Semibold"/>
              </a:rPr>
              <a:t>Delays in moving from planning to execution: </a:t>
            </a:r>
            <a:r>
              <a:rPr lang="en-US" sz="1800" b="0" i="0" u="none" strike="noStrike" baseline="0">
                <a:latin typeface="ProximaNova-Regular"/>
              </a:rPr>
              <a:t>On average, Member States take 420 days to translate the JEE into NAPHS</a:t>
            </a:r>
          </a:p>
          <a:p>
            <a:pPr marL="285750" indent="-285750" algn="l">
              <a:buFont typeface="Arial" panose="020B0604020202020204" pitchFamily="34" charset="0"/>
              <a:buChar char="•"/>
            </a:pPr>
            <a:r>
              <a:rPr lang="en-US" sz="1800" b="0" i="0" u="none" strike="noStrike" baseline="0">
                <a:latin typeface="ProximaNova-Semibold"/>
              </a:rPr>
              <a:t>Unrealistic and poor quality plans: </a:t>
            </a:r>
            <a:r>
              <a:rPr lang="en-US" sz="1800" b="0" i="0" u="none" strike="noStrike" baseline="0">
                <a:latin typeface="ProximaNova-Regular"/>
              </a:rPr>
              <a:t>Plans lack clarity with regard to resource allocation, timelines and accountability</a:t>
            </a:r>
          </a:p>
          <a:p>
            <a:pPr marL="285750" indent="-285750" algn="l">
              <a:buFont typeface="Arial" panose="020B0604020202020204" pitchFamily="34" charset="0"/>
              <a:buChar char="•"/>
            </a:pPr>
            <a:r>
              <a:rPr lang="en-US" sz="1800" b="0" i="0" u="none" strike="noStrike" baseline="0">
                <a:latin typeface="ProximaNova-Semibold"/>
              </a:rPr>
              <a:t>Missed opportunities for incorporating lessons learned from real-world implementation</a:t>
            </a:r>
            <a:r>
              <a:rPr lang="en-US" sz="1800" b="0" i="0" u="none" strike="noStrike" baseline="0">
                <a:latin typeface="ProximaNova-Regular"/>
              </a:rPr>
              <a:t>: Measures of systems performance, such as recommendations</a:t>
            </a:r>
          </a:p>
          <a:p>
            <a:pPr algn="l"/>
            <a:r>
              <a:rPr lang="en-US" sz="1800" b="0" i="0" u="none" strike="noStrike" baseline="0">
                <a:latin typeface="ProximaNova-Regular"/>
              </a:rPr>
              <a:t>from After Action Reviews (AARs), are not routinely used to inform NAPHS planning and resource allocation</a:t>
            </a:r>
          </a:p>
          <a:p>
            <a:pPr marL="285750" indent="-285750" algn="l">
              <a:buFont typeface="Arial" panose="020B0604020202020204" pitchFamily="34" charset="0"/>
              <a:buChar char="•"/>
            </a:pPr>
            <a:r>
              <a:rPr lang="en-US" sz="1800" b="0" i="0" u="none" strike="noStrike" baseline="0">
                <a:latin typeface="ProximaNova-Semibold"/>
              </a:rPr>
              <a:t>Limited monitoring, accountability and follow-up: plans were often developed once, with no or very limited follow-up making it a static plan in stead of a living operational plan.</a:t>
            </a:r>
            <a:endParaRPr lang="en-US" sz="1800" b="0" i="0" u="none" strike="noStrike" baseline="0">
              <a:latin typeface="ProximaNova-Regular"/>
            </a:endParaRPr>
          </a:p>
          <a:p>
            <a:pPr algn="l"/>
            <a:endParaRPr lang="en-US" sz="1800" b="0" i="0" u="none" strike="noStrike" baseline="0">
              <a:latin typeface="ProximaNova-Regular"/>
            </a:endParaRPr>
          </a:p>
          <a:p>
            <a:pPr algn="l"/>
            <a:r>
              <a:rPr lang="en-US" sz="1800" b="0" i="0" u="none" strike="noStrike" baseline="0">
                <a:latin typeface="ProximaNova-Regular"/>
              </a:rPr>
              <a:t>In this light, f</a:t>
            </a:r>
            <a:r>
              <a:rPr lang="en-US"/>
              <a:t>rom November 2021, WHO together with the regions developed a new 5-year NAPHS strategy to support Member States in their acceleration of NAPHS development, implementation and Monitoring. Input and experiences from technical patterns and external stakeholders have been further collected in the development of the strateg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15AEE1-C739-47CE-BF6D-80F737A14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78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a:latin typeface="ProximaNova-Regular"/>
              </a:rPr>
              <a:t>There has been extensive uptake of NAPHS. 75 Member States developed a NAPHS to mobilize high-level political commitment and resources to implementation. Although some Member States have built momentum for implementation, country-level practitioners have experienced the following challenges:</a:t>
            </a:r>
            <a:endParaRPr lang="en-US"/>
          </a:p>
          <a:p>
            <a:pPr marL="285750" indent="-285750" algn="l">
              <a:buFont typeface="Arial" panose="020B0604020202020204" pitchFamily="34" charset="0"/>
              <a:buChar char="•"/>
            </a:pPr>
            <a:r>
              <a:rPr lang="en-US" sz="1800" b="0" i="0" u="none" strike="noStrike" baseline="0">
                <a:latin typeface="ProximaNova-Semibold"/>
              </a:rPr>
              <a:t>Delays in moving from planning to execution: </a:t>
            </a:r>
            <a:r>
              <a:rPr lang="en-US" sz="1800" b="0" i="0" u="none" strike="noStrike" baseline="0">
                <a:latin typeface="ProximaNova-Regular"/>
              </a:rPr>
              <a:t>On average, Member States take 420 days to translate the JEE into NAPHS</a:t>
            </a:r>
          </a:p>
          <a:p>
            <a:pPr marL="285750" indent="-285750" algn="l">
              <a:buFont typeface="Arial" panose="020B0604020202020204" pitchFamily="34" charset="0"/>
              <a:buChar char="•"/>
            </a:pPr>
            <a:r>
              <a:rPr lang="en-US" sz="1800" b="0" i="0" u="none" strike="noStrike" baseline="0">
                <a:latin typeface="ProximaNova-Semibold"/>
              </a:rPr>
              <a:t>Unrealistic and poor quality plans: </a:t>
            </a:r>
            <a:r>
              <a:rPr lang="en-US" sz="1800" b="0" i="0" u="none" strike="noStrike" baseline="0">
                <a:latin typeface="ProximaNova-Regular"/>
              </a:rPr>
              <a:t>Plans lack clarity with regard to resource allocation, timelines and accountability</a:t>
            </a:r>
          </a:p>
          <a:p>
            <a:pPr marL="285750" indent="-285750" algn="l">
              <a:buFont typeface="Arial" panose="020B0604020202020204" pitchFamily="34" charset="0"/>
              <a:buChar char="•"/>
            </a:pPr>
            <a:r>
              <a:rPr lang="en-US" sz="1800" b="0" i="0" u="none" strike="noStrike" baseline="0">
                <a:latin typeface="ProximaNova-Semibold"/>
              </a:rPr>
              <a:t>Missed opportunities for incorporating lessons learned from real-world implementation</a:t>
            </a:r>
            <a:r>
              <a:rPr lang="en-US" sz="1800" b="0" i="0" u="none" strike="noStrike" baseline="0">
                <a:latin typeface="ProximaNova-Regular"/>
              </a:rPr>
              <a:t>: Measures of systems performance, such as recommendations</a:t>
            </a:r>
          </a:p>
          <a:p>
            <a:pPr algn="l"/>
            <a:r>
              <a:rPr lang="en-US" sz="1800" b="0" i="0" u="none" strike="noStrike" baseline="0">
                <a:latin typeface="ProximaNova-Regular"/>
              </a:rPr>
              <a:t>from After Action Reviews (AARs), are not routinely used to inform NAPHS planning and resource allocation</a:t>
            </a:r>
          </a:p>
          <a:p>
            <a:pPr marL="285750" indent="-285750" algn="l">
              <a:buFont typeface="Arial" panose="020B0604020202020204" pitchFamily="34" charset="0"/>
              <a:buChar char="•"/>
            </a:pPr>
            <a:r>
              <a:rPr lang="en-US" sz="1800" b="0" i="0" u="none" strike="noStrike" baseline="0">
                <a:latin typeface="ProximaNova-Semibold"/>
              </a:rPr>
              <a:t>Limited monitoring, accountability and follow-up: plans were often developed once, with no or very limited follow-up making it a static plan in stead of a living operational plan.</a:t>
            </a:r>
            <a:endParaRPr lang="en-US" sz="1800" b="0" i="0" u="none" strike="noStrike" baseline="0">
              <a:latin typeface="ProximaNova-Regular"/>
            </a:endParaRPr>
          </a:p>
          <a:p>
            <a:pPr algn="l"/>
            <a:endParaRPr lang="en-US" sz="1800" b="0" i="0" u="none" strike="noStrike" baseline="0">
              <a:latin typeface="ProximaNova-Regular"/>
            </a:endParaRPr>
          </a:p>
          <a:p>
            <a:pPr algn="l"/>
            <a:r>
              <a:rPr lang="en-US" sz="1800" b="0" i="0" u="none" strike="noStrike" baseline="0">
                <a:latin typeface="ProximaNova-Regular"/>
              </a:rPr>
              <a:t>In this light, f</a:t>
            </a:r>
            <a:r>
              <a:rPr lang="en-US"/>
              <a:t>rom November 2021, WHO together with the regions developed a new 5-year NAPHS strategy to support Member States in their acceleration of NAPHS development, implementation and Monitoring. Input and experiences from technical patterns and external stakeholders have been further collected in the development of the strateg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15AEE1-C739-47CE-BF6D-80F737A14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6781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17.emf"/><Relationship Id="rId4" Type="http://schemas.openxmlformats.org/officeDocument/2006/relationships/tags" Target="../tags/tag24.xml"/><Relationship Id="rId9" Type="http://schemas.openxmlformats.org/officeDocument/2006/relationships/oleObject" Target="../embeddings/oleObject4.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50.xml"/><Relationship Id="rId7"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slideMaster" Target="../slideMasters/slideMaster9.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24.wmf"/></Relationships>
</file>

<file path=ppt/slideLayouts/_rels/slideLayout14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17.emf"/><Relationship Id="rId4" Type="http://schemas.openxmlformats.org/officeDocument/2006/relationships/tags" Target="../tags/tag56.xml"/><Relationship Id="rId9" Type="http://schemas.openxmlformats.org/officeDocument/2006/relationships/oleObject" Target="../embeddings/oleObject7.bin"/></Relationships>
</file>

<file path=ppt/slideLayouts/_rels/slideLayout14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2.xml"/><Relationship Id="rId7" Type="http://schemas.openxmlformats.org/officeDocument/2006/relationships/slideMaster" Target="../slideMasters/slideMaster9.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14.emf"/></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8.xml"/><Relationship Id="rId7" Type="http://schemas.openxmlformats.org/officeDocument/2006/relationships/slideMaster" Target="../slideMasters/slideMaster9.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14.emf"/></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74.xml"/><Relationship Id="rId7" Type="http://schemas.openxmlformats.org/officeDocument/2006/relationships/slideMaster" Target="../slideMasters/slideMaster9.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 Id="rId9" Type="http://schemas.openxmlformats.org/officeDocument/2006/relationships/image" Target="../media/image14.emf"/></Relationships>
</file>

<file path=ppt/slideLayouts/_rels/slideLayout14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14.emf"/><Relationship Id="rId4" Type="http://schemas.openxmlformats.org/officeDocument/2006/relationships/tags" Target="../tags/tag81.xml"/><Relationship Id="rId9" Type="http://schemas.openxmlformats.org/officeDocument/2006/relationships/oleObject" Target="../embeddings/oleObject11.bin"/></Relationships>
</file>

<file path=ppt/slideLayouts/_rels/slideLayout147.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28.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image" Target="../media/image17.emf"/><Relationship Id="rId5" Type="http://schemas.openxmlformats.org/officeDocument/2006/relationships/tags" Target="../tags/tag89.xml"/><Relationship Id="rId10" Type="http://schemas.openxmlformats.org/officeDocument/2006/relationships/oleObject" Target="../embeddings/oleObject12.bin"/><Relationship Id="rId4" Type="http://schemas.openxmlformats.org/officeDocument/2006/relationships/tags" Target="../tags/tag88.xml"/><Relationship Id="rId9"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28.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17.emf"/><Relationship Id="rId5" Type="http://schemas.openxmlformats.org/officeDocument/2006/relationships/tags" Target="../tags/tag97.xml"/><Relationship Id="rId10" Type="http://schemas.openxmlformats.org/officeDocument/2006/relationships/oleObject" Target="../embeddings/oleObject13.bin"/><Relationship Id="rId4" Type="http://schemas.openxmlformats.org/officeDocument/2006/relationships/tags" Target="../tags/tag96.xml"/><Relationship Id="rId9"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image" Target="../media/image28.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image" Target="../media/image17.emf"/><Relationship Id="rId5" Type="http://schemas.openxmlformats.org/officeDocument/2006/relationships/tags" Target="../tags/tag105.xml"/><Relationship Id="rId10" Type="http://schemas.openxmlformats.org/officeDocument/2006/relationships/oleObject" Target="../embeddings/oleObject14.bin"/><Relationship Id="rId4" Type="http://schemas.openxmlformats.org/officeDocument/2006/relationships/tags" Target="../tags/tag104.xml"/><Relationship Id="rId9"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image" Target="../media/image28.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image" Target="../media/image18.emf"/><Relationship Id="rId5" Type="http://schemas.openxmlformats.org/officeDocument/2006/relationships/tags" Target="../tags/tag113.xml"/><Relationship Id="rId10" Type="http://schemas.openxmlformats.org/officeDocument/2006/relationships/oleObject" Target="../embeddings/oleObject15.bin"/><Relationship Id="rId4" Type="http://schemas.openxmlformats.org/officeDocument/2006/relationships/tags" Target="../tags/tag112.xml"/><Relationship Id="rId9"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124.xml"/><Relationship Id="rId3" Type="http://schemas.openxmlformats.org/officeDocument/2006/relationships/tags" Target="../tags/tag119.xml"/><Relationship Id="rId7" Type="http://schemas.openxmlformats.org/officeDocument/2006/relationships/tags" Target="../tags/tag123.xml"/><Relationship Id="rId12" Type="http://schemas.openxmlformats.org/officeDocument/2006/relationships/image" Target="../media/image28.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11" Type="http://schemas.openxmlformats.org/officeDocument/2006/relationships/image" Target="../media/image17.emf"/><Relationship Id="rId5" Type="http://schemas.openxmlformats.org/officeDocument/2006/relationships/tags" Target="../tags/tag121.xml"/><Relationship Id="rId10" Type="http://schemas.openxmlformats.org/officeDocument/2006/relationships/oleObject" Target="../embeddings/oleObject16.bin"/><Relationship Id="rId4" Type="http://schemas.openxmlformats.org/officeDocument/2006/relationships/tags" Target="../tags/tag120.xml"/><Relationship Id="rId9"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27.xml"/><Relationship Id="rId7" Type="http://schemas.openxmlformats.org/officeDocument/2006/relationships/slideMaster" Target="../slideMasters/slideMaster9.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10" Type="http://schemas.openxmlformats.org/officeDocument/2006/relationships/image" Target="../media/image24.wmf"/><Relationship Id="rId4" Type="http://schemas.openxmlformats.org/officeDocument/2006/relationships/tags" Target="../tags/tag128.xml"/><Relationship Id="rId9" Type="http://schemas.openxmlformats.org/officeDocument/2006/relationships/image" Target="../media/image14.emf"/></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24.wmf"/><Relationship Id="rId3" Type="http://schemas.openxmlformats.org/officeDocument/2006/relationships/tags" Target="../tags/tag133.xml"/><Relationship Id="rId7" Type="http://schemas.openxmlformats.org/officeDocument/2006/relationships/image" Target="../media/image14.emf"/><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oleObject" Target="../embeddings/oleObject18.bin"/><Relationship Id="rId5" Type="http://schemas.openxmlformats.org/officeDocument/2006/relationships/slideMaster" Target="../slideMasters/slideMaster9.xml"/><Relationship Id="rId4" Type="http://schemas.openxmlformats.org/officeDocument/2006/relationships/tags" Target="../tags/tag134.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28.png"/><Relationship Id="rId5" Type="http://schemas.openxmlformats.org/officeDocument/2006/relationships/image" Target="../media/image14.emf"/><Relationship Id="rId4" Type="http://schemas.openxmlformats.org/officeDocument/2006/relationships/oleObject" Target="../embeddings/oleObject19.bin"/></Relationships>
</file>

<file path=ppt/slideLayouts/_rels/slideLayout15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5" Type="http://schemas.openxmlformats.org/officeDocument/2006/relationships/tags" Target="../tags/tag141.xml"/><Relationship Id="rId10" Type="http://schemas.openxmlformats.org/officeDocument/2006/relationships/image" Target="../media/image17.emf"/><Relationship Id="rId4" Type="http://schemas.openxmlformats.org/officeDocument/2006/relationships/tags" Target="../tags/tag140.xml"/><Relationship Id="rId9" Type="http://schemas.openxmlformats.org/officeDocument/2006/relationships/oleObject" Target="../embeddings/oleObject20.bin"/></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46.xml"/><Relationship Id="rId7" Type="http://schemas.openxmlformats.org/officeDocument/2006/relationships/oleObject" Target="../embeddings/oleObject21.bin"/><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slideMaster" Target="../slideMasters/slideMaster9.xml"/><Relationship Id="rId5" Type="http://schemas.openxmlformats.org/officeDocument/2006/relationships/tags" Target="../tags/tag148.xml"/><Relationship Id="rId4" Type="http://schemas.openxmlformats.org/officeDocument/2006/relationships/tags" Target="../tags/tag147.xml"/><Relationship Id="rId9" Type="http://schemas.openxmlformats.org/officeDocument/2006/relationships/image" Target="../media/image24.wmf"/></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71.xml"/><Relationship Id="rId7" Type="http://schemas.openxmlformats.org/officeDocument/2006/relationships/oleObject" Target="../embeddings/oleObject23.bin"/><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10.xml"/><Relationship Id="rId5" Type="http://schemas.openxmlformats.org/officeDocument/2006/relationships/tags" Target="../tags/tag173.xml"/><Relationship Id="rId10" Type="http://schemas.openxmlformats.org/officeDocument/2006/relationships/image" Target="../media/image16.png"/><Relationship Id="rId4" Type="http://schemas.openxmlformats.org/officeDocument/2006/relationships/tags" Target="../tags/tag172.xml"/><Relationship Id="rId9" Type="http://schemas.openxmlformats.org/officeDocument/2006/relationships/image" Target="../media/image15.jpeg"/></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76.xml"/><Relationship Id="rId7" Type="http://schemas.openxmlformats.org/officeDocument/2006/relationships/tags" Target="../tags/tag180.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5" Type="http://schemas.openxmlformats.org/officeDocument/2006/relationships/tags" Target="../tags/tag178.xml"/><Relationship Id="rId10" Type="http://schemas.openxmlformats.org/officeDocument/2006/relationships/image" Target="../media/image17.emf"/><Relationship Id="rId4" Type="http://schemas.openxmlformats.org/officeDocument/2006/relationships/tags" Target="../tags/tag177.xml"/><Relationship Id="rId9" Type="http://schemas.openxmlformats.org/officeDocument/2006/relationships/oleObject" Target="../embeddings/oleObject24.bin"/></Relationships>
</file>

<file path=ppt/slideLayouts/_rels/slideLayout159.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83.xml"/><Relationship Id="rId7" Type="http://schemas.openxmlformats.org/officeDocument/2006/relationships/slideMaster" Target="../slideMasters/slideMaster10.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tags" Target="../tags/tag186.xml"/><Relationship Id="rId5" Type="http://schemas.openxmlformats.org/officeDocument/2006/relationships/tags" Target="../tags/tag185.xml"/><Relationship Id="rId4" Type="http://schemas.openxmlformats.org/officeDocument/2006/relationships/tags" Target="../tags/tag184.xml"/><Relationship Id="rId9" Type="http://schemas.openxmlformats.org/officeDocument/2006/relationships/image" Target="../media/image14.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89.xml"/><Relationship Id="rId7" Type="http://schemas.openxmlformats.org/officeDocument/2006/relationships/slideMaster" Target="../slideMasters/slideMaster10.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5" Type="http://schemas.openxmlformats.org/officeDocument/2006/relationships/tags" Target="../tags/tag191.xml"/><Relationship Id="rId4" Type="http://schemas.openxmlformats.org/officeDocument/2006/relationships/tags" Target="../tags/tag190.xml"/><Relationship Id="rId9" Type="http://schemas.openxmlformats.org/officeDocument/2006/relationships/image" Target="../media/image14.emf"/></Relationships>
</file>

<file path=ppt/slideLayouts/_rels/slideLayout161.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95.xml"/><Relationship Id="rId7" Type="http://schemas.openxmlformats.org/officeDocument/2006/relationships/slideMaster" Target="../slideMasters/slideMaster10.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5" Type="http://schemas.openxmlformats.org/officeDocument/2006/relationships/tags" Target="../tags/tag197.xml"/><Relationship Id="rId10" Type="http://schemas.openxmlformats.org/officeDocument/2006/relationships/image" Target="../media/image15.jpeg"/><Relationship Id="rId4" Type="http://schemas.openxmlformats.org/officeDocument/2006/relationships/tags" Target="../tags/tag196.xml"/><Relationship Id="rId9" Type="http://schemas.openxmlformats.org/officeDocument/2006/relationships/image" Target="../media/image14.emf"/></Relationships>
</file>

<file path=ppt/slideLayouts/_rels/slideLayout16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29.pn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image" Target="../media/image15.jpeg"/><Relationship Id="rId5" Type="http://schemas.openxmlformats.org/officeDocument/2006/relationships/tags" Target="../tags/tag203.xml"/><Relationship Id="rId10" Type="http://schemas.openxmlformats.org/officeDocument/2006/relationships/image" Target="../media/image14.emf"/><Relationship Id="rId4" Type="http://schemas.openxmlformats.org/officeDocument/2006/relationships/tags" Target="../tags/tag202.xml"/><Relationship Id="rId9" Type="http://schemas.openxmlformats.org/officeDocument/2006/relationships/oleObject" Target="../embeddings/oleObject28.bin"/></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213.xml"/><Relationship Id="rId3" Type="http://schemas.openxmlformats.org/officeDocument/2006/relationships/tags" Target="../tags/tag208.xml"/><Relationship Id="rId7" Type="http://schemas.openxmlformats.org/officeDocument/2006/relationships/tags" Target="../tags/tag212.xml"/><Relationship Id="rId12" Type="http://schemas.openxmlformats.org/officeDocument/2006/relationships/image" Target="../media/image16.png"/><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tags" Target="../tags/tag211.xml"/><Relationship Id="rId11" Type="http://schemas.openxmlformats.org/officeDocument/2006/relationships/image" Target="../media/image17.emf"/><Relationship Id="rId5" Type="http://schemas.openxmlformats.org/officeDocument/2006/relationships/tags" Target="../tags/tag210.xml"/><Relationship Id="rId10" Type="http://schemas.openxmlformats.org/officeDocument/2006/relationships/oleObject" Target="../embeddings/oleObject29.bin"/><Relationship Id="rId4" Type="http://schemas.openxmlformats.org/officeDocument/2006/relationships/tags" Target="../tags/tag209.xml"/><Relationship Id="rId9"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221.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16.png"/><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image" Target="../media/image17.emf"/><Relationship Id="rId5" Type="http://schemas.openxmlformats.org/officeDocument/2006/relationships/tags" Target="../tags/tag218.xml"/><Relationship Id="rId10" Type="http://schemas.openxmlformats.org/officeDocument/2006/relationships/oleObject" Target="../embeddings/oleObject30.bin"/><Relationship Id="rId4" Type="http://schemas.openxmlformats.org/officeDocument/2006/relationships/tags" Target="../tags/tag217.xml"/><Relationship Id="rId9"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229.xml"/><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image" Target="../media/image16.png"/><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image" Target="../media/image17.emf"/><Relationship Id="rId5" Type="http://schemas.openxmlformats.org/officeDocument/2006/relationships/tags" Target="../tags/tag226.xml"/><Relationship Id="rId10" Type="http://schemas.openxmlformats.org/officeDocument/2006/relationships/oleObject" Target="../embeddings/oleObject31.bin"/><Relationship Id="rId4" Type="http://schemas.openxmlformats.org/officeDocument/2006/relationships/tags" Target="../tags/tag225.xml"/><Relationship Id="rId9"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8" Type="http://schemas.openxmlformats.org/officeDocument/2006/relationships/tags" Target="../tags/tag237.xml"/><Relationship Id="rId3" Type="http://schemas.openxmlformats.org/officeDocument/2006/relationships/tags" Target="../tags/tag232.xml"/><Relationship Id="rId7" Type="http://schemas.openxmlformats.org/officeDocument/2006/relationships/tags" Target="../tags/tag236.xml"/><Relationship Id="rId12" Type="http://schemas.openxmlformats.org/officeDocument/2006/relationships/image" Target="../media/image16.pn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tags" Target="../tags/tag235.xml"/><Relationship Id="rId11" Type="http://schemas.openxmlformats.org/officeDocument/2006/relationships/image" Target="../media/image18.emf"/><Relationship Id="rId5" Type="http://schemas.openxmlformats.org/officeDocument/2006/relationships/tags" Target="../tags/tag234.xml"/><Relationship Id="rId10" Type="http://schemas.openxmlformats.org/officeDocument/2006/relationships/oleObject" Target="../embeddings/oleObject32.bin"/><Relationship Id="rId4" Type="http://schemas.openxmlformats.org/officeDocument/2006/relationships/tags" Target="../tags/tag233.xml"/><Relationship Id="rId9"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245.xml"/><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image" Target="../media/image16.png"/><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11" Type="http://schemas.openxmlformats.org/officeDocument/2006/relationships/image" Target="../media/image17.emf"/><Relationship Id="rId5" Type="http://schemas.openxmlformats.org/officeDocument/2006/relationships/tags" Target="../tags/tag242.xml"/><Relationship Id="rId10" Type="http://schemas.openxmlformats.org/officeDocument/2006/relationships/oleObject" Target="../embeddings/oleObject33.bin"/><Relationship Id="rId4" Type="http://schemas.openxmlformats.org/officeDocument/2006/relationships/tags" Target="../tags/tag241.xml"/><Relationship Id="rId9"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248.xml"/><Relationship Id="rId7" Type="http://schemas.openxmlformats.org/officeDocument/2006/relationships/slideMaster" Target="../slideMasters/slideMaster10.xml"/><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5" Type="http://schemas.openxmlformats.org/officeDocument/2006/relationships/tags" Target="../tags/tag250.xml"/><Relationship Id="rId10" Type="http://schemas.openxmlformats.org/officeDocument/2006/relationships/image" Target="../media/image16.png"/><Relationship Id="rId4" Type="http://schemas.openxmlformats.org/officeDocument/2006/relationships/tags" Target="../tags/tag249.xml"/><Relationship Id="rId9" Type="http://schemas.openxmlformats.org/officeDocument/2006/relationships/image" Target="../media/image14.emf"/></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54.xml"/><Relationship Id="rId7" Type="http://schemas.openxmlformats.org/officeDocument/2006/relationships/image" Target="../media/image14.emf"/><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oleObject" Target="../embeddings/oleObject35.bin"/><Relationship Id="rId5" Type="http://schemas.openxmlformats.org/officeDocument/2006/relationships/slideMaster" Target="../slideMasters/slideMaster10.xml"/><Relationship Id="rId4" Type="http://schemas.openxmlformats.org/officeDocument/2006/relationships/tags" Target="../tags/tag25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slideMaster" Target="../slideMasters/slideMaster10.xml"/><Relationship Id="rId7" Type="http://schemas.openxmlformats.org/officeDocument/2006/relationships/image" Target="../media/image31.png"/><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30.jpeg"/><Relationship Id="rId5" Type="http://schemas.openxmlformats.org/officeDocument/2006/relationships/image" Target="../media/image14.emf"/><Relationship Id="rId4" Type="http://schemas.openxmlformats.org/officeDocument/2006/relationships/oleObject" Target="../embeddings/oleObject36.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10" Type="http://schemas.openxmlformats.org/officeDocument/2006/relationships/image" Target="../media/image16.png"/><Relationship Id="rId4" Type="http://schemas.openxmlformats.org/officeDocument/2006/relationships/tags" Target="../tags/tag4.xml"/><Relationship Id="rId9" Type="http://schemas.openxmlformats.org/officeDocument/2006/relationships/image" Target="../media/image15.jpeg"/></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17.emf"/><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1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8.emf"/><Relationship Id="rId5" Type="http://schemas.openxmlformats.org/officeDocument/2006/relationships/tags" Target="../tags/tag17.xml"/><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graphical user interface&#10;&#10;Description automatically generated">
            <a:extLst>
              <a:ext uri="{FF2B5EF4-FFF2-40B4-BE49-F238E27FC236}">
                <a16:creationId xmlns:a16="http://schemas.microsoft.com/office/drawing/2014/main" id="{1033997E-CF16-B84E-ACC8-3D4A1568749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15729488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icture containing person, outdoor&#10;&#10;Description automatically generated">
            <a:extLst>
              <a:ext uri="{FF2B5EF4-FFF2-40B4-BE49-F238E27FC236}">
                <a16:creationId xmlns:a16="http://schemas.microsoft.com/office/drawing/2014/main" id="{AB5396E8-4CDD-E340-B285-71D77DAB5B7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026" y="0"/>
            <a:ext cx="12202026"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1417FF31-A757-7943-AFFA-4B937657393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03821630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userDrawn="1"/>
        </p:nvSpPr>
        <p:spPr>
          <a:xfrm>
            <a:off x="0" y="-99392"/>
            <a:ext cx="12192000" cy="1368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a:solidFill>
                <a:prstClr val="white">
                  <a:lumMod val="75000"/>
                </a:prstClr>
              </a:solidFill>
            </a:endParaRPr>
          </a:p>
        </p:txBody>
      </p:sp>
      <p:sp>
        <p:nvSpPr>
          <p:cNvPr id="2" name="Title 1"/>
          <p:cNvSpPr>
            <a:spLocks noGrp="1"/>
          </p:cNvSpPr>
          <p:nvPr>
            <p:ph type="ctrTitle"/>
          </p:nvPr>
        </p:nvSpPr>
        <p:spPr>
          <a:xfrm>
            <a:off x="1828800" y="1844825"/>
            <a:ext cx="10363200" cy="1470025"/>
          </a:xfrm>
        </p:spPr>
        <p:txBody>
          <a:bodyPr/>
          <a:lstStyle>
            <a:lvl1pPr algn="l">
              <a:defRPr>
                <a:solidFill>
                  <a:schemeClr val="bg1"/>
                </a:solidFill>
                <a:effectLst>
                  <a:outerShdw blurRad="38100" dist="38100" dir="2700000" algn="tl">
                    <a:srgbClr val="000000">
                      <a:alpha val="43137"/>
                    </a:srgbClr>
                  </a:outerShdw>
                </a:effectLst>
              </a:defRPr>
            </a:lvl1pPr>
          </a:lstStyle>
          <a:p>
            <a:r>
              <a:rPr lang="en-US"/>
              <a:t>Click to edit Master title style</a:t>
            </a:r>
            <a:endParaRPr lang="en-GB"/>
          </a:p>
        </p:txBody>
      </p:sp>
      <p:sp>
        <p:nvSpPr>
          <p:cNvPr id="3" name="Subtitle 2"/>
          <p:cNvSpPr>
            <a:spLocks noGrp="1"/>
          </p:cNvSpPr>
          <p:nvPr>
            <p:ph type="subTitle" idx="1"/>
          </p:nvPr>
        </p:nvSpPr>
        <p:spPr>
          <a:xfrm>
            <a:off x="1828800" y="2962189"/>
            <a:ext cx="8534400" cy="792088"/>
          </a:xfrm>
        </p:spPr>
        <p:txBody>
          <a:bodyPr>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6" name="Slide Number Placeholder 5"/>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
        <p:nvSpPr>
          <p:cNvPr id="10" name="Rectangle 9"/>
          <p:cNvSpPr/>
          <p:nvPr userDrawn="1"/>
        </p:nvSpPr>
        <p:spPr>
          <a:xfrm>
            <a:off x="0" y="5489848"/>
            <a:ext cx="12192000" cy="1368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a:solidFill>
                <a:prstClr val="white">
                  <a:lumMod val="75000"/>
                </a:prstClr>
              </a:solidFill>
            </a:endParaRPr>
          </a:p>
        </p:txBody>
      </p:sp>
    </p:spTree>
    <p:extLst>
      <p:ext uri="{BB962C8B-B14F-4D97-AF65-F5344CB8AC3E}">
        <p14:creationId xmlns:p14="http://schemas.microsoft.com/office/powerpoint/2010/main" val="42414909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New)">
    <p:spTree>
      <p:nvGrpSpPr>
        <p:cNvPr id="1" name=""/>
        <p:cNvGrpSpPr/>
        <p:nvPr/>
      </p:nvGrpSpPr>
      <p:grpSpPr>
        <a:xfrm>
          <a:off x="0" y="0"/>
          <a:ext cx="0" cy="0"/>
          <a:chOff x="0" y="0"/>
          <a:chExt cx="0" cy="0"/>
        </a:xfrm>
      </p:grpSpPr>
      <p:sp>
        <p:nvSpPr>
          <p:cNvPr id="2" name="Title 1"/>
          <p:cNvSpPr>
            <a:spLocks noGrp="1"/>
          </p:cNvSpPr>
          <p:nvPr>
            <p:ph type="title"/>
          </p:nvPr>
        </p:nvSpPr>
        <p:spPr>
          <a:xfrm>
            <a:off x="263352" y="107960"/>
            <a:ext cx="10972800" cy="461665"/>
          </a:xfrm>
        </p:spPr>
        <p:txBody>
          <a:bodyPr>
            <a:spAutoFit/>
          </a:bodyPr>
          <a:lstStyle>
            <a:lvl1pPr>
              <a:defRPr sz="2400">
                <a:latin typeface="Helvetica" pitchFamily="2" charset="0"/>
                <a:cs typeface="Calibri" panose="020F0502020204030204" pitchFamily="34" charset="0"/>
              </a:defRPr>
            </a:lvl1pPr>
          </a:lstStyle>
          <a:p>
            <a:r>
              <a:rPr lang="en-US"/>
              <a:t>Click to edit Master title style</a:t>
            </a:r>
            <a:endParaRPr lang="en-GB"/>
          </a:p>
        </p:txBody>
      </p:sp>
      <p:sp>
        <p:nvSpPr>
          <p:cNvPr id="3" name="Content Placeholder 2"/>
          <p:cNvSpPr>
            <a:spLocks noGrp="1"/>
          </p:cNvSpPr>
          <p:nvPr>
            <p:ph idx="1"/>
          </p:nvPr>
        </p:nvSpPr>
        <p:spPr/>
        <p:txBody>
          <a:bodyPr/>
          <a:lstStyle>
            <a:lvl1pPr>
              <a:defRPr sz="2400" b="0"/>
            </a:lvl1pPr>
            <a:lvl2pPr>
              <a:defRPr sz="2000" b="0"/>
            </a:lvl2pPr>
            <a:lvl3pPr>
              <a:defRPr sz="1800" b="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880309" y="44624"/>
            <a:ext cx="2844800" cy="365125"/>
          </a:xfrm>
          <a:prstGeom prst="rect">
            <a:avLst/>
          </a:prstGeom>
        </p:spPr>
        <p:txBody>
          <a:bodyPr/>
          <a:lstStyle/>
          <a:p>
            <a:fld id="{B890F294-F417-4A8D-B385-FE3A42F604A2}" type="datetime4">
              <a:rPr lang="en-GB" smtClean="0">
                <a:solidFill>
                  <a:prstClr val="white"/>
                </a:solidFill>
              </a:rPr>
              <a:t>27 November 2022</a:t>
            </a:fld>
            <a:endParaRPr lang="en-GB">
              <a:solidFill>
                <a:prstClr val="white"/>
              </a:solidFill>
            </a:endParaRPr>
          </a:p>
        </p:txBody>
      </p:sp>
      <p:grpSp>
        <p:nvGrpSpPr>
          <p:cNvPr id="7" name="Group 6">
            <a:extLst>
              <a:ext uri="{FF2B5EF4-FFF2-40B4-BE49-F238E27FC236}">
                <a16:creationId xmlns:a16="http://schemas.microsoft.com/office/drawing/2014/main" id="{E3DD33F1-5187-9E4D-ADED-16A7C26C3189}"/>
              </a:ext>
            </a:extLst>
          </p:cNvPr>
          <p:cNvGrpSpPr/>
          <p:nvPr userDrawn="1"/>
        </p:nvGrpSpPr>
        <p:grpSpPr>
          <a:xfrm>
            <a:off x="8720609" y="6254217"/>
            <a:ext cx="2515543" cy="569706"/>
            <a:chOff x="5525840" y="3530278"/>
            <a:chExt cx="1886657" cy="569706"/>
          </a:xfrm>
        </p:grpSpPr>
        <p:sp>
          <p:nvSpPr>
            <p:cNvPr id="8" name="TextBox 7">
              <a:extLst>
                <a:ext uri="{FF2B5EF4-FFF2-40B4-BE49-F238E27FC236}">
                  <a16:creationId xmlns:a16="http://schemas.microsoft.com/office/drawing/2014/main" id="{1EE8D9B3-779D-334F-AA72-780DB381B88C}"/>
                </a:ext>
              </a:extLst>
            </p:cNvPr>
            <p:cNvSpPr txBox="1"/>
            <p:nvPr/>
          </p:nvSpPr>
          <p:spPr>
            <a:xfrm>
              <a:off x="5540240" y="3530278"/>
              <a:ext cx="1872257" cy="246221"/>
            </a:xfrm>
            <a:prstGeom prst="rect">
              <a:avLst/>
            </a:prstGeom>
            <a:noFill/>
          </p:spPr>
          <p:txBody>
            <a:bodyPr wrap="square" rtlCol="0">
              <a:spAutoFit/>
            </a:bodyPr>
            <a:lstStyle/>
            <a:p>
              <a:pPr eaLnBrk="1" fontAlgn="auto" hangingPunct="1">
                <a:spcBef>
                  <a:spcPts val="0"/>
                </a:spcBef>
                <a:spcAft>
                  <a:spcPts val="0"/>
                </a:spcAft>
              </a:pPr>
              <a:r>
                <a:rPr lang="en-GB" sz="1000" cap="all">
                  <a:solidFill>
                    <a:srgbClr val="1E7FB8"/>
                  </a:solidFill>
                  <a:latin typeface="Corbel" panose="020B0503020204020204" pitchFamily="34" charset="0"/>
                  <a:cs typeface="+mn-cs"/>
                </a:rPr>
                <a:t>Health</a:t>
              </a:r>
            </a:p>
          </p:txBody>
        </p:sp>
        <p:grpSp>
          <p:nvGrpSpPr>
            <p:cNvPr id="9" name="Group 8">
              <a:extLst>
                <a:ext uri="{FF2B5EF4-FFF2-40B4-BE49-F238E27FC236}">
                  <a16:creationId xmlns:a16="http://schemas.microsoft.com/office/drawing/2014/main" id="{43DF961B-88BD-AB49-A653-F60ADE5A0223}"/>
                </a:ext>
              </a:extLst>
            </p:cNvPr>
            <p:cNvGrpSpPr/>
            <p:nvPr/>
          </p:nvGrpSpPr>
          <p:grpSpPr>
            <a:xfrm>
              <a:off x="5525840" y="3618320"/>
              <a:ext cx="1879457" cy="481664"/>
              <a:chOff x="5525840" y="3618320"/>
              <a:chExt cx="1879457" cy="481664"/>
            </a:xfrm>
          </p:grpSpPr>
          <p:sp>
            <p:nvSpPr>
              <p:cNvPr id="10" name="TextBox 9">
                <a:extLst>
                  <a:ext uri="{FF2B5EF4-FFF2-40B4-BE49-F238E27FC236}">
                    <a16:creationId xmlns:a16="http://schemas.microsoft.com/office/drawing/2014/main" id="{EB2B2741-A631-004E-B842-6B155E84BA10}"/>
                  </a:ext>
                </a:extLst>
              </p:cNvPr>
              <p:cNvSpPr txBox="1"/>
              <p:nvPr/>
            </p:nvSpPr>
            <p:spPr>
              <a:xfrm>
                <a:off x="6494240" y="3838374"/>
                <a:ext cx="889168" cy="261610"/>
              </a:xfrm>
              <a:prstGeom prst="rect">
                <a:avLst/>
              </a:prstGeom>
              <a:noFill/>
            </p:spPr>
            <p:txBody>
              <a:bodyPr wrap="square" rtlCol="0">
                <a:spAutoFit/>
              </a:bodyPr>
              <a:lstStyle/>
              <a:p>
                <a:pPr eaLnBrk="1" fontAlgn="auto" hangingPunct="1">
                  <a:spcBef>
                    <a:spcPts val="0"/>
                  </a:spcBef>
                  <a:spcAft>
                    <a:spcPts val="0"/>
                  </a:spcAft>
                </a:pPr>
                <a:r>
                  <a:rPr lang="en-GB" sz="1100" spc="-80">
                    <a:solidFill>
                      <a:srgbClr val="1E7FB8"/>
                    </a:solidFill>
                    <a:latin typeface="Corbel" panose="020B0503020204020204" pitchFamily="34" charset="0"/>
                    <a:cs typeface="+mn-cs"/>
                  </a:rPr>
                  <a:t>programme</a:t>
                </a:r>
              </a:p>
            </p:txBody>
          </p:sp>
          <p:sp>
            <p:nvSpPr>
              <p:cNvPr id="11" name="TextBox 10">
                <a:extLst>
                  <a:ext uri="{FF2B5EF4-FFF2-40B4-BE49-F238E27FC236}">
                    <a16:creationId xmlns:a16="http://schemas.microsoft.com/office/drawing/2014/main" id="{62EA48E1-0CA9-3040-A8FB-E3BB54AACD0E}"/>
                  </a:ext>
                </a:extLst>
              </p:cNvPr>
              <p:cNvSpPr txBox="1"/>
              <p:nvPr/>
            </p:nvSpPr>
            <p:spPr>
              <a:xfrm>
                <a:off x="5525840" y="3618320"/>
                <a:ext cx="1879457" cy="400110"/>
              </a:xfrm>
              <a:prstGeom prst="rect">
                <a:avLst/>
              </a:prstGeom>
              <a:noFill/>
            </p:spPr>
            <p:txBody>
              <a:bodyPr wrap="square" rtlCol="0">
                <a:spAutoFit/>
              </a:bodyPr>
              <a:lstStyle/>
              <a:p>
                <a:pPr eaLnBrk="1" fontAlgn="auto" hangingPunct="1">
                  <a:spcBef>
                    <a:spcPts val="0"/>
                  </a:spcBef>
                  <a:spcAft>
                    <a:spcPts val="0"/>
                  </a:spcAft>
                </a:pPr>
                <a:r>
                  <a:rPr lang="en-GB" sz="2000" b="1" cap="all" spc="-8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2" name="Slide Number Placeholder 5">
            <a:extLst>
              <a:ext uri="{FF2B5EF4-FFF2-40B4-BE49-F238E27FC236}">
                <a16:creationId xmlns:a16="http://schemas.microsoft.com/office/drawing/2014/main" id="{58C1EF20-24E1-C045-B060-5E83E7184D90}"/>
              </a:ext>
            </a:extLst>
          </p:cNvPr>
          <p:cNvSpPr>
            <a:spLocks noGrp="1"/>
          </p:cNvSpPr>
          <p:nvPr>
            <p:ph type="sldNum" sz="quarter" idx="12"/>
          </p:nvPr>
        </p:nvSpPr>
        <p:spPr>
          <a:xfrm>
            <a:off x="8819819" y="6415692"/>
            <a:ext cx="2844800" cy="365125"/>
          </a:xfrm>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2692849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3352" y="53345"/>
            <a:ext cx="10972800" cy="1143000"/>
          </a:xfrm>
        </p:spPr>
        <p:txBody>
          <a:bodyPr>
            <a:normAutofit/>
          </a:bodyPr>
          <a:lstStyle>
            <a:lvl1pPr>
              <a:defRPr sz="3200"/>
            </a:lvl1pPr>
          </a:lstStyle>
          <a:p>
            <a:r>
              <a:rPr lang="en-US"/>
              <a:t>Click to edit Master title style</a:t>
            </a:r>
            <a:endParaRPr lang="en-GB"/>
          </a:p>
        </p:txBody>
      </p:sp>
      <p:sp>
        <p:nvSpPr>
          <p:cNvPr id="3" name="Content Placeholder 2"/>
          <p:cNvSpPr>
            <a:spLocks noGrp="1"/>
          </p:cNvSpPr>
          <p:nvPr>
            <p:ph idx="1"/>
          </p:nvPr>
        </p:nvSpPr>
        <p:spPr/>
        <p:txBody>
          <a:bodyPr/>
          <a:lstStyle>
            <a:lvl1pPr>
              <a:defRPr sz="2400" b="0"/>
            </a:lvl1pPr>
            <a:lvl2pPr>
              <a:defRPr sz="2000" b="0"/>
            </a:lvl2pPr>
            <a:lvl3pPr>
              <a:defRPr sz="1800" b="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880309" y="44624"/>
            <a:ext cx="2844800" cy="365125"/>
          </a:xfrm>
          <a:prstGeom prst="rect">
            <a:avLst/>
          </a:prstGeom>
        </p:spPr>
        <p:txBody>
          <a:bodyPr/>
          <a:lstStyle/>
          <a:p>
            <a:fld id="{271D2D1A-57E5-4CBC-A45B-A88175BC2315}" type="datetime4">
              <a:rPr lang="en-GB" smtClean="0">
                <a:solidFill>
                  <a:prstClr val="white"/>
                </a:solidFill>
              </a:rPr>
              <a:t>27 November 2022</a:t>
            </a:fld>
            <a:endParaRPr lang="en-GB">
              <a:solidFill>
                <a:prstClr val="white"/>
              </a:solidFill>
            </a:endParaRPr>
          </a:p>
        </p:txBody>
      </p:sp>
      <p:sp>
        <p:nvSpPr>
          <p:cNvPr id="6" name="Slide Number Placeholder 5"/>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249831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0070C0"/>
                </a:solidFill>
              </a:defRPr>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523915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880000" y="36001"/>
            <a:ext cx="2844800" cy="365125"/>
          </a:xfrm>
          <a:prstGeom prst="rect">
            <a:avLst/>
          </a:prstGeom>
        </p:spPr>
        <p:txBody>
          <a:bodyPr/>
          <a:lstStyle/>
          <a:p>
            <a:fld id="{1A6B82EF-65A7-4F61-9814-06390FF23C36}" type="datetime4">
              <a:rPr lang="en-GB" smtClean="0">
                <a:solidFill>
                  <a:prstClr val="white"/>
                </a:solidFill>
              </a:rPr>
              <a:t>27 November 2022</a:t>
            </a:fld>
            <a:endParaRPr lang="en-GB">
              <a:solidFill>
                <a:prstClr val="white"/>
              </a:solidFill>
            </a:endParaRPr>
          </a:p>
        </p:txBody>
      </p:sp>
      <p:sp>
        <p:nvSpPr>
          <p:cNvPr id="7" name="Slide Number Placeholder 6"/>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298562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880000" y="36001"/>
            <a:ext cx="2844800" cy="365125"/>
          </a:xfrm>
          <a:prstGeom prst="rect">
            <a:avLst/>
          </a:prstGeom>
        </p:spPr>
        <p:txBody>
          <a:bodyPr/>
          <a:lstStyle/>
          <a:p>
            <a:fld id="{535E962B-6F12-44F8-A6AF-38DE074AC812}" type="datetime4">
              <a:rPr lang="en-GB" smtClean="0">
                <a:solidFill>
                  <a:prstClr val="white"/>
                </a:solidFill>
              </a:rPr>
              <a:t>27 November 2022</a:t>
            </a:fld>
            <a:endParaRPr lang="en-GB">
              <a:solidFill>
                <a:prstClr val="white"/>
              </a:solidFill>
            </a:endParaRPr>
          </a:p>
        </p:txBody>
      </p:sp>
      <p:sp>
        <p:nvSpPr>
          <p:cNvPr id="9" name="Slide Number Placeholder 8"/>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9096252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8880000" y="36001"/>
            <a:ext cx="2844800" cy="365125"/>
          </a:xfrm>
          <a:prstGeom prst="rect">
            <a:avLst/>
          </a:prstGeom>
        </p:spPr>
        <p:txBody>
          <a:bodyPr/>
          <a:lstStyle/>
          <a:p>
            <a:fld id="{16DCAC36-4C2E-4917-ABC6-47B6B6EAFED9}" type="datetime4">
              <a:rPr lang="en-GB" smtClean="0">
                <a:solidFill>
                  <a:prstClr val="white"/>
                </a:solidFill>
              </a:rPr>
              <a:t>27 November 2022</a:t>
            </a:fld>
            <a:endParaRPr lang="en-GB">
              <a:solidFill>
                <a:prstClr val="white"/>
              </a:solidFill>
            </a:endParaRPr>
          </a:p>
        </p:txBody>
      </p:sp>
      <p:sp>
        <p:nvSpPr>
          <p:cNvPr id="5" name="Slide Number Placeholder 4"/>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669654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880000" y="36001"/>
            <a:ext cx="2844800" cy="365125"/>
          </a:xfrm>
          <a:prstGeom prst="rect">
            <a:avLst/>
          </a:prstGeom>
        </p:spPr>
        <p:txBody>
          <a:bodyPr/>
          <a:lstStyle/>
          <a:p>
            <a:fld id="{4C01078B-0141-473F-9D49-FFAB3E1BAC25}" type="datetime4">
              <a:rPr lang="en-GB" smtClean="0">
                <a:solidFill>
                  <a:prstClr val="white"/>
                </a:solidFill>
              </a:rPr>
              <a:t>27 November 2022</a:t>
            </a:fld>
            <a:endParaRPr lang="en-GB">
              <a:solidFill>
                <a:prstClr val="white"/>
              </a:solidFill>
            </a:endParaRPr>
          </a:p>
        </p:txBody>
      </p:sp>
      <p:sp>
        <p:nvSpPr>
          <p:cNvPr id="4" name="Slide Number Placeholder 3"/>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9260045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10959008" cy="779686"/>
          </a:xfrm>
        </p:spPr>
        <p:txBody>
          <a:bodyPr anchor="b"/>
          <a:lstStyle>
            <a:lvl1pPr algn="l">
              <a:defRPr sz="2000" b="1">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4766733" y="1268760"/>
            <a:ext cx="6815667" cy="485740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268760"/>
            <a:ext cx="4011084" cy="485740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8880000" y="36001"/>
            <a:ext cx="2844800" cy="365125"/>
          </a:xfrm>
          <a:prstGeom prst="rect">
            <a:avLst/>
          </a:prstGeom>
        </p:spPr>
        <p:txBody>
          <a:bodyPr/>
          <a:lstStyle/>
          <a:p>
            <a:fld id="{FCC85AB1-99AA-4DB7-98FA-D760E0F616F7}" type="datetime4">
              <a:rPr lang="en-GB" smtClean="0">
                <a:solidFill>
                  <a:prstClr val="white"/>
                </a:solidFill>
              </a:rPr>
              <a:t>27 November 2022</a:t>
            </a:fld>
            <a:endParaRPr lang="en-GB">
              <a:solidFill>
                <a:prstClr val="white"/>
              </a:solidFill>
            </a:endParaRPr>
          </a:p>
        </p:txBody>
      </p:sp>
      <p:sp>
        <p:nvSpPr>
          <p:cNvPr id="7" name="Slide Number Placeholder 6"/>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9322402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rgbClr val="0070C0"/>
                </a:solidFill>
              </a:defRPr>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2389717" y="5367338"/>
            <a:ext cx="7315200" cy="58194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8880000" y="36001"/>
            <a:ext cx="2844800" cy="365125"/>
          </a:xfrm>
          <a:prstGeom prst="rect">
            <a:avLst/>
          </a:prstGeom>
        </p:spPr>
        <p:txBody>
          <a:bodyPr/>
          <a:lstStyle/>
          <a:p>
            <a:fld id="{32F280ED-27DC-4A4A-B8DA-9636D06F727A}" type="datetime4">
              <a:rPr lang="en-GB" smtClean="0">
                <a:solidFill>
                  <a:prstClr val="white"/>
                </a:solidFill>
              </a:rPr>
              <a:t>27 November 2022</a:t>
            </a:fld>
            <a:endParaRPr lang="en-GB">
              <a:solidFill>
                <a:prstClr val="white"/>
              </a:solidFill>
            </a:endParaRPr>
          </a:p>
        </p:txBody>
      </p:sp>
      <p:sp>
        <p:nvSpPr>
          <p:cNvPr id="7" name="Slide Number Placeholder 6"/>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243830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icture containing person, hospital room, room, spectacles&#10;&#10;Description automatically generated">
            <a:extLst>
              <a:ext uri="{FF2B5EF4-FFF2-40B4-BE49-F238E27FC236}">
                <a16:creationId xmlns:a16="http://schemas.microsoft.com/office/drawing/2014/main" id="{4B515F42-E9BB-BE4D-8EC9-94C5E359230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CBC8BF37-C905-DD4C-8673-EB5F04BB0FB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3922399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880000" y="36001"/>
            <a:ext cx="2844800" cy="365125"/>
          </a:xfrm>
          <a:prstGeom prst="rect">
            <a:avLst/>
          </a:prstGeom>
        </p:spPr>
        <p:txBody>
          <a:bodyPr/>
          <a:lstStyle/>
          <a:p>
            <a:fld id="{7CDAEBAE-301F-4A89-81B8-056DCCD68009}" type="datetime4">
              <a:rPr lang="en-GB" smtClean="0">
                <a:solidFill>
                  <a:prstClr val="white"/>
                </a:solidFill>
              </a:rPr>
              <a:t>27 November 2022</a:t>
            </a:fld>
            <a:endParaRPr lang="en-GB">
              <a:solidFill>
                <a:prstClr val="white"/>
              </a:solidFill>
            </a:endParaRPr>
          </a:p>
        </p:txBody>
      </p:sp>
      <p:sp>
        <p:nvSpPr>
          <p:cNvPr id="6" name="Slide Number Placeholder 5"/>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1066257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77078C88-A8FD-5E4F-ACFD-EEA2E5734300}"/>
              </a:ext>
            </a:extLst>
          </p:cNvPr>
          <p:cNvSpPr>
            <a:spLocks noGrp="1"/>
          </p:cNvSpPr>
          <p:nvPr>
            <p:ph type="pic" sz="quarter" idx="14"/>
          </p:nvPr>
        </p:nvSpPr>
        <p:spPr>
          <a:xfrm>
            <a:off x="3130095" y="77802"/>
            <a:ext cx="3985789" cy="6688759"/>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822899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677381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Tree>
    <p:extLst>
      <p:ext uri="{BB962C8B-B14F-4D97-AF65-F5344CB8AC3E}">
        <p14:creationId xmlns:p14="http://schemas.microsoft.com/office/powerpoint/2010/main" val="20785195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E0E32-3973-4384-9235-6D15D22579B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A00ED7C-E140-4E92-B95C-085F0ABCB0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570018-F0DE-4208-BB07-E3A1B5E5E12C}"/>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9E217E83-E030-47D3-8548-28643B2F90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7D5066-A970-4CD9-9795-7783231016D3}"/>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12038962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7D6F8-D2B1-48A0-BF88-3284701EC2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ABB70B-4075-4067-AA35-D3AD864865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94D845-7059-42F7-ACC4-DBC67E1455B9}"/>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5B7DD7DC-F0FC-466E-86DB-4C97913E1B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E0EDAA-32AE-446A-BCDE-046C18528B2D}"/>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40355983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5D0C3-5BDB-4A2F-8BFD-FAE19C8426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F4DBE7A-D82D-4D3E-8DB4-865578FFB73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47CA3D-DB5F-4CDE-BAE7-BA4BF23E2911}"/>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A000A2DC-4161-4729-837A-B803505229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4454F0-17E4-4BEB-8C31-778CE85F09FC}"/>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393902146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3D603-E093-4169-A585-A608DECAC08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92F17A-AC39-44E3-8298-30502B8F891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196E31-817D-4D6D-BE45-C0B44C50666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FB123D-4200-470B-A887-718060EC5C42}"/>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6" name="Footer Placeholder 5">
            <a:extLst>
              <a:ext uri="{FF2B5EF4-FFF2-40B4-BE49-F238E27FC236}">
                <a16:creationId xmlns:a16="http://schemas.microsoft.com/office/drawing/2014/main" id="{73FBEBA2-4473-4787-B8BE-AD6DB24DC1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296DC9-AD89-4312-9FFF-30146621639B}"/>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9228861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DA00E-46A5-45C0-84E0-56127FD5430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E62403B-CEF8-4D0E-95C6-5FE61DB571B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4ABAD2A-DF18-4FBC-853E-1B2469DD468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2982DB-04D7-49EC-9BFD-638953A8FA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57C897-AF95-4B76-BA9A-CB0179B576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35BEA90-370C-4F82-BF71-D52701E1F895}"/>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8" name="Footer Placeholder 7">
            <a:extLst>
              <a:ext uri="{FF2B5EF4-FFF2-40B4-BE49-F238E27FC236}">
                <a16:creationId xmlns:a16="http://schemas.microsoft.com/office/drawing/2014/main" id="{1B1B4023-601D-4298-B168-367C6BBE0F1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002886-47E3-4BF2-9B73-DC6275D6C7D8}"/>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4712179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0F265-97CB-4A7A-81CF-DF2536E1ED9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CEB560C-B97B-4ED8-82D1-3FB8A68E8723}"/>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4" name="Footer Placeholder 3">
            <a:extLst>
              <a:ext uri="{FF2B5EF4-FFF2-40B4-BE49-F238E27FC236}">
                <a16:creationId xmlns:a16="http://schemas.microsoft.com/office/drawing/2014/main" id="{355EB0DB-9480-4432-BBA8-56BCC8B75F5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4D391EE-424D-4293-B93C-8D186A38B106}"/>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114858957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95A3E5-5BFA-4F22-93C5-4A234378F896}"/>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3" name="Footer Placeholder 2">
            <a:extLst>
              <a:ext uri="{FF2B5EF4-FFF2-40B4-BE49-F238E27FC236}">
                <a16:creationId xmlns:a16="http://schemas.microsoft.com/office/drawing/2014/main" id="{55E8B791-488B-447A-805F-7905E3D192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B4F88C7-1368-4B86-A1CE-F1E74D54E9C3}"/>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2721798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group of children raising their hands&#10;&#10;Description automatically generated">
            <a:extLst>
              <a:ext uri="{FF2B5EF4-FFF2-40B4-BE49-F238E27FC236}">
                <a16:creationId xmlns:a16="http://schemas.microsoft.com/office/drawing/2014/main" id="{035CF4F1-9FAE-4747-8962-E6680CBE744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A6F7867D-26DB-2A46-858E-D6A38A69147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125390553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C8BCD-C0FF-4D65-A340-B3FD0001EF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AFF8BFC-B802-43BD-9D0D-7600CB5093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47FB14-F476-484A-AF32-92E906EEF9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174E8B-2586-4265-A6C5-6B7E7825EC5D}"/>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6" name="Footer Placeholder 5">
            <a:extLst>
              <a:ext uri="{FF2B5EF4-FFF2-40B4-BE49-F238E27FC236}">
                <a16:creationId xmlns:a16="http://schemas.microsoft.com/office/drawing/2014/main" id="{6DA1D998-8ED9-472C-BD32-FAFBA4C4F7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C33802-01C0-45DD-907E-3DB6A040FA0A}"/>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288374327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0CE4F-0B2D-484C-B708-26D0E67DBD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F689C20-57D6-4333-AB43-AAA01CD1878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E841780-6420-4CD4-9126-AC721803CE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783CB1-D012-4DDA-AB5D-2A706049E031}"/>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6" name="Footer Placeholder 5">
            <a:extLst>
              <a:ext uri="{FF2B5EF4-FFF2-40B4-BE49-F238E27FC236}">
                <a16:creationId xmlns:a16="http://schemas.microsoft.com/office/drawing/2014/main" id="{D62F91C0-95EF-4AE3-A059-B54FCCDB42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658D36-BF71-4751-8B00-1DA955BEADFF}"/>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336172818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0DE8E-374D-427B-94D0-8C7F362CE96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1036D32-1F2C-4CD7-9A42-0BD285FF13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967E2C-67D9-44F1-B861-C2BA05F782C5}"/>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76042E0E-4357-497A-B898-4F0A93BF0E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2AD331-7802-4E81-82DA-3A09FACDC62E}"/>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24500472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891D02C-6DC5-4A35-B473-FDA4EB5F8FD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A5FE90-5B47-4991-93AE-94FE348564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6F8BFB-83AC-4D67-963E-7858F2D1DBC9}"/>
              </a:ext>
            </a:extLst>
          </p:cNvPr>
          <p:cNvSpPr>
            <a:spLocks noGrp="1"/>
          </p:cNvSpPr>
          <p:nvPr>
            <p:ph type="dt" sz="half" idx="10"/>
          </p:nvPr>
        </p:nvSpPr>
        <p:spPr/>
        <p:txBody>
          <a:body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D4F03649-F1FE-4775-8454-2B699E2015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5A1E89-1F32-41D3-B866-4D92F8508D27}"/>
              </a:ext>
            </a:extLst>
          </p:cNvPr>
          <p:cNvSpPr>
            <a:spLocks noGrp="1"/>
          </p:cNvSpPr>
          <p:nvPr>
            <p:ph type="sldNum" sz="quarter" idx="12"/>
          </p:nvPr>
        </p:nvSpPr>
        <p:spPr/>
        <p:txBody>
          <a:bodyPr/>
          <a:lstStyle/>
          <a:p>
            <a:fld id="{03242A58-9309-482D-BE7E-E6851242960B}" type="slidenum">
              <a:rPr lang="en-US" smtClean="0"/>
              <a:t>‹#›</a:t>
            </a:fld>
            <a:endParaRPr lang="en-US"/>
          </a:p>
        </p:txBody>
      </p:sp>
    </p:spTree>
    <p:extLst>
      <p:ext uri="{BB962C8B-B14F-4D97-AF65-F5344CB8AC3E}">
        <p14:creationId xmlns:p14="http://schemas.microsoft.com/office/powerpoint/2010/main" val="261183478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ompany History">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36F9BD5-56EA-4D28-B10E-AEEDD3F28486}"/>
              </a:ext>
            </a:extLst>
          </p:cNvPr>
          <p:cNvSpPr>
            <a:spLocks noGrp="1"/>
          </p:cNvSpPr>
          <p:nvPr>
            <p:ph type="pic" sz="quarter" idx="10"/>
          </p:nvPr>
        </p:nvSpPr>
        <p:spPr>
          <a:xfrm>
            <a:off x="1" y="-1"/>
            <a:ext cx="4068603" cy="2848707"/>
          </a:xfrm>
        </p:spPr>
        <p:txBody>
          <a:bodyPr anchor="ctr">
            <a:norm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endParaRPr lang="en-IN"/>
          </a:p>
        </p:txBody>
      </p:sp>
      <p:sp>
        <p:nvSpPr>
          <p:cNvPr id="10" name="Picture Placeholder 2">
            <a:extLst>
              <a:ext uri="{FF2B5EF4-FFF2-40B4-BE49-F238E27FC236}">
                <a16:creationId xmlns:a16="http://schemas.microsoft.com/office/drawing/2014/main" id="{AB1BDA3A-02D5-42A8-A1E9-32982EE7BCD3}"/>
              </a:ext>
            </a:extLst>
          </p:cNvPr>
          <p:cNvSpPr>
            <a:spLocks noGrp="1"/>
          </p:cNvSpPr>
          <p:nvPr>
            <p:ph type="pic" sz="quarter" idx="11"/>
          </p:nvPr>
        </p:nvSpPr>
        <p:spPr>
          <a:xfrm>
            <a:off x="4067909" y="-1"/>
            <a:ext cx="4063985" cy="2848707"/>
          </a:xfrm>
        </p:spPr>
        <p:txBody>
          <a:bodyPr anchor="ctr">
            <a:norm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endParaRPr lang="en-IN"/>
          </a:p>
        </p:txBody>
      </p:sp>
      <p:sp>
        <p:nvSpPr>
          <p:cNvPr id="11" name="Picture Placeholder 2">
            <a:extLst>
              <a:ext uri="{FF2B5EF4-FFF2-40B4-BE49-F238E27FC236}">
                <a16:creationId xmlns:a16="http://schemas.microsoft.com/office/drawing/2014/main" id="{6E469B63-E4CD-44CE-8CEC-866DE99078A5}"/>
              </a:ext>
            </a:extLst>
          </p:cNvPr>
          <p:cNvSpPr>
            <a:spLocks noGrp="1"/>
          </p:cNvSpPr>
          <p:nvPr>
            <p:ph type="pic" sz="quarter" idx="12"/>
          </p:nvPr>
        </p:nvSpPr>
        <p:spPr>
          <a:xfrm>
            <a:off x="8135817" y="-1"/>
            <a:ext cx="4063985" cy="2848707"/>
          </a:xfrm>
        </p:spPr>
        <p:txBody>
          <a:bodyPr anchor="ctr">
            <a:norm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endParaRPr lang="en-IN"/>
          </a:p>
        </p:txBody>
      </p:sp>
      <p:sp>
        <p:nvSpPr>
          <p:cNvPr id="12" name="Rectangle 11">
            <a:extLst>
              <a:ext uri="{FF2B5EF4-FFF2-40B4-BE49-F238E27FC236}">
                <a16:creationId xmlns:a16="http://schemas.microsoft.com/office/drawing/2014/main" id="{4082ABA6-2698-478B-ABD7-A1909A9EDA2F}"/>
              </a:ext>
            </a:extLst>
          </p:cNvPr>
          <p:cNvSpPr/>
          <p:nvPr userDrawn="1"/>
        </p:nvSpPr>
        <p:spPr>
          <a:xfrm>
            <a:off x="1" y="2848707"/>
            <a:ext cx="12192000" cy="785446"/>
          </a:xfrm>
          <a:prstGeom prst="rect">
            <a:avLst/>
          </a:prstGeom>
          <a:gradFill flip="none" rotWithShape="1">
            <a:gsLst>
              <a:gs pos="0">
                <a:schemeClr val="accent2"/>
              </a:gs>
              <a:gs pos="9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399"/>
          </a:p>
        </p:txBody>
      </p:sp>
      <p:sp>
        <p:nvSpPr>
          <p:cNvPr id="6" name="Marcador de texto 5">
            <a:extLst>
              <a:ext uri="{FF2B5EF4-FFF2-40B4-BE49-F238E27FC236}">
                <a16:creationId xmlns:a16="http://schemas.microsoft.com/office/drawing/2014/main" id="{90417AC6-C679-4F20-B547-BA6960853CDB}"/>
              </a:ext>
            </a:extLst>
          </p:cNvPr>
          <p:cNvSpPr>
            <a:spLocks noGrp="1"/>
          </p:cNvSpPr>
          <p:nvPr>
            <p:ph type="body" sz="quarter" idx="13"/>
          </p:nvPr>
        </p:nvSpPr>
        <p:spPr>
          <a:xfrm>
            <a:off x="679451" y="3828035"/>
            <a:ext cx="11142663" cy="2860675"/>
          </a:xfrm>
        </p:spPr>
        <p:txBody>
          <a:bodyPr>
            <a:normAutofit/>
          </a:bodyPr>
          <a:lstStyle>
            <a:lvl1pPr marL="0" indent="0" algn="ctr">
              <a:buNone/>
              <a:defRPr sz="2799">
                <a:latin typeface="Arial Nova" panose="020B0504020202020204" pitchFamily="34" charset="0"/>
              </a:defRPr>
            </a:lvl1pPr>
            <a:lvl2pPr marL="457063" indent="0">
              <a:buNone/>
              <a:defRPr>
                <a:latin typeface="Arial Nova" panose="020B0504020202020204" pitchFamily="34" charset="0"/>
              </a:defRPr>
            </a:lvl2pPr>
          </a:lstStyle>
          <a:p>
            <a:pPr lvl="0"/>
            <a:r>
              <a:rPr lang="es-ES"/>
              <a:t>Haga clic para modificar los estilos de texto del patrón</a:t>
            </a:r>
          </a:p>
        </p:txBody>
      </p:sp>
    </p:spTree>
    <p:extLst>
      <p:ext uri="{BB962C8B-B14F-4D97-AF65-F5344CB8AC3E}">
        <p14:creationId xmlns:p14="http://schemas.microsoft.com/office/powerpoint/2010/main" val="207319822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3" name="Picture 2" descr="A picture containing sitting, cake, table, holding&#10;&#10;Description automatically generated">
            <a:extLst>
              <a:ext uri="{FF2B5EF4-FFF2-40B4-BE49-F238E27FC236}">
                <a16:creationId xmlns:a16="http://schemas.microsoft.com/office/drawing/2014/main" id="{DBB9CB81-258D-2B49-AD91-29F76836BA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4285233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3693957980"/>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fld id="{DCD9F9BF-D269-4020-816F-460E917B7A74}" type="datetime1">
              <a:rPr lang="en-GB" noProof="0" smtClean="0"/>
              <a:t>27/11/2022</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03550328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39CDCE64-EE06-4559-BA59-FD6059702EC4}"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9521187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7210702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Section Header_photo">
    <p:bg>
      <p:bgPr>
        <a:solidFill>
          <a:srgbClr val="00205C"/>
        </a:solidFill>
        <a:effectLst/>
      </p:bgPr>
    </p:bg>
    <p:spTree>
      <p:nvGrpSpPr>
        <p:cNvPr id="1" name=""/>
        <p:cNvGrpSpPr/>
        <p:nvPr/>
      </p:nvGrpSpPr>
      <p:grpSpPr>
        <a:xfrm>
          <a:off x="0" y="0"/>
          <a:ext cx="0" cy="0"/>
          <a:chOff x="0" y="0"/>
          <a:chExt cx="0" cy="0"/>
        </a:xfrm>
      </p:grpSpPr>
      <p:pic>
        <p:nvPicPr>
          <p:cNvPr id="10" name="Picture 9" descr="A couple of women sitting on a couch with face paint&#10;&#10;Description automatically generated with low confidence">
            <a:extLst>
              <a:ext uri="{FF2B5EF4-FFF2-40B4-BE49-F238E27FC236}">
                <a16:creationId xmlns:a16="http://schemas.microsoft.com/office/drawing/2014/main" id="{EADEB64D-53D3-4D63-B581-4FE65832A82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4F846ACE-F7B0-D440-B15B-E67FB6AE878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0414848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824F7-C870-482C-80C0-AFECF2DA260C}"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0973201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BB6CCEC-3D0A-48BE-9958-590F11C39C0A}"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5662966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414CCF51-8078-42ED-9407-7F055975162E}" type="datetime1">
              <a:rPr lang="en-GB" noProof="0" smtClean="0"/>
              <a:t>27/11/2022</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9087282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5CB8422-2CBD-43EC-AF21-8B33A2ACAA82}" type="datetime1">
              <a:rPr lang="en-GB" noProof="0" smtClean="0"/>
              <a:t>27/11/2022</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3850099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6C135116-9A9A-47DA-A114-676E0C1FD8BF}" type="datetime1">
              <a:rPr lang="en-GB" noProof="0" smtClean="0"/>
              <a:t>27/11/2022</a:t>
            </a:fld>
            <a:endParaRPr lang="en-GB" noProof="0"/>
          </a:p>
        </p:txBody>
      </p:sp>
      <p:sp>
        <p:nvSpPr>
          <p:cNvPr id="4" name="Footer Placeholder 3"/>
          <p:cNvSpPr>
            <a:spLocks noGrp="1"/>
          </p:cNvSpPr>
          <p:nvPr>
            <p:ph type="ftr" sz="quarter" idx="19"/>
          </p:nvPr>
        </p:nvSpPr>
        <p:spPr bwMode="invGray"/>
        <p:txBody>
          <a:bodyPr/>
          <a:lstStyle/>
          <a:p>
            <a:r>
              <a:rPr lang="en-GB" noProof="0"/>
              <a:t>|     Title of the presentation</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2434723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AD0CC27D-0020-48D4-9B6C-9E6EA0640D93}" type="datetime1">
              <a:rPr lang="en-GB" smtClean="0"/>
              <a:pPr/>
              <a:t>27/11/2022</a:t>
            </a:fld>
            <a:endParaRPr lang="en-GB"/>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172226531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68D69CF-73BC-4E26-B56A-FEC2ABB77ED4}" type="datetime1">
              <a:rPr lang="en-GB" smtClean="0"/>
              <a:pPr/>
              <a:t>27/11/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22639196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99262F6C-3198-4C0D-9FD3-A522B66D4040}" type="datetime1">
              <a:rPr lang="en-GB" smtClean="0"/>
              <a:pPr/>
              <a:t>27/11/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GB"/>
              <a:t>|     Title of the presentation</a:t>
            </a:r>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83027580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BA931E1-7FC2-4DBD-9F66-3D1575A3F79C}" type="datetime1">
              <a:rPr lang="en-GB" smtClean="0"/>
              <a:pPr/>
              <a:t>27/11/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GB"/>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064974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35716543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icture containing person, indoor&#10;&#10;Description automatically generated">
            <a:extLst>
              <a:ext uri="{FF2B5EF4-FFF2-40B4-BE49-F238E27FC236}">
                <a16:creationId xmlns:a16="http://schemas.microsoft.com/office/drawing/2014/main" id="{61998DFF-FB6D-AC4E-B564-65A2BBB7EDC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0165601A-2F9A-E944-88DC-1B861B95175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3793277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8B21D6E-BE26-411A-BFC1-F3811CFECCC3}"/>
              </a:ext>
            </a:extLst>
          </p:cNvPr>
          <p:cNvSpPr>
            <a:spLocks noGrp="1"/>
          </p:cNvSpPr>
          <p:nvPr>
            <p:ph type="title"/>
          </p:nvPr>
        </p:nvSpPr>
        <p:spPr/>
        <p:txBody>
          <a:bodyPr/>
          <a:lstStyle/>
          <a:p>
            <a:r>
              <a:rPr lang="fr-FR"/>
              <a:t>Modifiez le style du titre</a:t>
            </a:r>
            <a:endParaRPr lang="en-GB"/>
          </a:p>
        </p:txBody>
      </p:sp>
      <p:sp>
        <p:nvSpPr>
          <p:cNvPr id="3" name="Espace réservé du contenu 2">
            <a:extLst>
              <a:ext uri="{FF2B5EF4-FFF2-40B4-BE49-F238E27FC236}">
                <a16:creationId xmlns:a16="http://schemas.microsoft.com/office/drawing/2014/main" id="{AFB5AFF4-0714-4522-8093-26155F8D4FD1}"/>
              </a:ext>
            </a:extLst>
          </p:cNvPr>
          <p:cNvSpPr>
            <a:spLocks noGrp="1"/>
          </p:cNvSpPr>
          <p:nvPr>
            <p:ph idx="1"/>
          </p:nvPr>
        </p:nvSpPr>
        <p:spPr/>
        <p:txBody>
          <a:bodyPr/>
          <a:lstStyle>
            <a:lvl1pPr>
              <a:defRPr/>
            </a:lvl1pPr>
            <a:lvl2pPr>
              <a:defRPr>
                <a:latin typeface="Roboto" pitchFamily="2" charset="0"/>
                <a:ea typeface="Roboto" pitchFamily="2" charset="0"/>
              </a:defRPr>
            </a:lvl2pPr>
          </a:lstStyle>
          <a:p>
            <a:pPr lvl="0"/>
            <a:r>
              <a:rPr lang="fr-FR"/>
              <a:t>Modifier les styles du texte du masque</a:t>
            </a:r>
          </a:p>
          <a:p>
            <a:pPr lvl="1"/>
            <a:r>
              <a:rPr lang="fr-FR"/>
              <a:t>Deuxième niveau</a:t>
            </a:r>
          </a:p>
        </p:txBody>
      </p:sp>
    </p:spTree>
    <p:extLst>
      <p:ext uri="{BB962C8B-B14F-4D97-AF65-F5344CB8AC3E}">
        <p14:creationId xmlns:p14="http://schemas.microsoft.com/office/powerpoint/2010/main" val="148953504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883889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389294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250471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170656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51787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89267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251162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819382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9795A65A-ECB4-41D2-AECE-3DFFDD1A9781}"/>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165B78AD-41BF-4D8D-B0CA-88B61C58E4CB}"/>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80187486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35735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61DD2402-7872-41CE-AAEE-97D58A49507B}"/>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C708245-A552-4F82-A1F8-0B46ABE4F7C0}"/>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99941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291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C8A9B47-C2D6-4DC4-B29C-FAC1FF1CBED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BA1D45B6-AA15-4E8B-84F7-2E4EF19F4FAE}"/>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09030249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55039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E52CCDF1-1350-4EAA-9712-798FCBA9B4C0}"/>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9D6BE92-4DEC-4F9C-B801-070713401B68}"/>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27084670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174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8BA682D-67AF-4BF6-B15A-4C2E92FD465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accent1"/>
                </a:solidFill>
              </a:rPr>
              <a:t>Source: …</a:t>
            </a:r>
          </a:p>
        </p:txBody>
      </p:sp>
      <p:sp>
        <p:nvSpPr>
          <p:cNvPr id="12" name="Slide Number">
            <a:extLst>
              <a:ext uri="{FF2B5EF4-FFF2-40B4-BE49-F238E27FC236}">
                <a16:creationId xmlns:a16="http://schemas.microsoft.com/office/drawing/2014/main" id="{B9E2D09F-7A64-4B40-9FC4-581BD64C805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A817F312-2E8A-4D47-9ED7-403DBEE295CF}"/>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213577234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3618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034384AA-70CC-4A36-8980-C20EE09BA3AB}"/>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0180575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42180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351DA85-660E-4005-BC31-09B1137FAB3A}"/>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EC606DD3-51C3-46A7-A120-0F9889B7510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EA4B8B1-950D-4BE9-B434-85CA73AE5487}"/>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4991961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Section Header_photo">
    <p:bg>
      <p:bgPr>
        <a:solidFill>
          <a:srgbClr val="00205C"/>
        </a:solidFill>
        <a:effectLst/>
      </p:bgPr>
    </p:bg>
    <p:spTree>
      <p:nvGrpSpPr>
        <p:cNvPr id="1" name=""/>
        <p:cNvGrpSpPr/>
        <p:nvPr/>
      </p:nvGrpSpPr>
      <p:grpSpPr>
        <a:xfrm>
          <a:off x="0" y="0"/>
          <a:ext cx="0" cy="0"/>
          <a:chOff x="0" y="0"/>
          <a:chExt cx="0" cy="0"/>
        </a:xfrm>
      </p:grpSpPr>
      <p:pic>
        <p:nvPicPr>
          <p:cNvPr id="12" name="Picture 11" descr="A picture containing person, outdoor&#10;&#10;Description automatically generated">
            <a:extLst>
              <a:ext uri="{FF2B5EF4-FFF2-40B4-BE49-F238E27FC236}">
                <a16:creationId xmlns:a16="http://schemas.microsoft.com/office/drawing/2014/main" id="{5E00C2ED-0D1E-7A49-A779-06E3D1A8B6F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200014"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49A22B5D-3008-6A47-82BD-4F3C5509981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64642522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29400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00798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6EBBD40-A17E-4AC4-AFFE-B9D052D0A76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8FAE829D-7032-46BB-87B6-966882B3DF79}"/>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F01536E2-4B01-4839-B61A-8A966ECC9B54}"/>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28744220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392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F968F9-C4C2-4AB2-822B-CC6DE7FE42F9}"/>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1FB98F14-45AF-4ABC-91B1-04945664C0F6}"/>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5AE72860-ED40-4421-B2CF-9088C4543960}"/>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11545688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72863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53035468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05638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2">
            <a:extLst>
              <a:ext uri="{FF2B5EF4-FFF2-40B4-BE49-F238E27FC236}">
                <a16:creationId xmlns:a16="http://schemas.microsoft.com/office/drawing/2014/main" id="{989E37D3-247E-4B73-A726-336EFE5F059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3" name="Picture 17">
            <a:extLst>
              <a:ext uri="{FF2B5EF4-FFF2-40B4-BE49-F238E27FC236}">
                <a16:creationId xmlns:a16="http://schemas.microsoft.com/office/drawing/2014/main" id="{DB4EAA56-1D2C-453A-A498-5120FB26F0A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5207D841-96AD-4CCA-85BE-245C70486556}"/>
              </a:ext>
            </a:extLst>
          </p:cNvPr>
          <p:cNvSpPr>
            <a:spLocks noChangeArrowheads="1"/>
          </p:cNvSpPr>
          <p:nvPr userDrawn="1">
            <p:custDataLst>
              <p:tags r:id="rId4"/>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42314243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5" name="Picture 4">
            <a:extLst>
              <a:ext uri="{FF2B5EF4-FFF2-40B4-BE49-F238E27FC236}">
                <a16:creationId xmlns:a16="http://schemas.microsoft.com/office/drawing/2014/main" id="{911974B0-473E-4554-A92F-9807F1E87FB1}"/>
              </a:ext>
            </a:extLst>
          </p:cNvPr>
          <p:cNvPicPr>
            <a:picLocks noChangeAspect="1"/>
          </p:cNvPicPr>
          <p:nvPr userDrawn="1"/>
        </p:nvPicPr>
        <p:blipFill>
          <a:blip r:embed="rId6"/>
          <a:stretch>
            <a:fillRect/>
          </a:stretch>
        </p:blipFill>
        <p:spPr>
          <a:xfrm>
            <a:off x="4162425" y="2838450"/>
            <a:ext cx="3867150" cy="1181100"/>
          </a:xfrm>
          <a:prstGeom prst="rect">
            <a:avLst/>
          </a:prstGeom>
        </p:spPr>
      </p:pic>
    </p:spTree>
    <p:extLst>
      <p:ext uri="{BB962C8B-B14F-4D97-AF65-F5344CB8AC3E}">
        <p14:creationId xmlns:p14="http://schemas.microsoft.com/office/powerpoint/2010/main" val="201168061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404168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206270988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CustomLayouts 1">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7587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389294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250471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170656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501515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73000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3515557" y="6186486"/>
            <a:ext cx="82812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3515557" y="5788376"/>
            <a:ext cx="828126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2000" dirty="0">
                <a:solidFill>
                  <a:schemeClr val="accent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3515557" y="5020935"/>
            <a:ext cx="8281261"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r">
              <a:defRPr lang="en-US" sz="4400" dirty="0"/>
            </a:lvl1pPr>
          </a:lstStyle>
          <a:p>
            <a:pPr lvl="0"/>
            <a:r>
              <a:rPr lang="en-US"/>
              <a:t>Click to edit Master title style</a:t>
            </a:r>
          </a:p>
        </p:txBody>
      </p:sp>
      <p:pic>
        <p:nvPicPr>
          <p:cNvPr id="8" name="Picture 7">
            <a:extLst>
              <a:ext uri="{FF2B5EF4-FFF2-40B4-BE49-F238E27FC236}">
                <a16:creationId xmlns:a16="http://schemas.microsoft.com/office/drawing/2014/main" id="{6058562C-4E35-4638-99AB-34F814EC46CB}"/>
              </a:ext>
            </a:extLst>
          </p:cNvPr>
          <p:cNvPicPr>
            <a:picLocks noChangeAspect="1"/>
          </p:cNvPicPr>
          <p:nvPr userDrawn="1"/>
        </p:nvPicPr>
        <p:blipFill rotWithShape="1">
          <a:blip r:embed="rId9"/>
          <a:srcRect b="35741"/>
          <a:stretch/>
        </p:blipFill>
        <p:spPr bwMode="ltGray">
          <a:xfrm>
            <a:off x="0" y="0"/>
            <a:ext cx="12192000" cy="4406900"/>
          </a:xfrm>
          <a:prstGeom prst="rect">
            <a:avLst/>
          </a:prstGeom>
        </p:spPr>
      </p:pic>
      <p:pic>
        <p:nvPicPr>
          <p:cNvPr id="9" name="Picture 28" descr="World Health Organization Logo, history, meaning, symbol, PNG">
            <a:extLst>
              <a:ext uri="{FF2B5EF4-FFF2-40B4-BE49-F238E27FC236}">
                <a16:creationId xmlns:a16="http://schemas.microsoft.com/office/drawing/2014/main" id="{46132EA0-E80F-4FE0-96AC-5AF8296AF68F}"/>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t="17309" b="19199"/>
          <a:stretch/>
        </p:blipFill>
        <p:spPr bwMode="ltGray">
          <a:xfrm>
            <a:off x="848269" y="5688688"/>
            <a:ext cx="2361110" cy="843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099859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29074935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9985373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erson washing the hands&#10;&#10;Description automatically generated with medium confidence">
            <a:extLst>
              <a:ext uri="{FF2B5EF4-FFF2-40B4-BE49-F238E27FC236}">
                <a16:creationId xmlns:a16="http://schemas.microsoft.com/office/drawing/2014/main" id="{FC15D9EE-673F-8E4D-A59F-47BDE01A519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text&#10;&#10;Description automatically generated">
            <a:extLst>
              <a:ext uri="{FF2B5EF4-FFF2-40B4-BE49-F238E27FC236}">
                <a16:creationId xmlns:a16="http://schemas.microsoft.com/office/drawing/2014/main" id="{9B19B3F0-C2B2-AA48-910B-DA928F82983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2343545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5021864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465253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39C1C887-527A-454E-A1EC-D24BAC2C9581}"/>
              </a:ext>
            </a:extLst>
          </p:cNvPr>
          <p:cNvPicPr>
            <a:picLocks noChangeAspect="1"/>
          </p:cNvPicPr>
          <p:nvPr userDrawn="1"/>
        </p:nvPicPr>
        <p:blipFill>
          <a:blip r:embed="rId10"/>
          <a:stretch>
            <a:fillRect/>
          </a:stretch>
        </p:blipFill>
        <p:spPr>
          <a:xfrm>
            <a:off x="0" y="0"/>
            <a:ext cx="12192000" cy="6858000"/>
          </a:xfrm>
          <a:prstGeom prst="rect">
            <a:avLst/>
          </a:prstGeom>
        </p:spPr>
      </p:pic>
      <p:cxnSp>
        <p:nvCxnSpPr>
          <p:cNvPr id="11" name="Straight Connector 10">
            <a:extLst>
              <a:ext uri="{FF2B5EF4-FFF2-40B4-BE49-F238E27FC236}">
                <a16:creationId xmlns:a16="http://schemas.microsoft.com/office/drawing/2014/main" id="{AD1C01F9-30F8-4452-A3D1-F1F26411FE40}"/>
              </a:ext>
            </a:extLst>
          </p:cNvPr>
          <p:cNvCxnSpPr>
            <a:cxnSpLocks/>
          </p:cNvCxnSpPr>
          <p:nvPr userDrawn="1"/>
        </p:nvCxnSpPr>
        <p:spPr bwMode="white">
          <a:xfrm>
            <a:off x="554736" y="3680016"/>
            <a:ext cx="1163726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3757508"/>
            <a:ext cx="11082528" cy="677108"/>
          </a:xfrm>
        </p:spPr>
        <p:txBody>
          <a:bodyPr vert="horz" anchor="t">
            <a:noAutofit/>
          </a:bodyPr>
          <a:lstStyle>
            <a:lvl1pPr rtl="0">
              <a:lnSpc>
                <a:spcPct val="100000"/>
              </a:lnSpc>
              <a:defRPr sz="4400">
                <a:solidFill>
                  <a:schemeClr val="bg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7033943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9625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1D4387D-3F9E-44FB-B15D-91BAEB1229BB}"/>
              </a:ext>
            </a:extLst>
          </p:cNvPr>
          <p:cNvSpPr/>
          <p:nvPr userDrawn="1"/>
        </p:nvSpPr>
        <p:spPr>
          <a:xfrm>
            <a:off x="0" y="4003040"/>
            <a:ext cx="12192000" cy="285496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nvGrpSpPr>
          <p:cNvPr id="11" name="Group 10">
            <a:extLst>
              <a:ext uri="{FF2B5EF4-FFF2-40B4-BE49-F238E27FC236}">
                <a16:creationId xmlns:a16="http://schemas.microsoft.com/office/drawing/2014/main" id="{08C3C407-ACE3-40C6-89A6-38F72481FA6B}"/>
              </a:ext>
            </a:extLst>
          </p:cNvPr>
          <p:cNvGrpSpPr/>
          <p:nvPr userDrawn="1"/>
        </p:nvGrpSpPr>
        <p:grpSpPr>
          <a:xfrm>
            <a:off x="0" y="1"/>
            <a:ext cx="12192000" cy="5867335"/>
            <a:chOff x="0" y="1"/>
            <a:chExt cx="12192000" cy="5867335"/>
          </a:xfrm>
        </p:grpSpPr>
        <p:pic>
          <p:nvPicPr>
            <p:cNvPr id="12" name="Picture 11">
              <a:extLst>
                <a:ext uri="{FF2B5EF4-FFF2-40B4-BE49-F238E27FC236}">
                  <a16:creationId xmlns:a16="http://schemas.microsoft.com/office/drawing/2014/main" id="{BF711CB9-347A-4E02-9D18-8EF91F197C93}"/>
                </a:ext>
              </a:extLst>
            </p:cNvPr>
            <p:cNvPicPr>
              <a:picLocks noChangeAspect="1"/>
            </p:cNvPicPr>
            <p:nvPr userDrawn="1"/>
          </p:nvPicPr>
          <p:blipFill>
            <a:blip r:embed="rId11"/>
            <a:srcRect b="14445"/>
            <a:stretch>
              <a:fillRect/>
            </a:stretch>
          </p:blipFill>
          <p:spPr>
            <a:xfrm>
              <a:off x="0" y="1"/>
              <a:ext cx="12192000" cy="5867335"/>
            </a:xfrm>
            <a:custGeom>
              <a:avLst/>
              <a:gdLst>
                <a:gd name="connsiteX0" fmla="*/ 0 w 12192000"/>
                <a:gd name="connsiteY0" fmla="*/ 0 h 5867335"/>
                <a:gd name="connsiteX1" fmla="*/ 12192000 w 12192000"/>
                <a:gd name="connsiteY1" fmla="*/ 0 h 5867335"/>
                <a:gd name="connsiteX2" fmla="*/ 12192000 w 12192000"/>
                <a:gd name="connsiteY2" fmla="*/ 4945992 h 5867335"/>
                <a:gd name="connsiteX3" fmla="*/ 3150413 w 12192000"/>
                <a:gd name="connsiteY3" fmla="*/ 4945992 h 5867335"/>
                <a:gd name="connsiteX4" fmla="*/ 2217725 w 12192000"/>
                <a:gd name="connsiteY4" fmla="*/ 5867335 h 5867335"/>
                <a:gd name="connsiteX5" fmla="*/ 2217725 w 12192000"/>
                <a:gd name="connsiteY5" fmla="*/ 4945992 h 5867335"/>
                <a:gd name="connsiteX6" fmla="*/ 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0" y="0"/>
                  </a:moveTo>
                  <a:lnTo>
                    <a:pt x="12192000" y="0"/>
                  </a:lnTo>
                  <a:lnTo>
                    <a:pt x="12192000" y="4945992"/>
                  </a:lnTo>
                  <a:lnTo>
                    <a:pt x="3150413" y="4945992"/>
                  </a:lnTo>
                  <a:lnTo>
                    <a:pt x="2217725" y="5867335"/>
                  </a:lnTo>
                  <a:lnTo>
                    <a:pt x="2217725" y="4945992"/>
                  </a:lnTo>
                  <a:lnTo>
                    <a:pt x="0" y="4945992"/>
                  </a:lnTo>
                  <a:close/>
                </a:path>
              </a:pathLst>
            </a:custGeom>
          </p:spPr>
        </p:pic>
        <p:pic>
          <p:nvPicPr>
            <p:cNvPr id="13" name="Picture 12">
              <a:extLst>
                <a:ext uri="{FF2B5EF4-FFF2-40B4-BE49-F238E27FC236}">
                  <a16:creationId xmlns:a16="http://schemas.microsoft.com/office/drawing/2014/main" id="{5BA1D677-019C-48C9-8AC8-2569322FB22A}"/>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grpSp>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2327378"/>
            <a:ext cx="9180576" cy="523220"/>
          </a:xfrm>
          <a:prstGeom prst="rect">
            <a:avLst/>
          </a:prstGeom>
        </p:spPr>
        <p:txBody>
          <a:bodyPr vert="horz">
            <a:spAutoFit/>
          </a:bodyPr>
          <a:lstStyle>
            <a:lvl1pPr rtl="0">
              <a:lnSpc>
                <a:spcPct val="105000"/>
              </a:lnSpc>
              <a:defRPr sz="3400">
                <a:solidFill>
                  <a:schemeClr val="bg1"/>
                </a:solidFill>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3055779"/>
            <a:ext cx="9180576" cy="246221"/>
          </a:xfrm>
          <a:prstGeom prst="rect">
            <a:avLst/>
          </a:prstGeom>
        </p:spPr>
        <p:txBody>
          <a:bodyPr wrap="square">
            <a:spAutoFit/>
          </a:bodyPr>
          <a:lstStyle>
            <a:lvl1pPr marL="0" indent="0" algn="l" rtl="0">
              <a:buNone/>
              <a:defRPr sz="1600" b="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6782638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1F72885E-0DE3-40A0-BBC8-570EC4E0B6F7}"/>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t="17309" b="19199"/>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646613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41BE8F80-333F-4BC6-871F-362BC468671B}"/>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t="17309" b="19199"/>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30739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CA7FC9E0-EFDE-4AF5-ACAA-3B4E0228DDA9}"/>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t="17309" b="19199"/>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402166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94D5D5DE-55B8-48D5-B42B-BF9B0174FE84}"/>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t="17309" b="19199"/>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17403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A182C6BE-C047-4648-9A4A-E6C74AC67CF8}"/>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t="17309" b="19199"/>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991439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9" name="Picture 28" descr="World Health Organization Logo, history, meaning, symbol, PNG">
            <a:extLst>
              <a:ext uri="{FF2B5EF4-FFF2-40B4-BE49-F238E27FC236}">
                <a16:creationId xmlns:a16="http://schemas.microsoft.com/office/drawing/2014/main" id="{E0D5996A-E029-4838-81BD-B92B8057FE15}"/>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t="17309" b="19199"/>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18098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6" name="Picture 28" descr="World Health Organization Logo, history, meaning, symbol, PNG">
            <a:extLst>
              <a:ext uri="{FF2B5EF4-FFF2-40B4-BE49-F238E27FC236}">
                <a16:creationId xmlns:a16="http://schemas.microsoft.com/office/drawing/2014/main" id="{1C89051B-E786-42AA-B6F2-180B9042A8CA}"/>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t="17309" b="19199"/>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3921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_Section Header_photo">
    <p:bg>
      <p:bgPr>
        <a:solidFill>
          <a:srgbClr val="00205C"/>
        </a:solidFill>
        <a:effectLst/>
      </p:bgPr>
    </p:bg>
    <p:spTree>
      <p:nvGrpSpPr>
        <p:cNvPr id="1" name=""/>
        <p:cNvGrpSpPr/>
        <p:nvPr/>
      </p:nvGrpSpPr>
      <p:grpSpPr>
        <a:xfrm>
          <a:off x="0" y="0"/>
          <a:ext cx="0" cy="0"/>
          <a:chOff x="0" y="0"/>
          <a:chExt cx="0" cy="0"/>
        </a:xfrm>
      </p:grpSpPr>
      <p:pic>
        <p:nvPicPr>
          <p:cNvPr id="11" name="Picture 10" descr="A person looking at a red wall&#10;&#10;Description automatically generated with low confidence">
            <a:extLst>
              <a:ext uri="{FF2B5EF4-FFF2-40B4-BE49-F238E27FC236}">
                <a16:creationId xmlns:a16="http://schemas.microsoft.com/office/drawing/2014/main" id="{094DE987-E110-E346-B5AD-7643BCA8FA6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515197F2-75F0-D04D-A543-D1C47B2E808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3341277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En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6" name="Picture 2">
            <a:extLst>
              <a:ext uri="{FF2B5EF4-FFF2-40B4-BE49-F238E27FC236}">
                <a16:creationId xmlns:a16="http://schemas.microsoft.com/office/drawing/2014/main" id="{D77B9134-120A-492B-A83F-F8AB9563AC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ltGray">
          <a:xfrm>
            <a:off x="700" y="0"/>
            <a:ext cx="12191301"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F3C9D2F-3AE3-47DC-B727-1ECBC19B76BF}"/>
              </a:ext>
            </a:extLst>
          </p:cNvPr>
          <p:cNvSpPr txBox="1"/>
          <p:nvPr userDrawn="1"/>
        </p:nvSpPr>
        <p:spPr bwMode="ltGray">
          <a:xfrm>
            <a:off x="1016059" y="4840064"/>
            <a:ext cx="2412862" cy="400110"/>
          </a:xfrm>
          <a:prstGeom prst="rect">
            <a:avLst/>
          </a:prstGeom>
          <a:noFill/>
        </p:spPr>
        <p:txBody>
          <a:bodyPr wrap="square" rtlCol="0">
            <a:spAutoFit/>
          </a:bodyPr>
          <a:lstStyle/>
          <a:p>
            <a:pPr algn="ctr"/>
            <a:r>
              <a:rPr lang="en-US" sz="2000">
                <a:latin typeface="+mn-lt"/>
                <a:ea typeface="+mn-ea"/>
                <a:cs typeface="+mn-cs"/>
              </a:rPr>
              <a:t>WorldBankSouthAsia</a:t>
            </a:r>
            <a:endParaRPr lang="en-GB" sz="2000">
              <a:latin typeface="+mn-lt"/>
              <a:ea typeface="+mn-ea"/>
              <a:cs typeface="+mn-cs"/>
            </a:endParaRPr>
          </a:p>
        </p:txBody>
      </p:sp>
      <p:pic>
        <p:nvPicPr>
          <p:cNvPr id="9" name="Picture 2" descr="Image result for facebook twitter logos">
            <a:extLst>
              <a:ext uri="{FF2B5EF4-FFF2-40B4-BE49-F238E27FC236}">
                <a16:creationId xmlns:a16="http://schemas.microsoft.com/office/drawing/2014/main" id="{E7AE9AAF-DFCE-4638-9BFF-16D644488ED8}"/>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r="75117"/>
          <a:stretch/>
        </p:blipFill>
        <p:spPr bwMode="ltGray">
          <a:xfrm>
            <a:off x="260612" y="4699000"/>
            <a:ext cx="691951" cy="61555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facebook twitter logos">
            <a:extLst>
              <a:ext uri="{FF2B5EF4-FFF2-40B4-BE49-F238E27FC236}">
                <a16:creationId xmlns:a16="http://schemas.microsoft.com/office/drawing/2014/main" id="{1F4A1B3E-833A-4224-8268-39F1ECEC51DA}"/>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9770" r="22830"/>
          <a:stretch/>
        </p:blipFill>
        <p:spPr bwMode="ltGray">
          <a:xfrm>
            <a:off x="190607" y="5397500"/>
            <a:ext cx="761956" cy="61555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Image result for @">
            <a:extLst>
              <a:ext uri="{FF2B5EF4-FFF2-40B4-BE49-F238E27FC236}">
                <a16:creationId xmlns:a16="http://schemas.microsoft.com/office/drawing/2014/main" id="{6AB90F17-024E-45CE-8037-E27092C086FA}"/>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ltGray">
          <a:xfrm>
            <a:off x="102421" y="6106126"/>
            <a:ext cx="913638" cy="52791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3672D31B-4A3E-49EB-B1CD-F3726832351F}"/>
              </a:ext>
            </a:extLst>
          </p:cNvPr>
          <p:cNvSpPr txBox="1"/>
          <p:nvPr userDrawn="1"/>
        </p:nvSpPr>
        <p:spPr bwMode="ltGray">
          <a:xfrm>
            <a:off x="825570" y="5538565"/>
            <a:ext cx="2412862" cy="400110"/>
          </a:xfrm>
          <a:prstGeom prst="rect">
            <a:avLst/>
          </a:prstGeom>
          <a:noFill/>
        </p:spPr>
        <p:txBody>
          <a:bodyPr wrap="square" rtlCol="0">
            <a:spAutoFit/>
          </a:bodyPr>
          <a:lstStyle/>
          <a:p>
            <a:pPr algn="ctr"/>
            <a:r>
              <a:rPr lang="en-US" sz="2000">
                <a:latin typeface="+mn-lt"/>
                <a:ea typeface="+mn-ea"/>
                <a:cs typeface="+mn-cs"/>
              </a:rPr>
              <a:t>WorldBankSasia</a:t>
            </a:r>
            <a:endParaRPr lang="en-GB" sz="2000">
              <a:latin typeface="+mn-lt"/>
              <a:ea typeface="+mn-ea"/>
              <a:cs typeface="+mn-cs"/>
            </a:endParaRPr>
          </a:p>
        </p:txBody>
      </p:sp>
      <p:sp>
        <p:nvSpPr>
          <p:cNvPr id="13" name="TextBox 12">
            <a:extLst>
              <a:ext uri="{FF2B5EF4-FFF2-40B4-BE49-F238E27FC236}">
                <a16:creationId xmlns:a16="http://schemas.microsoft.com/office/drawing/2014/main" id="{2DE5AA3D-FF7F-40D2-9708-F6BE31A67160}"/>
              </a:ext>
            </a:extLst>
          </p:cNvPr>
          <p:cNvSpPr txBox="1"/>
          <p:nvPr userDrawn="1"/>
        </p:nvSpPr>
        <p:spPr bwMode="ltGray">
          <a:xfrm>
            <a:off x="952563" y="6203369"/>
            <a:ext cx="2412862" cy="400110"/>
          </a:xfrm>
          <a:prstGeom prst="rect">
            <a:avLst/>
          </a:prstGeom>
          <a:noFill/>
        </p:spPr>
        <p:txBody>
          <a:bodyPr wrap="square" rtlCol="0">
            <a:spAutoFit/>
          </a:bodyPr>
          <a:lstStyle/>
          <a:p>
            <a:pPr algn="ctr"/>
            <a:r>
              <a:rPr lang="en-US" sz="2000">
                <a:latin typeface="+mn-lt"/>
                <a:ea typeface="+mn-ea"/>
                <a:cs typeface="+mn-cs"/>
              </a:rPr>
              <a:t>worldbank.org/sar</a:t>
            </a:r>
            <a:endParaRPr lang="en-GB" sz="2000">
              <a:latin typeface="+mn-lt"/>
              <a:ea typeface="+mn-ea"/>
              <a:cs typeface="+mn-cs"/>
            </a:endParaRPr>
          </a:p>
        </p:txBody>
      </p:sp>
    </p:spTree>
    <p:extLst>
      <p:ext uri="{BB962C8B-B14F-4D97-AF65-F5344CB8AC3E}">
        <p14:creationId xmlns:p14="http://schemas.microsoft.com/office/powerpoint/2010/main" val="395822385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text&#10;&#10;Description automatically generated">
            <a:extLst>
              <a:ext uri="{FF2B5EF4-FFF2-40B4-BE49-F238E27FC236}">
                <a16:creationId xmlns:a16="http://schemas.microsoft.com/office/drawing/2014/main" id="{5D0FC12C-9A97-EA48-83C9-9D7DC669F4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27642260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940E6B1E-74E8-B84A-AC81-892B4A143E8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1604361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Section Header_photo">
    <p:bg>
      <p:bgPr>
        <a:solidFill>
          <a:srgbClr val="00205C"/>
        </a:solidFill>
        <a:effectLst/>
      </p:bgPr>
    </p:bg>
    <p:spTree>
      <p:nvGrpSpPr>
        <p:cNvPr id="1" name=""/>
        <p:cNvGrpSpPr/>
        <p:nvPr/>
      </p:nvGrpSpPr>
      <p:grpSpPr>
        <a:xfrm>
          <a:off x="0" y="0"/>
          <a:ext cx="0" cy="0"/>
          <a:chOff x="0" y="0"/>
          <a:chExt cx="0" cy="0"/>
        </a:xfrm>
      </p:grpSpPr>
      <p:pic>
        <p:nvPicPr>
          <p:cNvPr id="4" name="Picture 3" descr="A picture containing person, indoor, group&#10;&#10;Description automatically generated">
            <a:extLst>
              <a:ext uri="{FF2B5EF4-FFF2-40B4-BE49-F238E27FC236}">
                <a16:creationId xmlns:a16="http://schemas.microsoft.com/office/drawing/2014/main" id="{7A54A406-1880-D543-B446-594252FA352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65926"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DECA4922-A281-A04E-BAF2-E2D642A51DA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0861610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0" y="1846372"/>
            <a:ext cx="9700351" cy="2743200"/>
          </a:xfrm>
        </p:spPr>
        <p:txBody>
          <a:bodyPr anchor="t" anchorCtr="0">
            <a:normAutofit/>
          </a:bodyPr>
          <a:lstStyle>
            <a:lvl1pPr marL="228600" indent="-228600">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734772"/>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9" name="Picture 8" descr="A picture containing graphical user interface&#10;&#10;Description automatically generated">
            <a:extLst>
              <a:ext uri="{FF2B5EF4-FFF2-40B4-BE49-F238E27FC236}">
                <a16:creationId xmlns:a16="http://schemas.microsoft.com/office/drawing/2014/main" id="{5957EBC8-EE7C-6C4E-B866-229DD4F2F82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1373091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441CA066-B1CB-7247-BC69-30EB1E0CA4C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914550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9" name="Picture 8" descr="A picture containing graphical user interface&#10;&#10;Description automatically generated">
            <a:extLst>
              <a:ext uri="{FF2B5EF4-FFF2-40B4-BE49-F238E27FC236}">
                <a16:creationId xmlns:a16="http://schemas.microsoft.com/office/drawing/2014/main" id="{7A54CB7E-FEA4-7244-A1F4-EAEEA53C9BC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448166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endParaRPr lang="en-US"/>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3FDD2460-4A74-2E4C-A6FD-D21C550C1C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6801071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text&#10;&#10;Description automatically generated">
            <a:extLst>
              <a:ext uri="{FF2B5EF4-FFF2-40B4-BE49-F238E27FC236}">
                <a16:creationId xmlns:a16="http://schemas.microsoft.com/office/drawing/2014/main" id="{5D0FC12C-9A97-EA48-83C9-9D7DC669F4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25533408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endParaRPr lang="en-US"/>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endParaRPr lang="en-US"/>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endParaRPr lang="en-US"/>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3"/>
            <a:ext cx="3657600" cy="882921"/>
          </a:xfrm>
        </p:spPr>
        <p:txBody>
          <a:bodyPr>
            <a:normAutofit/>
          </a:bodyPr>
          <a:lstStyle>
            <a:lvl1pPr marL="0" indent="0">
              <a:buNone/>
              <a:defRPr sz="1200" b="0">
                <a:latin typeface="+mj-lt"/>
              </a:defRPr>
            </a:lvl1pPr>
          </a:lstStyle>
          <a:p>
            <a:pPr lvl="0"/>
            <a:r>
              <a:rPr lang="en-US"/>
              <a:t>Click to edit Master text styles</a:t>
            </a:r>
          </a:p>
        </p:txBody>
      </p:sp>
      <p:pic>
        <p:nvPicPr>
          <p:cNvPr id="13" name="Picture 12" descr="A picture containing text&#10;&#10;Description automatically generated">
            <a:extLst>
              <a:ext uri="{FF2B5EF4-FFF2-40B4-BE49-F238E27FC236}">
                <a16:creationId xmlns:a16="http://schemas.microsoft.com/office/drawing/2014/main" id="{60FFAA53-3E27-274F-AB00-FD5E13CCE04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42111287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200" indent="0">
              <a:buNone/>
              <a:defRPr sz="2000">
                <a:solidFill>
                  <a:srgbClr val="00205C"/>
                </a:solidFill>
              </a:defRPr>
            </a:lvl2pPr>
            <a:lvl3pPr marL="914400" indent="0">
              <a:buNone/>
              <a:defRPr sz="2000">
                <a:solidFill>
                  <a:srgbClr val="00205C"/>
                </a:solidFill>
              </a:defRPr>
            </a:lvl3pPr>
            <a:lvl4pPr marL="1371600" indent="0">
              <a:buNone/>
              <a:defRPr sz="2000">
                <a:solidFill>
                  <a:srgbClr val="00205C"/>
                </a:solidFill>
              </a:defRPr>
            </a:lvl4pPr>
            <a:lvl5pPr marL="182880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A picture containing text&#10;&#10;Description automatically generated">
            <a:extLst>
              <a:ext uri="{FF2B5EF4-FFF2-40B4-BE49-F238E27FC236}">
                <a16:creationId xmlns:a16="http://schemas.microsoft.com/office/drawing/2014/main" id="{21D02B5C-C85E-8E40-ABB1-518E920A14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3290502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10;&#10;Description automatically generated">
            <a:extLst>
              <a:ext uri="{FF2B5EF4-FFF2-40B4-BE49-F238E27FC236}">
                <a16:creationId xmlns:a16="http://schemas.microsoft.com/office/drawing/2014/main" id="{EA038A83-0721-DA4F-A54E-BF1B9B538A2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40913981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graphical user interface&#10;&#10;Description automatically generated">
            <a:extLst>
              <a:ext uri="{FF2B5EF4-FFF2-40B4-BE49-F238E27FC236}">
                <a16:creationId xmlns:a16="http://schemas.microsoft.com/office/drawing/2014/main" id="{5DBF1292-641E-584B-ABF4-2111916232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7249309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text&#10;&#10;Description automatically generated">
            <a:extLst>
              <a:ext uri="{FF2B5EF4-FFF2-40B4-BE49-F238E27FC236}">
                <a16:creationId xmlns:a16="http://schemas.microsoft.com/office/drawing/2014/main" id="{909B46AE-2421-FE49-9841-024D24ED082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8429937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text&#10;&#10;Description automatically generated">
            <a:extLst>
              <a:ext uri="{FF2B5EF4-FFF2-40B4-BE49-F238E27FC236}">
                <a16:creationId xmlns:a16="http://schemas.microsoft.com/office/drawing/2014/main" id="{B1D2B07B-09EC-1844-96A4-8FF542C8A2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29864512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text&#10;&#10;Description automatically generated">
            <a:extLst>
              <a:ext uri="{FF2B5EF4-FFF2-40B4-BE49-F238E27FC236}">
                <a16:creationId xmlns:a16="http://schemas.microsoft.com/office/drawing/2014/main" id="{33ADBA6D-5240-F44B-B799-52F5DEBC86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1271245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940E6B1E-74E8-B84A-AC81-892B4A143E8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34745595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A picture containing text&#10;&#10;Description automatically generated">
            <a:extLst>
              <a:ext uri="{FF2B5EF4-FFF2-40B4-BE49-F238E27FC236}">
                <a16:creationId xmlns:a16="http://schemas.microsoft.com/office/drawing/2014/main" id="{7D733DF2-986C-E047-8710-EC8E8FE604F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42653069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descr="A picture containing text&#10;&#10;Description automatically generated">
            <a:extLst>
              <a:ext uri="{FF2B5EF4-FFF2-40B4-BE49-F238E27FC236}">
                <a16:creationId xmlns:a16="http://schemas.microsoft.com/office/drawing/2014/main" id="{5EBBBDF4-6F22-1740-9D3C-48F58D7D510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4959992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graphical user interface&#10;&#10;Description automatically generated">
            <a:extLst>
              <a:ext uri="{FF2B5EF4-FFF2-40B4-BE49-F238E27FC236}">
                <a16:creationId xmlns:a16="http://schemas.microsoft.com/office/drawing/2014/main" id="{9EC7C440-DCFB-C047-ADE7-BF5BE1DA111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1363393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CAD4A73-8602-F84A-9C68-0647084B0CC7}"/>
              </a:ext>
            </a:extLst>
          </p:cNvPr>
          <p:cNvSpPr>
            <a:spLocks noGrp="1"/>
          </p:cNvSpPr>
          <p:nvPr>
            <p:ph type="ftr" sz="quarter" idx="11"/>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descr="A picture containing graphical user interface&#10;&#10;Description automatically generated">
            <a:extLst>
              <a:ext uri="{FF2B5EF4-FFF2-40B4-BE49-F238E27FC236}">
                <a16:creationId xmlns:a16="http://schemas.microsoft.com/office/drawing/2014/main" id="{4ABB2213-A8D2-2B4E-A044-CDA8CF39EEC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9045541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114588A5-7D85-6341-A58F-B4539B4697EB}"/>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Lst>
          </p:cNvPr>
          <p:cNvCxnSpPr>
            <a:cxnSpLocks/>
          </p:cNvCxnSpPr>
          <p:nvPr userDrawn="1"/>
        </p:nvCxnSpPr>
        <p:spPr>
          <a:xfrm>
            <a:off x="457200"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text&#10;&#10;Description automatically generated">
            <a:extLst>
              <a:ext uri="{FF2B5EF4-FFF2-40B4-BE49-F238E27FC236}">
                <a16:creationId xmlns:a16="http://schemas.microsoft.com/office/drawing/2014/main" id="{442F6827-29C2-9C43-AFC4-BB8E28665E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19416981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50" indent="-285750">
              <a:spcBef>
                <a:spcPts val="1600"/>
              </a:spcBef>
              <a:buFont typeface="Arial" panose="020B0604020202020204" pitchFamily="34" charset="0"/>
              <a:buChar char="•"/>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text&#10;&#10;Description automatically generated">
            <a:extLst>
              <a:ext uri="{FF2B5EF4-FFF2-40B4-BE49-F238E27FC236}">
                <a16:creationId xmlns:a16="http://schemas.microsoft.com/office/drawing/2014/main" id="{5CFE15EA-86BF-5841-A80A-A30088F13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7628712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A picture containing text&#10;&#10;Description automatically generated">
            <a:extLst>
              <a:ext uri="{FF2B5EF4-FFF2-40B4-BE49-F238E27FC236}">
                <a16:creationId xmlns:a16="http://schemas.microsoft.com/office/drawing/2014/main" id="{70B4A0F8-8C72-8547-B04C-8A0B6CC6EAE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0876023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8E08B1A9-51B6-DF47-9292-45108853881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8399261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73000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3515557" y="6186486"/>
            <a:ext cx="828126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3515557" y="5788376"/>
            <a:ext cx="828126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2000" dirty="0">
                <a:solidFill>
                  <a:schemeClr val="accent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3515557" y="5020935"/>
            <a:ext cx="8281261"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r">
              <a:defRPr lang="en-US" sz="4400" dirty="0"/>
            </a:lvl1pPr>
          </a:lstStyle>
          <a:p>
            <a:pPr lvl="0"/>
            <a:r>
              <a:rPr lang="en-US"/>
              <a:t>Click to edit Master title style</a:t>
            </a:r>
          </a:p>
        </p:txBody>
      </p:sp>
      <p:pic>
        <p:nvPicPr>
          <p:cNvPr id="8" name="Picture 7">
            <a:extLst>
              <a:ext uri="{FF2B5EF4-FFF2-40B4-BE49-F238E27FC236}">
                <a16:creationId xmlns:a16="http://schemas.microsoft.com/office/drawing/2014/main" id="{6058562C-4E35-4638-99AB-34F814EC46CB}"/>
              </a:ext>
            </a:extLst>
          </p:cNvPr>
          <p:cNvPicPr>
            <a:picLocks noChangeAspect="1"/>
          </p:cNvPicPr>
          <p:nvPr userDrawn="1"/>
        </p:nvPicPr>
        <p:blipFill rotWithShape="1">
          <a:blip r:embed="rId9"/>
          <a:srcRect b="35741"/>
          <a:stretch/>
        </p:blipFill>
        <p:spPr bwMode="ltGray">
          <a:xfrm>
            <a:off x="0" y="0"/>
            <a:ext cx="12192000" cy="4406900"/>
          </a:xfrm>
          <a:prstGeom prst="rect">
            <a:avLst/>
          </a:prstGeom>
        </p:spPr>
      </p:pic>
      <p:pic>
        <p:nvPicPr>
          <p:cNvPr id="9" name="Picture 28" descr="World Health Organization Logo, history, meaning, symbol, PNG">
            <a:extLst>
              <a:ext uri="{FF2B5EF4-FFF2-40B4-BE49-F238E27FC236}">
                <a16:creationId xmlns:a16="http://schemas.microsoft.com/office/drawing/2014/main" id="{46132EA0-E80F-4FE0-96AC-5AF8296AF68F}"/>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t="17309" b="19199"/>
          <a:stretch/>
        </p:blipFill>
        <p:spPr bwMode="ltGray">
          <a:xfrm>
            <a:off x="848269" y="5688688"/>
            <a:ext cx="2361110" cy="843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72639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2111955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endParaRPr lang="en-US"/>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text&#10;&#10;Description automatically generated">
            <a:extLst>
              <a:ext uri="{FF2B5EF4-FFF2-40B4-BE49-F238E27FC236}">
                <a16:creationId xmlns:a16="http://schemas.microsoft.com/office/drawing/2014/main" id="{E13E6DE7-5F9A-894A-8D41-2C2F7B8C597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16879294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28" descr="World Health Organization Logo, history, meaning, symbol, PNG">
            <a:extLst>
              <a:ext uri="{FF2B5EF4-FFF2-40B4-BE49-F238E27FC236}">
                <a16:creationId xmlns:a16="http://schemas.microsoft.com/office/drawing/2014/main" id="{94D5D5DE-55B8-48D5-B42B-BF9B0174FE84}"/>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t="17309" b="19199"/>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93764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1613266155"/>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6019966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557204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3102754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7039843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236136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092606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9064658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39477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graphical user interface&#10;&#10;Description automatically generated">
            <a:extLst>
              <a:ext uri="{FF2B5EF4-FFF2-40B4-BE49-F238E27FC236}">
                <a16:creationId xmlns:a16="http://schemas.microsoft.com/office/drawing/2014/main" id="{AF11AD54-8930-934A-91BC-6282DA7EE04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8449206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6587581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34702327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116769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996292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33995055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5D46F1E-B4D3-4FF6-926A-69EA93670E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3502"/>
            <a:ext cx="12185779" cy="6861503"/>
          </a:xfrm>
          <a:prstGeom prst="rect">
            <a:avLst/>
          </a:prstGeom>
        </p:spPr>
      </p:pic>
      <p:pic>
        <p:nvPicPr>
          <p:cNvPr id="3" name="Picture 2">
            <a:extLst>
              <a:ext uri="{FF2B5EF4-FFF2-40B4-BE49-F238E27FC236}">
                <a16:creationId xmlns:a16="http://schemas.microsoft.com/office/drawing/2014/main" id="{B79B2D14-9209-45D0-A46C-A9119B3D95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502"/>
            <a:ext cx="12185779" cy="6861503"/>
          </a:xfrm>
          <a:prstGeom prst="rect">
            <a:avLst/>
          </a:prstGeom>
        </p:spPr>
      </p:pic>
    </p:spTree>
    <p:extLst>
      <p:ext uri="{BB962C8B-B14F-4D97-AF65-F5344CB8AC3E}">
        <p14:creationId xmlns:p14="http://schemas.microsoft.com/office/powerpoint/2010/main" val="20685401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2866425659"/>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3521457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869686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0189228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graphical user interface&#10;&#10;Description automatically generated">
            <a:extLst>
              <a:ext uri="{FF2B5EF4-FFF2-40B4-BE49-F238E27FC236}">
                <a16:creationId xmlns:a16="http://schemas.microsoft.com/office/drawing/2014/main" id="{859FD2F3-6BB1-B440-8503-D1AF9C5E5BE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14362449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971469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820473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985615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6362318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9020650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7406066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11591876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9118886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95521328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4460706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descr="A picture containing graphical user interface&#10;&#10;Description automatically generated">
            <a:extLst>
              <a:ext uri="{FF2B5EF4-FFF2-40B4-BE49-F238E27FC236}">
                <a16:creationId xmlns:a16="http://schemas.microsoft.com/office/drawing/2014/main" id="{0BE10D11-E2DD-FA4A-999A-D66244918CA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42716635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34434" y="188914"/>
            <a:ext cx="11523133" cy="922337"/>
          </a:xfrm>
          <a:prstGeom prst="rect">
            <a:avLst/>
          </a:prstGeom>
          <a:noFill/>
          <a:ln>
            <a:noFill/>
          </a:ln>
        </p:spPr>
        <p:txBody>
          <a:bodyPr wrap="square" lIns="91425" tIns="91425" rIns="91425" bIns="91425" anchor="ctr" anchorCtr="0"/>
          <a:lstStyle>
            <a:lvl1pPr marL="0" marR="0" lvl="0" indent="0" algn="ctr" rtl="0">
              <a:spcBef>
                <a:spcPts val="0"/>
              </a:spcBef>
              <a:spcAft>
                <a:spcPts val="0"/>
              </a:spcAft>
              <a:buSzPts val="1400"/>
              <a:buNone/>
              <a:defRPr sz="4400" b="0" i="0" u="none" strike="noStrike" cap="none">
                <a:solidFill>
                  <a:schemeClr val="lt1"/>
                </a:solidFill>
                <a:latin typeface="Calibri"/>
                <a:ea typeface="Calibri"/>
                <a:cs typeface="Calibri"/>
                <a:sym typeface="Calibri"/>
              </a:defRPr>
            </a:lvl1pPr>
            <a:lvl2pPr marL="0" marR="0" lvl="1" indent="0" algn="ctr" rtl="0">
              <a:spcBef>
                <a:spcPts val="0"/>
              </a:spcBef>
              <a:spcAft>
                <a:spcPts val="0"/>
              </a:spcAft>
              <a:buSzPts val="1400"/>
              <a:buNone/>
              <a:defRPr sz="4400" b="0" i="0" u="none" strike="noStrike" cap="none">
                <a:solidFill>
                  <a:schemeClr val="lt1"/>
                </a:solidFill>
                <a:latin typeface="Calibri"/>
                <a:ea typeface="Calibri"/>
                <a:cs typeface="Calibri"/>
                <a:sym typeface="Calibri"/>
              </a:defRPr>
            </a:lvl2pPr>
            <a:lvl3pPr marL="0" marR="0" lvl="2" indent="0" algn="ctr" rtl="0">
              <a:spcBef>
                <a:spcPts val="0"/>
              </a:spcBef>
              <a:spcAft>
                <a:spcPts val="0"/>
              </a:spcAft>
              <a:buSzPts val="1400"/>
              <a:buNone/>
              <a:defRPr sz="4400" b="0" i="0" u="none" strike="noStrike" cap="none">
                <a:solidFill>
                  <a:schemeClr val="lt1"/>
                </a:solidFill>
                <a:latin typeface="Calibri"/>
                <a:ea typeface="Calibri"/>
                <a:cs typeface="Calibri"/>
                <a:sym typeface="Calibri"/>
              </a:defRPr>
            </a:lvl3pPr>
            <a:lvl4pPr marL="0" marR="0" lvl="3" indent="0" algn="ctr" rtl="0">
              <a:spcBef>
                <a:spcPts val="0"/>
              </a:spcBef>
              <a:spcAft>
                <a:spcPts val="0"/>
              </a:spcAft>
              <a:buSzPts val="1400"/>
              <a:buNone/>
              <a:defRPr sz="4400" b="0" i="0" u="none" strike="noStrike" cap="none">
                <a:solidFill>
                  <a:schemeClr val="lt1"/>
                </a:solidFill>
                <a:latin typeface="Calibri"/>
                <a:ea typeface="Calibri"/>
                <a:cs typeface="Calibri"/>
                <a:sym typeface="Calibri"/>
              </a:defRPr>
            </a:lvl4pPr>
            <a:lvl5pPr marL="0" marR="0" lvl="4" indent="0" algn="ctr" rtl="0">
              <a:spcBef>
                <a:spcPts val="0"/>
              </a:spcBef>
              <a:spcAft>
                <a:spcPts val="0"/>
              </a:spcAft>
              <a:buSzPts val="1400"/>
              <a:buNone/>
              <a:defRPr sz="4400" b="0" i="0" u="none" strike="noStrike" cap="none">
                <a:solidFill>
                  <a:schemeClr val="lt1"/>
                </a:solidFill>
                <a:latin typeface="Calibri"/>
                <a:ea typeface="Calibri"/>
                <a:cs typeface="Calibri"/>
                <a:sym typeface="Calibri"/>
              </a:defRPr>
            </a:lvl5pPr>
            <a:lvl6pPr marL="457200" marR="0" lvl="5" indent="0" algn="ctr" rtl="0">
              <a:spcBef>
                <a:spcPts val="0"/>
              </a:spcBef>
              <a:spcAft>
                <a:spcPts val="0"/>
              </a:spcAft>
              <a:buSzPts val="1400"/>
              <a:buNone/>
              <a:defRPr sz="4400" b="0" i="0" u="none" strike="noStrike" cap="none">
                <a:solidFill>
                  <a:schemeClr val="lt1"/>
                </a:solidFill>
                <a:latin typeface="Calibri"/>
                <a:ea typeface="Calibri"/>
                <a:cs typeface="Calibri"/>
                <a:sym typeface="Calibri"/>
              </a:defRPr>
            </a:lvl6pPr>
            <a:lvl7pPr marL="914400" marR="0" lvl="6" indent="0" algn="ctr" rtl="0">
              <a:spcBef>
                <a:spcPts val="0"/>
              </a:spcBef>
              <a:spcAft>
                <a:spcPts val="0"/>
              </a:spcAft>
              <a:buSzPts val="1400"/>
              <a:buNone/>
              <a:defRPr sz="4400" b="0" i="0" u="none" strike="noStrike" cap="none">
                <a:solidFill>
                  <a:schemeClr val="lt1"/>
                </a:solidFill>
                <a:latin typeface="Calibri"/>
                <a:ea typeface="Calibri"/>
                <a:cs typeface="Calibri"/>
                <a:sym typeface="Calibri"/>
              </a:defRPr>
            </a:lvl7pPr>
            <a:lvl8pPr marL="1371600" marR="0" lvl="7" indent="0" algn="ctr" rtl="0">
              <a:spcBef>
                <a:spcPts val="0"/>
              </a:spcBef>
              <a:spcAft>
                <a:spcPts val="0"/>
              </a:spcAft>
              <a:buSzPts val="1400"/>
              <a:buNone/>
              <a:defRPr sz="4400" b="0" i="0" u="none" strike="noStrike" cap="none">
                <a:solidFill>
                  <a:schemeClr val="lt1"/>
                </a:solidFill>
                <a:latin typeface="Calibri"/>
                <a:ea typeface="Calibri"/>
                <a:cs typeface="Calibri"/>
                <a:sym typeface="Calibri"/>
              </a:defRPr>
            </a:lvl8pPr>
            <a:lvl9pPr marL="1828800" marR="0" lvl="8" indent="0" algn="ctr" rtl="0">
              <a:spcBef>
                <a:spcPts val="0"/>
              </a:spcBef>
              <a:spcAft>
                <a:spcPts val="0"/>
              </a:spcAft>
              <a:buSzPts val="1400"/>
              <a:buNone/>
              <a:defRPr sz="4400" b="0" i="0" u="none" strike="noStrike" cap="none">
                <a:solidFill>
                  <a:schemeClr val="lt1"/>
                </a:solidFill>
                <a:latin typeface="Calibri"/>
                <a:ea typeface="Calibri"/>
                <a:cs typeface="Calibri"/>
                <a:sym typeface="Calibri"/>
              </a:defRPr>
            </a:lvl9pPr>
          </a:lstStyle>
          <a:p>
            <a:endParaRPr/>
          </a:p>
        </p:txBody>
      </p:sp>
      <p:sp>
        <p:nvSpPr>
          <p:cNvPr id="27" name="Shape 27"/>
          <p:cNvSpPr txBox="1">
            <a:spLocks noGrp="1"/>
          </p:cNvSpPr>
          <p:nvPr>
            <p:ph type="body" idx="1"/>
          </p:nvPr>
        </p:nvSpPr>
        <p:spPr>
          <a:xfrm>
            <a:off x="3454400" y="1676401"/>
            <a:ext cx="11523133" cy="4751387"/>
          </a:xfrm>
          <a:prstGeom prst="rect">
            <a:avLst/>
          </a:prstGeom>
          <a:noFill/>
          <a:ln>
            <a:noFill/>
          </a:ln>
        </p:spPr>
        <p:txBody>
          <a:bodyPr wrap="square" lIns="91425" tIns="91425" rIns="91425" bIns="91425" anchor="t" anchorCtr="0"/>
          <a:lstStyle>
            <a:lvl1pPr marL="342900" marR="0" lvl="0" indent="-139700" algn="l" rtl="0">
              <a:spcBef>
                <a:spcPts val="640"/>
              </a:spcBef>
              <a:spcAft>
                <a:spcPts val="0"/>
              </a:spcAft>
              <a:buClr>
                <a:schemeClr val="dk1"/>
              </a:buClr>
              <a:buSzPts val="3200"/>
              <a:buFont typeface="Calibri"/>
              <a:buChar char="•"/>
              <a:defRPr sz="3200" b="0" i="0" u="none" strike="noStrike" cap="none">
                <a:solidFill>
                  <a:schemeClr val="dk1"/>
                </a:solidFill>
                <a:latin typeface="Calibri"/>
                <a:ea typeface="Calibri"/>
                <a:cs typeface="Calibri"/>
                <a:sym typeface="Calibri"/>
              </a:defRPr>
            </a:lvl1pPr>
            <a:lvl2pPr marL="742950" marR="0" lvl="1" indent="-107950" algn="l" rtl="0">
              <a:spcBef>
                <a:spcPts val="560"/>
              </a:spcBef>
              <a:spcAft>
                <a:spcPts val="0"/>
              </a:spcAft>
              <a:buClr>
                <a:schemeClr val="dk1"/>
              </a:buClr>
              <a:buSzPts val="2800"/>
              <a:buFont typeface="Calibri"/>
              <a:buChar char="–"/>
              <a:defRPr sz="2800" b="0" i="0" u="none" strike="noStrike" cap="none">
                <a:solidFill>
                  <a:schemeClr val="dk1"/>
                </a:solidFill>
                <a:latin typeface="Calibri"/>
                <a:ea typeface="Calibri"/>
                <a:cs typeface="Calibri"/>
                <a:sym typeface="Calibri"/>
              </a:defRPr>
            </a:lvl2pPr>
            <a:lvl3pPr marL="1143000" marR="0" lvl="2" indent="-76200" algn="l" rtl="0">
              <a:spcBef>
                <a:spcPts val="480"/>
              </a:spcBef>
              <a:spcAft>
                <a:spcPts val="0"/>
              </a:spcAft>
              <a:buClr>
                <a:schemeClr val="dk1"/>
              </a:buClr>
              <a:buSzPts val="2400"/>
              <a:buFont typeface="Calibri"/>
              <a:buChar char="•"/>
              <a:defRPr sz="2400" b="0" i="0" u="none" strike="noStrike" cap="none">
                <a:solidFill>
                  <a:schemeClr val="dk1"/>
                </a:solidFill>
                <a:latin typeface="Calibri"/>
                <a:ea typeface="Calibri"/>
                <a:cs typeface="Calibri"/>
                <a:sym typeface="Calibri"/>
              </a:defRPr>
            </a:lvl3pPr>
            <a:lvl4pPr marL="1600200" marR="0" lvl="3" indent="-101600" algn="l" rtl="0">
              <a:spcBef>
                <a:spcPts val="400"/>
              </a:spcBef>
              <a:spcAft>
                <a:spcPts val="0"/>
              </a:spcAft>
              <a:buClr>
                <a:schemeClr val="dk1"/>
              </a:buClr>
              <a:buSzPts val="2000"/>
              <a:buFont typeface="Calibri"/>
              <a:buChar char="–"/>
              <a:defRPr sz="2000" b="0" i="0" u="none" strike="noStrike" cap="none">
                <a:solidFill>
                  <a:schemeClr val="dk1"/>
                </a:solidFill>
                <a:latin typeface="Calibri"/>
                <a:ea typeface="Calibri"/>
                <a:cs typeface="Calibri"/>
                <a:sym typeface="Calibri"/>
              </a:defRPr>
            </a:lvl4pPr>
            <a:lvl5pPr marL="2057400" marR="0" lvl="4" indent="-101600" algn="l" rtl="0">
              <a:spcBef>
                <a:spcPts val="400"/>
              </a:spcBef>
              <a:spcAft>
                <a:spcPts val="0"/>
              </a:spcAft>
              <a:buClr>
                <a:schemeClr val="dk1"/>
              </a:buClr>
              <a:buSzPts val="2000"/>
              <a:buFont typeface="Calibri"/>
              <a:buChar char="»"/>
              <a:defRPr sz="2000" b="0" i="0" u="none" strike="noStrike" cap="none">
                <a:solidFill>
                  <a:schemeClr val="dk1"/>
                </a:solidFill>
                <a:latin typeface="Calibri"/>
                <a:ea typeface="Calibri"/>
                <a:cs typeface="Calibri"/>
                <a:sym typeface="Calibri"/>
              </a:defRPr>
            </a:lvl5pPr>
            <a:lvl6pPr marL="2514600" marR="0" lvl="5" indent="-101600" algn="l" rtl="0">
              <a:spcBef>
                <a:spcPts val="400"/>
              </a:spcBef>
              <a:spcAft>
                <a:spcPts val="0"/>
              </a:spcAft>
              <a:buClr>
                <a:schemeClr val="dk1"/>
              </a:buClr>
              <a:buSzPts val="2000"/>
              <a:buFont typeface="Calibri"/>
              <a:buChar char="»"/>
              <a:defRPr sz="2000" b="0" i="0" u="none" strike="noStrike" cap="none">
                <a:solidFill>
                  <a:schemeClr val="dk1"/>
                </a:solidFill>
                <a:latin typeface="Calibri"/>
                <a:ea typeface="Calibri"/>
                <a:cs typeface="Calibri"/>
                <a:sym typeface="Calibri"/>
              </a:defRPr>
            </a:lvl6pPr>
            <a:lvl7pPr marL="2971800" marR="0" lvl="6" indent="-101600" algn="l" rtl="0">
              <a:spcBef>
                <a:spcPts val="400"/>
              </a:spcBef>
              <a:spcAft>
                <a:spcPts val="0"/>
              </a:spcAft>
              <a:buClr>
                <a:schemeClr val="dk1"/>
              </a:buClr>
              <a:buSzPts val="2000"/>
              <a:buFont typeface="Calibri"/>
              <a:buChar char="»"/>
              <a:defRPr sz="2000" b="0" i="0" u="none" strike="noStrike" cap="none">
                <a:solidFill>
                  <a:schemeClr val="dk1"/>
                </a:solidFill>
                <a:latin typeface="Calibri"/>
                <a:ea typeface="Calibri"/>
                <a:cs typeface="Calibri"/>
                <a:sym typeface="Calibri"/>
              </a:defRPr>
            </a:lvl7pPr>
            <a:lvl8pPr marL="3429000" marR="0" lvl="7" indent="-101600" algn="l" rtl="0">
              <a:spcBef>
                <a:spcPts val="400"/>
              </a:spcBef>
              <a:spcAft>
                <a:spcPts val="0"/>
              </a:spcAft>
              <a:buClr>
                <a:schemeClr val="dk1"/>
              </a:buClr>
              <a:buSzPts val="2000"/>
              <a:buFont typeface="Calibri"/>
              <a:buChar char="»"/>
              <a:defRPr sz="2000" b="0" i="0" u="none" strike="noStrike" cap="none">
                <a:solidFill>
                  <a:schemeClr val="dk1"/>
                </a:solidFill>
                <a:latin typeface="Calibri"/>
                <a:ea typeface="Calibri"/>
                <a:cs typeface="Calibri"/>
                <a:sym typeface="Calibri"/>
              </a:defRPr>
            </a:lvl8pPr>
            <a:lvl9pPr marL="3886200" marR="0" lvl="8" indent="-101600" algn="l" rtl="0">
              <a:spcBef>
                <a:spcPts val="400"/>
              </a:spcBef>
              <a:spcAft>
                <a:spcPts val="0"/>
              </a:spcAft>
              <a:buClr>
                <a:schemeClr val="dk1"/>
              </a:buClr>
              <a:buSzPts val="2000"/>
              <a:buFont typeface="Calibri"/>
              <a:buChar char="»"/>
              <a:defRPr sz="20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71913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5831937"/>
            <a:ext cx="2195259" cy="247650"/>
          </a:xfrm>
        </p:spPr>
        <p:txBody>
          <a:bodyPr rIns="0" anchor="ctr">
            <a:noAutofit/>
          </a:bodyPr>
          <a:lstStyle>
            <a:lvl1pPr algn="ctr">
              <a:defRPr sz="1600" b="1" spc="0" baseline="0">
                <a:solidFill>
                  <a:schemeClr val="bg1"/>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pic>
        <p:nvPicPr>
          <p:cNvPr id="5" name="Picture 4">
            <a:extLst>
              <a:ext uri="{FF2B5EF4-FFF2-40B4-BE49-F238E27FC236}">
                <a16:creationId xmlns:a16="http://schemas.microsoft.com/office/drawing/2014/main" id="{21E219EE-E5DE-4728-BDA0-C560E0EA4E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Tree>
    <p:extLst>
      <p:ext uri="{BB962C8B-B14F-4D97-AF65-F5344CB8AC3E}">
        <p14:creationId xmlns:p14="http://schemas.microsoft.com/office/powerpoint/2010/main" val="3446629133"/>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fld id="{DCD9F9BF-D269-4020-816F-460E917B7A74}" type="datetime1">
              <a:rPr lang="en-GB" noProof="0" smtClean="0"/>
              <a:t>27/11/2022</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7319460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39CDCE64-EE06-4559-BA59-FD6059702EC4}"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68267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3588635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035824F7-C870-482C-80C0-AFECF2DA260C}"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7314264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BB6CCEC-3D0A-48BE-9958-590F11C39C0A}" type="datetime1">
              <a:rPr lang="en-GB" noProof="0" smtClean="0"/>
              <a:t>27/11/2022</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3288766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414CCF51-8078-42ED-9407-7F055975162E}" type="datetime1">
              <a:rPr lang="en-GB" noProof="0" smtClean="0"/>
              <a:t>27/11/2022</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818169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5CB8422-2CBD-43EC-AF21-8B33A2ACAA82}" type="datetime1">
              <a:rPr lang="en-GB" noProof="0" smtClean="0"/>
              <a:t>27/11/2022</a:t>
            </a:fld>
            <a:endParaRPr lang="en-GB" noProof="0"/>
          </a:p>
        </p:txBody>
      </p:sp>
      <p:sp>
        <p:nvSpPr>
          <p:cNvPr id="9" name="Footer Placeholder 8"/>
          <p:cNvSpPr>
            <a:spLocks noGrp="1"/>
          </p:cNvSpPr>
          <p:nvPr>
            <p:ph type="ftr" sz="quarter" idx="19"/>
          </p:nvPr>
        </p:nvSpPr>
        <p:spPr bwMode="invGray"/>
        <p:txBody>
          <a:bodyPr/>
          <a:lstStyle/>
          <a:p>
            <a:r>
              <a:rPr lang="en-GB" noProof="0"/>
              <a:t>|     Title of the presentation</a:t>
            </a:r>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69544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6C135116-9A9A-47DA-A114-676E0C1FD8BF}" type="datetime1">
              <a:rPr lang="en-GB" noProof="0" smtClean="0"/>
              <a:t>27/11/2022</a:t>
            </a:fld>
            <a:endParaRPr lang="en-GB" noProof="0"/>
          </a:p>
        </p:txBody>
      </p:sp>
      <p:sp>
        <p:nvSpPr>
          <p:cNvPr id="4" name="Footer Placeholder 3"/>
          <p:cNvSpPr>
            <a:spLocks noGrp="1"/>
          </p:cNvSpPr>
          <p:nvPr>
            <p:ph type="ftr" sz="quarter" idx="19"/>
          </p:nvPr>
        </p:nvSpPr>
        <p:spPr bwMode="invGray"/>
        <p:txBody>
          <a:bodyPr/>
          <a:lstStyle/>
          <a:p>
            <a:r>
              <a:rPr lang="en-GB" noProof="0"/>
              <a:t>|     Title of the presentation</a:t>
            </a:r>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697155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10;&#10;Description automatically generated">
            <a:extLst>
              <a:ext uri="{FF2B5EF4-FFF2-40B4-BE49-F238E27FC236}">
                <a16:creationId xmlns:a16="http://schemas.microsoft.com/office/drawing/2014/main" id="{73800FA6-FC7C-AB42-A87D-12B4DF670B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101" y="5621317"/>
            <a:ext cx="1933200" cy="1045911"/>
          </a:xfrm>
          <a:prstGeom prst="rect">
            <a:avLst/>
          </a:prstGeom>
        </p:spPr>
      </p:pic>
    </p:spTree>
    <p:extLst>
      <p:ext uri="{BB962C8B-B14F-4D97-AF65-F5344CB8AC3E}">
        <p14:creationId xmlns:p14="http://schemas.microsoft.com/office/powerpoint/2010/main" val="33889127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AD0CC27D-0020-48D4-9B6C-9E6EA0640D93}" type="datetime1">
              <a:rPr lang="en-GB" smtClean="0"/>
              <a:pPr/>
              <a:t>27/11/2022</a:t>
            </a:fld>
            <a:endParaRPr lang="en-GB"/>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3728046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68D69CF-73BC-4E26-B56A-FEC2ABB77ED4}" type="datetime1">
              <a:rPr lang="en-GB" smtClean="0"/>
              <a:pPr/>
              <a:t>27/11/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pic>
        <p:nvPicPr>
          <p:cNvPr id="6" name="Picture 5" descr="A close up of a logo&#10;&#10;Description generated with very high confidence">
            <a:extLst>
              <a:ext uri="{FF2B5EF4-FFF2-40B4-BE49-F238E27FC236}">
                <a16:creationId xmlns:a16="http://schemas.microsoft.com/office/drawing/2014/main" id="{1A555B8F-61D1-4F56-9940-B2CD66E4F6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28632" y="384048"/>
            <a:ext cx="1974941" cy="694887"/>
          </a:xfrm>
          <a:prstGeom prst="rect">
            <a:avLst/>
          </a:prstGeom>
        </p:spPr>
      </p:pic>
    </p:spTree>
    <p:extLst>
      <p:ext uri="{BB962C8B-B14F-4D97-AF65-F5344CB8AC3E}">
        <p14:creationId xmlns:p14="http://schemas.microsoft.com/office/powerpoint/2010/main" val="22593757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99262F6C-3198-4C0D-9FD3-A522B66D4040}" type="datetime1">
              <a:rPr lang="en-GB" smtClean="0"/>
              <a:pPr/>
              <a:t>27/11/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GB"/>
              <a:t>|     Title of the presentation</a:t>
            </a:r>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4524739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BA931E1-7FC2-4DBD-9F66-3D1575A3F79C}" type="datetime1">
              <a:rPr lang="en-GB" smtClean="0"/>
              <a:pPr/>
              <a:t>27/11/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GB"/>
              <a:t>|     Title of the presentation</a:t>
            </a: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0029202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euro.who.int</a:t>
            </a:r>
          </a:p>
        </p:txBody>
      </p:sp>
    </p:spTree>
    <p:extLst>
      <p:ext uri="{BB962C8B-B14F-4D97-AF65-F5344CB8AC3E}">
        <p14:creationId xmlns:p14="http://schemas.microsoft.com/office/powerpoint/2010/main" val="6597037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pic>
        <p:nvPicPr>
          <p:cNvPr id="2" name="Picture 2" descr="WHO-EN-white-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4799" y="5445508"/>
            <a:ext cx="4302313" cy="1049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89850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43321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908" y="4407378"/>
            <a:ext cx="10363924" cy="1362097"/>
          </a:xfrm>
        </p:spPr>
        <p:txBody>
          <a:bodyPr anchor="t"/>
          <a:lstStyle>
            <a:lvl1pPr algn="l">
              <a:defRPr sz="3628" b="1" cap="all"/>
            </a:lvl1pPr>
          </a:lstStyle>
          <a:p>
            <a:r>
              <a:rPr lang="en-US"/>
              <a:t>Click to edit Master title style</a:t>
            </a:r>
          </a:p>
        </p:txBody>
      </p:sp>
      <p:sp>
        <p:nvSpPr>
          <p:cNvPr id="3" name="Text Placeholder 2"/>
          <p:cNvSpPr>
            <a:spLocks noGrp="1"/>
          </p:cNvSpPr>
          <p:nvPr>
            <p:ph type="body" idx="1"/>
          </p:nvPr>
        </p:nvSpPr>
        <p:spPr>
          <a:xfrm>
            <a:off x="962908" y="2907056"/>
            <a:ext cx="10363924" cy="1500322"/>
          </a:xfrm>
        </p:spPr>
        <p:txBody>
          <a:bodyPr anchor="b"/>
          <a:lstStyle>
            <a:lvl1pPr marL="0" indent="0">
              <a:buNone/>
              <a:defRPr sz="1814"/>
            </a:lvl1pPr>
            <a:lvl2pPr marL="414680" indent="0">
              <a:buNone/>
              <a:defRPr sz="1633"/>
            </a:lvl2pPr>
            <a:lvl3pPr marL="829361" indent="0">
              <a:buNone/>
              <a:defRPr sz="1451"/>
            </a:lvl3pPr>
            <a:lvl4pPr marL="1244041" indent="0">
              <a:buNone/>
              <a:defRPr sz="1270"/>
            </a:lvl4pPr>
            <a:lvl5pPr marL="1658722" indent="0">
              <a:buNone/>
              <a:defRPr sz="1270"/>
            </a:lvl5pPr>
            <a:lvl6pPr marL="2073402" indent="0">
              <a:buNone/>
              <a:defRPr sz="1270"/>
            </a:lvl6pPr>
            <a:lvl7pPr marL="2488082" indent="0">
              <a:buNone/>
              <a:defRPr sz="1270"/>
            </a:lvl7pPr>
            <a:lvl8pPr marL="2902763" indent="0">
              <a:buNone/>
              <a:defRPr sz="1270"/>
            </a:lvl8pPr>
            <a:lvl9pPr marL="3317443" indent="0">
              <a:buNone/>
              <a:defRPr sz="1270"/>
            </a:lvl9pPr>
          </a:lstStyle>
          <a:p>
            <a:pPr lvl="0"/>
            <a:r>
              <a:rPr lang="en-US"/>
              <a:t>Edit Master text styles</a:t>
            </a:r>
          </a:p>
        </p:txBody>
      </p:sp>
    </p:spTree>
    <p:extLst>
      <p:ext uri="{BB962C8B-B14F-4D97-AF65-F5344CB8AC3E}">
        <p14:creationId xmlns:p14="http://schemas.microsoft.com/office/powerpoint/2010/main" val="3767020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90053" y="1380815"/>
            <a:ext cx="5440789" cy="4611835"/>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4599" y="1380815"/>
            <a:ext cx="5440789" cy="4611835"/>
          </a:xfrm>
        </p:spPr>
        <p:txBody>
          <a:bodyPr/>
          <a:lstStyle>
            <a:lvl1pPr>
              <a:defRPr sz="2540"/>
            </a:lvl1pPr>
            <a:lvl2pPr>
              <a:defRPr sz="2177"/>
            </a:lvl2pPr>
            <a:lvl3pPr>
              <a:defRPr sz="1814"/>
            </a:lvl3pPr>
            <a:lvl4pPr>
              <a:defRPr sz="1633"/>
            </a:lvl4pPr>
            <a:lvl5pPr>
              <a:defRPr sz="1633"/>
            </a:lvl5pPr>
            <a:lvl6pPr>
              <a:defRPr sz="1633"/>
            </a:lvl6pPr>
            <a:lvl7pPr>
              <a:defRPr sz="1633"/>
            </a:lvl7pPr>
            <a:lvl8pPr>
              <a:defRPr sz="1633"/>
            </a:lvl8pPr>
            <a:lvl9pPr>
              <a:defRPr sz="16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50426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63" y="275012"/>
            <a:ext cx="10972076"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63" y="1534879"/>
            <a:ext cx="5386489"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4" name="Content Placeholder 3"/>
          <p:cNvSpPr>
            <a:spLocks noGrp="1"/>
          </p:cNvSpPr>
          <p:nvPr>
            <p:ph sz="half" idx="2"/>
          </p:nvPr>
        </p:nvSpPr>
        <p:spPr>
          <a:xfrm>
            <a:off x="609963" y="2174172"/>
            <a:ext cx="5386489"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739" y="1534879"/>
            <a:ext cx="5388300" cy="6392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6" name="Content Placeholder 5"/>
          <p:cNvSpPr>
            <a:spLocks noGrp="1"/>
          </p:cNvSpPr>
          <p:nvPr>
            <p:ph sz="quarter" idx="4"/>
          </p:nvPr>
        </p:nvSpPr>
        <p:spPr>
          <a:xfrm>
            <a:off x="6193739" y="2174172"/>
            <a:ext cx="5388300" cy="3952385"/>
          </a:xfrm>
        </p:spPr>
        <p:txBody>
          <a:bodyPr/>
          <a:lstStyle>
            <a:lvl1pPr>
              <a:defRPr sz="2177"/>
            </a:lvl1pPr>
            <a:lvl2pPr>
              <a:defRPr sz="1814"/>
            </a:lvl2pPr>
            <a:lvl3pPr>
              <a:defRPr sz="1633"/>
            </a:lvl3pPr>
            <a:lvl4pPr>
              <a:defRPr sz="1451"/>
            </a:lvl4pPr>
            <a:lvl5pPr>
              <a:defRPr sz="1451"/>
            </a:lvl5pPr>
            <a:lvl6pPr>
              <a:defRPr sz="1451"/>
            </a:lvl6pPr>
            <a:lvl7pPr>
              <a:defRPr sz="1451"/>
            </a:lvl7pPr>
            <a:lvl8pPr>
              <a:defRPr sz="1451"/>
            </a:lvl8pPr>
            <a:lvl9pPr>
              <a:defRPr sz="145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7978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Section Header_photo">
    <p:bg>
      <p:bgPr>
        <a:solidFill>
          <a:srgbClr val="00205C"/>
        </a:solidFill>
        <a:effectLst/>
      </p:bgPr>
    </p:bg>
    <p:spTree>
      <p:nvGrpSpPr>
        <p:cNvPr id="1" name=""/>
        <p:cNvGrpSpPr/>
        <p:nvPr/>
      </p:nvGrpSpPr>
      <p:grpSpPr>
        <a:xfrm>
          <a:off x="0" y="0"/>
          <a:ext cx="0" cy="0"/>
          <a:chOff x="0" y="0"/>
          <a:chExt cx="0" cy="0"/>
        </a:xfrm>
      </p:grpSpPr>
      <p:pic>
        <p:nvPicPr>
          <p:cNvPr id="13" name="Picture 12" descr="A close-up of a baby's hand&#10;&#10;Description automatically generated with medium confidence">
            <a:extLst>
              <a:ext uri="{FF2B5EF4-FFF2-40B4-BE49-F238E27FC236}">
                <a16:creationId xmlns:a16="http://schemas.microsoft.com/office/drawing/2014/main" id="{B8D41AEF-EA26-8C49-899F-93C4E7FB5E1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graphical user interface&#10;&#10;Description automatically generated">
            <a:extLst>
              <a:ext uri="{FF2B5EF4-FFF2-40B4-BE49-F238E27FC236}">
                <a16:creationId xmlns:a16="http://schemas.microsoft.com/office/drawing/2014/main" id="{F8E01F7A-65E8-CD47-B9F0-D4191CB2525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17600" y="5619600"/>
            <a:ext cx="1931670" cy="1055336"/>
          </a:xfrm>
          <a:prstGeom prst="rect">
            <a:avLst/>
          </a:prstGeom>
        </p:spPr>
      </p:pic>
    </p:spTree>
    <p:extLst>
      <p:ext uri="{BB962C8B-B14F-4D97-AF65-F5344CB8AC3E}">
        <p14:creationId xmlns:p14="http://schemas.microsoft.com/office/powerpoint/2010/main" val="205305329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612844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00239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63" y="273572"/>
            <a:ext cx="4010907" cy="1161958"/>
          </a:xfrm>
        </p:spPr>
        <p:txBody>
          <a:bodyPr anchor="b"/>
          <a:lstStyle>
            <a:lvl1pPr algn="l">
              <a:defRPr sz="1814" b="1"/>
            </a:lvl1pPr>
          </a:lstStyle>
          <a:p>
            <a:r>
              <a:rPr lang="en-US"/>
              <a:t>Click to edit Master title style</a:t>
            </a:r>
          </a:p>
        </p:txBody>
      </p:sp>
      <p:sp>
        <p:nvSpPr>
          <p:cNvPr id="3" name="Content Placeholder 2"/>
          <p:cNvSpPr>
            <a:spLocks noGrp="1"/>
          </p:cNvSpPr>
          <p:nvPr>
            <p:ph idx="1"/>
          </p:nvPr>
        </p:nvSpPr>
        <p:spPr>
          <a:xfrm>
            <a:off x="4767478" y="273571"/>
            <a:ext cx="6814561" cy="5852986"/>
          </a:xfrm>
        </p:spPr>
        <p:txBody>
          <a:bodyPr/>
          <a:lstStyle>
            <a:lvl1pPr>
              <a:defRPr sz="2902"/>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963" y="1435530"/>
            <a:ext cx="4010907" cy="4691027"/>
          </a:xfrm>
        </p:spPr>
        <p:txBody>
          <a:bodyPr/>
          <a:lstStyle>
            <a:lvl1pPr marL="0" indent="0">
              <a:buNone/>
              <a:defRPr sz="1270"/>
            </a:lvl1pPr>
            <a:lvl2pPr marL="414680" indent="0">
              <a:buNone/>
              <a:defRPr sz="1088"/>
            </a:lvl2pPr>
            <a:lvl3pPr marL="829361" indent="0">
              <a:buNone/>
              <a:defRPr sz="907"/>
            </a:lvl3pPr>
            <a:lvl4pPr marL="1244041" indent="0">
              <a:buNone/>
              <a:defRPr sz="816"/>
            </a:lvl4pPr>
            <a:lvl5pPr marL="1658722" indent="0">
              <a:buNone/>
              <a:defRPr sz="816"/>
            </a:lvl5pPr>
            <a:lvl6pPr marL="2073402" indent="0">
              <a:buNone/>
              <a:defRPr sz="816"/>
            </a:lvl6pPr>
            <a:lvl7pPr marL="2488082" indent="0">
              <a:buNone/>
              <a:defRPr sz="816"/>
            </a:lvl7pPr>
            <a:lvl8pPr marL="2902763" indent="0">
              <a:buNone/>
              <a:defRPr sz="816"/>
            </a:lvl8pPr>
            <a:lvl9pPr marL="3317443" indent="0">
              <a:buNone/>
              <a:defRPr sz="816"/>
            </a:lvl9pPr>
          </a:lstStyle>
          <a:p>
            <a:pPr lvl="0"/>
            <a:r>
              <a:rPr lang="en-US"/>
              <a:t>Edit Master text styles</a:t>
            </a:r>
          </a:p>
        </p:txBody>
      </p:sp>
    </p:spTree>
    <p:extLst>
      <p:ext uri="{BB962C8B-B14F-4D97-AF65-F5344CB8AC3E}">
        <p14:creationId xmlns:p14="http://schemas.microsoft.com/office/powerpoint/2010/main" val="10070415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69" y="4800456"/>
            <a:ext cx="7315924" cy="567300"/>
          </a:xfrm>
        </p:spPr>
        <p:txBody>
          <a:bodyPr anchor="b"/>
          <a:lstStyle>
            <a:lvl1pPr algn="l">
              <a:defRPr sz="1814" b="1"/>
            </a:lvl1pPr>
          </a:lstStyle>
          <a:p>
            <a:r>
              <a:rPr lang="en-US"/>
              <a:t>Click to edit Master title style</a:t>
            </a:r>
          </a:p>
        </p:txBody>
      </p:sp>
      <p:sp>
        <p:nvSpPr>
          <p:cNvPr id="3" name="Picture Placeholder 2"/>
          <p:cNvSpPr>
            <a:spLocks noGrp="1"/>
          </p:cNvSpPr>
          <p:nvPr>
            <p:ph type="pic" idx="1"/>
          </p:nvPr>
        </p:nvSpPr>
        <p:spPr>
          <a:xfrm>
            <a:off x="2389169" y="613376"/>
            <a:ext cx="7315924" cy="4113648"/>
          </a:xfrm>
        </p:spPr>
        <p:txBody>
          <a:bodyPr/>
          <a:lstStyle>
            <a:lvl1pPr marL="0" indent="0">
              <a:buNone/>
              <a:defRPr sz="2902"/>
            </a:lvl1pPr>
            <a:lvl2pPr marL="414680" indent="0">
              <a:buNone/>
              <a:defRPr sz="2540"/>
            </a:lvl2pPr>
            <a:lvl3pPr marL="829361" indent="0">
              <a:buNone/>
              <a:defRPr sz="2177"/>
            </a:lvl3pPr>
            <a:lvl4pPr marL="1244041" indent="0">
              <a:buNone/>
              <a:defRPr sz="1814"/>
            </a:lvl4pPr>
            <a:lvl5pPr marL="1658722" indent="0">
              <a:buNone/>
              <a:defRPr sz="1814"/>
            </a:lvl5pPr>
            <a:lvl6pPr marL="2073402" indent="0">
              <a:buNone/>
              <a:defRPr sz="1814"/>
            </a:lvl6pPr>
            <a:lvl7pPr marL="2488082" indent="0">
              <a:buNone/>
              <a:defRPr sz="1814"/>
            </a:lvl7pPr>
            <a:lvl8pPr marL="2902763" indent="0">
              <a:buNone/>
              <a:defRPr sz="1814"/>
            </a:lvl8pPr>
            <a:lvl9pPr marL="3317443" indent="0">
              <a:buNone/>
              <a:defRPr sz="1814"/>
            </a:lvl9pPr>
          </a:lstStyle>
          <a:p>
            <a:pPr lvl="0"/>
            <a:r>
              <a:rPr lang="en-US" noProof="0"/>
              <a:t>Click icon to add picture</a:t>
            </a:r>
          </a:p>
        </p:txBody>
      </p:sp>
      <p:sp>
        <p:nvSpPr>
          <p:cNvPr id="4" name="Text Placeholder 3"/>
          <p:cNvSpPr>
            <a:spLocks noGrp="1"/>
          </p:cNvSpPr>
          <p:nvPr>
            <p:ph type="body" sz="half" idx="2"/>
          </p:nvPr>
        </p:nvSpPr>
        <p:spPr>
          <a:xfrm>
            <a:off x="2389169" y="5367757"/>
            <a:ext cx="7315924" cy="804876"/>
          </a:xfrm>
        </p:spPr>
        <p:txBody>
          <a:bodyPr/>
          <a:lstStyle>
            <a:lvl1pPr marL="0" indent="0">
              <a:buNone/>
              <a:defRPr sz="1270"/>
            </a:lvl1pPr>
            <a:lvl2pPr marL="414680" indent="0">
              <a:buNone/>
              <a:defRPr sz="1088"/>
            </a:lvl2pPr>
            <a:lvl3pPr marL="829361" indent="0">
              <a:buNone/>
              <a:defRPr sz="907"/>
            </a:lvl3pPr>
            <a:lvl4pPr marL="1244041" indent="0">
              <a:buNone/>
              <a:defRPr sz="816"/>
            </a:lvl4pPr>
            <a:lvl5pPr marL="1658722" indent="0">
              <a:buNone/>
              <a:defRPr sz="816"/>
            </a:lvl5pPr>
            <a:lvl6pPr marL="2073402" indent="0">
              <a:buNone/>
              <a:defRPr sz="816"/>
            </a:lvl6pPr>
            <a:lvl7pPr marL="2488082" indent="0">
              <a:buNone/>
              <a:defRPr sz="816"/>
            </a:lvl7pPr>
            <a:lvl8pPr marL="2902763" indent="0">
              <a:buNone/>
              <a:defRPr sz="816"/>
            </a:lvl8pPr>
            <a:lvl9pPr marL="3317443" indent="0">
              <a:buNone/>
              <a:defRPr sz="816"/>
            </a:lvl9pPr>
          </a:lstStyle>
          <a:p>
            <a:pPr lvl="0"/>
            <a:r>
              <a:rPr lang="en-US"/>
              <a:t>Edit Master text styles</a:t>
            </a:r>
          </a:p>
        </p:txBody>
      </p:sp>
    </p:spTree>
    <p:extLst>
      <p:ext uri="{BB962C8B-B14F-4D97-AF65-F5344CB8AC3E}">
        <p14:creationId xmlns:p14="http://schemas.microsoft.com/office/powerpoint/2010/main" val="19868482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41292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1"/>
            <a:ext cx="3048000" cy="59926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8970242" cy="59926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56846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238270"/>
          </a:xfrm>
        </p:spPr>
        <p:txBody>
          <a:bodyPr/>
          <a:lstStyle/>
          <a:p>
            <a:r>
              <a:rPr lang="en-US"/>
              <a:t>Click to edit Master title style</a:t>
            </a:r>
          </a:p>
        </p:txBody>
      </p:sp>
      <p:sp>
        <p:nvSpPr>
          <p:cNvPr id="3" name="Table Placeholder 2"/>
          <p:cNvSpPr>
            <a:spLocks noGrp="1"/>
          </p:cNvSpPr>
          <p:nvPr>
            <p:ph type="tbl" idx="1"/>
          </p:nvPr>
        </p:nvSpPr>
        <p:spPr>
          <a:xfrm>
            <a:off x="590052" y="1380815"/>
            <a:ext cx="11055335" cy="4611835"/>
          </a:xfrm>
        </p:spPr>
        <p:txBody>
          <a:bodyPr/>
          <a:lstStyle/>
          <a:p>
            <a:pPr lvl="0"/>
            <a:r>
              <a:rPr lang="en-US" noProof="0"/>
              <a:t>Click icon to add table</a:t>
            </a:r>
          </a:p>
        </p:txBody>
      </p:sp>
    </p:spTree>
    <p:extLst>
      <p:ext uri="{BB962C8B-B14F-4D97-AF65-F5344CB8AC3E}">
        <p14:creationId xmlns:p14="http://schemas.microsoft.com/office/powerpoint/2010/main" val="21865902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1"/>
            <a:ext cx="12192000" cy="59926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08107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4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a:t>[TITLE]</a:t>
            </a:r>
            <a:endParaRPr lang="en-GB"/>
          </a:p>
        </p:txBody>
      </p:sp>
      <p:sp>
        <p:nvSpPr>
          <p:cNvPr id="4" name="Content Placeholder 3"/>
          <p:cNvSpPr>
            <a:spLocks noGrp="1"/>
          </p:cNvSpPr>
          <p:nvPr>
            <p:ph sz="half" idx="2"/>
          </p:nvPr>
        </p:nvSpPr>
        <p:spPr>
          <a:xfrm>
            <a:off x="541167" y="1600203"/>
            <a:ext cx="11041080" cy="2263140"/>
          </a:xfrm>
        </p:spPr>
        <p:txBody>
          <a:bodyPr/>
          <a:lstStyle>
            <a:lvl1pPr>
              <a:defRPr sz="1100"/>
            </a:lvl1pPr>
            <a:lvl2pPr>
              <a:defRPr sz="1100"/>
            </a:lvl2pPr>
            <a:lvl3pPr>
              <a:defRPr sz="900"/>
            </a:lvl3pPr>
            <a:lvl4pPr>
              <a:defRPr sz="800"/>
            </a:lvl4pPr>
            <a:lvl5pPr>
              <a:defRPr sz="800"/>
            </a:lvl5pPr>
            <a:lvl6pPr>
              <a:defRPr sz="800"/>
            </a:lvl6pPr>
            <a:lvl7pPr>
              <a:defRPr sz="800"/>
            </a:lvl7pPr>
            <a:lvl8pPr>
              <a:defRPr sz="800"/>
            </a:lvl8pPr>
            <a:lvl9pPr>
              <a:defRPr sz="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3"/>
          <p:cNvSpPr>
            <a:spLocks noGrp="1"/>
          </p:cNvSpPr>
          <p:nvPr>
            <p:ph sz="half" idx="10"/>
          </p:nvPr>
        </p:nvSpPr>
        <p:spPr>
          <a:xfrm>
            <a:off x="536720" y="3939545"/>
            <a:ext cx="11041080" cy="2263140"/>
          </a:xfrm>
        </p:spPr>
        <p:txBody>
          <a:bodyPr/>
          <a:lstStyle>
            <a:lvl1pPr>
              <a:defRPr sz="1100"/>
            </a:lvl1pPr>
            <a:lvl2pPr>
              <a:defRPr sz="1100"/>
            </a:lvl2pPr>
            <a:lvl3pPr>
              <a:defRPr sz="900"/>
            </a:lvl3pPr>
            <a:lvl4pPr>
              <a:defRPr sz="800"/>
            </a:lvl4pPr>
            <a:lvl5pPr>
              <a:defRPr sz="800"/>
            </a:lvl5pPr>
            <a:lvl6pPr>
              <a:defRPr sz="800"/>
            </a:lvl6pPr>
            <a:lvl7pPr>
              <a:defRPr sz="800"/>
            </a:lvl7pPr>
            <a:lvl8pPr>
              <a:defRPr sz="800"/>
            </a:lvl8pPr>
            <a:lvl9pPr>
              <a:defRPr sz="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997658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C8326CA-719A-4EF5-8682-E21B22120383}"/>
              </a:ext>
            </a:extLst>
          </p:cNvPr>
          <p:cNvSpPr/>
          <p:nvPr userDrawn="1"/>
        </p:nvSpPr>
        <p:spPr bwMode="auto">
          <a:xfrm>
            <a:off x="0" y="1014153"/>
            <a:ext cx="12192000" cy="432262"/>
          </a:xfrm>
          <a:prstGeom prst="rect">
            <a:avLst/>
          </a:prstGeom>
          <a:solidFill>
            <a:schemeClr val="bg1"/>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104306" tIns="52153" rIns="104306" bIns="52153" numCol="1" rtlCol="0" anchor="t" anchorCtr="0" compatLnSpc="1">
            <a:prstTxWarp prst="textNoShape">
              <a:avLst/>
            </a:prstTxWarp>
            <a:spAutoFit/>
          </a:bodyPr>
          <a:lstStyle/>
          <a:p>
            <a:pPr marL="0" marR="0" indent="0" algn="ctr" defTabSz="1042988" rtl="0" eaLnBrk="1" fontAlgn="base" latinLnBrk="0" hangingPunct="1">
              <a:lnSpc>
                <a:spcPct val="100000"/>
              </a:lnSpc>
              <a:spcBef>
                <a:spcPct val="50000"/>
              </a:spcBef>
              <a:spcAft>
                <a:spcPct val="0"/>
              </a:spcAft>
              <a:buClrTx/>
              <a:buSzTx/>
              <a:buFontTx/>
              <a:buNone/>
              <a:tabLst/>
            </a:pPr>
            <a:endParaRPr kumimoji="0" lang="en-US" sz="2700" b="0" i="0" u="none" strike="noStrike" cap="none" normalizeH="0" baseline="0">
              <a:ln>
                <a:noFill/>
              </a:ln>
              <a:solidFill>
                <a:schemeClr val="tx1"/>
              </a:solidFill>
              <a:effectLst/>
              <a:latin typeface="Times New Roman" pitchFamily="18" charset="0"/>
              <a:cs typeface="Arial" charset="0"/>
            </a:endParaRPr>
          </a:p>
        </p:txBody>
      </p:sp>
    </p:spTree>
    <p:extLst>
      <p:ext uri="{BB962C8B-B14F-4D97-AF65-F5344CB8AC3E}">
        <p14:creationId xmlns:p14="http://schemas.microsoft.com/office/powerpoint/2010/main" val="181573940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69.xml"/><Relationship Id="rId18" Type="http://schemas.openxmlformats.org/officeDocument/2006/relationships/tags" Target="../tags/tag149.xml"/><Relationship Id="rId26" Type="http://schemas.openxmlformats.org/officeDocument/2006/relationships/tags" Target="../tags/tag157.xml"/><Relationship Id="rId39" Type="http://schemas.openxmlformats.org/officeDocument/2006/relationships/image" Target="../media/image17.emf"/><Relationship Id="rId21" Type="http://schemas.openxmlformats.org/officeDocument/2006/relationships/tags" Target="../tags/tag152.xml"/><Relationship Id="rId34" Type="http://schemas.openxmlformats.org/officeDocument/2006/relationships/tags" Target="../tags/tag165.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theme" Target="../theme/theme10.xml"/><Relationship Id="rId25" Type="http://schemas.openxmlformats.org/officeDocument/2006/relationships/tags" Target="../tags/tag156.xml"/><Relationship Id="rId33" Type="http://schemas.openxmlformats.org/officeDocument/2006/relationships/tags" Target="../tags/tag164.xml"/><Relationship Id="rId38" Type="http://schemas.openxmlformats.org/officeDocument/2006/relationships/oleObject" Target="../embeddings/oleObject22.bin"/><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tags" Target="../tags/tag151.xml"/><Relationship Id="rId29" Type="http://schemas.openxmlformats.org/officeDocument/2006/relationships/tags" Target="../tags/tag160.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tags" Target="../tags/tag155.xml"/><Relationship Id="rId32" Type="http://schemas.openxmlformats.org/officeDocument/2006/relationships/tags" Target="../tags/tag163.xml"/><Relationship Id="rId37" Type="http://schemas.openxmlformats.org/officeDocument/2006/relationships/tags" Target="../tags/tag168.xml"/><Relationship Id="rId40" Type="http://schemas.openxmlformats.org/officeDocument/2006/relationships/image" Target="../media/image16.png"/><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tags" Target="../tags/tag154.xml"/><Relationship Id="rId28" Type="http://schemas.openxmlformats.org/officeDocument/2006/relationships/tags" Target="../tags/tag159.xml"/><Relationship Id="rId36" Type="http://schemas.openxmlformats.org/officeDocument/2006/relationships/tags" Target="../tags/tag167.xml"/><Relationship Id="rId10" Type="http://schemas.openxmlformats.org/officeDocument/2006/relationships/slideLayout" Target="../slideLayouts/slideLayout166.xml"/><Relationship Id="rId19" Type="http://schemas.openxmlformats.org/officeDocument/2006/relationships/tags" Target="../tags/tag150.xml"/><Relationship Id="rId31" Type="http://schemas.openxmlformats.org/officeDocument/2006/relationships/tags" Target="../tags/tag162.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tags" Target="../tags/tag166.xml"/><Relationship Id="rId8" Type="http://schemas.openxmlformats.org/officeDocument/2006/relationships/slideLayout" Target="../slideLayouts/slideLayout164.xml"/><Relationship Id="rId3" Type="http://schemas.openxmlformats.org/officeDocument/2006/relationships/slideLayout" Target="../slideLayouts/slideLayout1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20.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19.png"/><Relationship Id="rId2" Type="http://schemas.openxmlformats.org/officeDocument/2006/relationships/slideLayout" Target="../slideLayouts/slideLayout42.xml"/><Relationship Id="rId16"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20.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image" Target="../media/image23.png"/><Relationship Id="rId2" Type="http://schemas.openxmlformats.org/officeDocument/2006/relationships/slideLayout" Target="../slideLayouts/slideLayout57.xml"/><Relationship Id="rId16" Type="http://schemas.openxmlformats.org/officeDocument/2006/relationships/theme" Target="../theme/theme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image" Target="../media/image20.png"/><Relationship Id="rId2" Type="http://schemas.openxmlformats.org/officeDocument/2006/relationships/slideLayout" Target="../slideLayouts/slideLayout72.xml"/><Relationship Id="rId16" Type="http://schemas.openxmlformats.org/officeDocument/2006/relationships/image" Target="../media/image23.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4.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image" Target="../media/image24.wmf"/><Relationship Id="rId2" Type="http://schemas.openxmlformats.org/officeDocument/2006/relationships/slideLayout" Target="../slideLayouts/slideLayout86.xml"/><Relationship Id="rId16" Type="http://schemas.openxmlformats.org/officeDocument/2006/relationships/theme" Target="../theme/theme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25.jpeg"/><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image" Target="../media/image20.png"/><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image" Target="../media/image27.png"/><Relationship Id="rId2" Type="http://schemas.openxmlformats.org/officeDocument/2006/relationships/slideLayout" Target="../slideLayouts/slideLayout127.xml"/><Relationship Id="rId16" Type="http://schemas.openxmlformats.org/officeDocument/2006/relationships/theme" Target="../theme/theme8.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tags" Target="../tags/tag28.xml"/><Relationship Id="rId26" Type="http://schemas.openxmlformats.org/officeDocument/2006/relationships/tags" Target="../tags/tag36.xml"/><Relationship Id="rId39" Type="http://schemas.openxmlformats.org/officeDocument/2006/relationships/image" Target="../media/image17.emf"/><Relationship Id="rId21" Type="http://schemas.openxmlformats.org/officeDocument/2006/relationships/tags" Target="../tags/tag31.xml"/><Relationship Id="rId34" Type="http://schemas.openxmlformats.org/officeDocument/2006/relationships/tags" Target="../tags/tag44.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theme" Target="../theme/theme9.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oleObject" Target="../embeddings/oleObject5.bin"/><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ags" Target="../tags/tag30.xml"/><Relationship Id="rId29" Type="http://schemas.openxmlformats.org/officeDocument/2006/relationships/tags" Target="../tags/tag39.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tags" Target="../tags/tag47.xml"/><Relationship Id="rId40" Type="http://schemas.openxmlformats.org/officeDocument/2006/relationships/image" Target="../media/image24.wmf"/><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10" Type="http://schemas.openxmlformats.org/officeDocument/2006/relationships/slideLayout" Target="../slideLayouts/slideLayout150.xml"/><Relationship Id="rId19" Type="http://schemas.openxmlformats.org/officeDocument/2006/relationships/tags" Target="../tags/tag29.xml"/><Relationship Id="rId31" Type="http://schemas.openxmlformats.org/officeDocument/2006/relationships/tags" Target="../tags/tag41.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 Id="rId8" Type="http://schemas.openxmlformats.org/officeDocument/2006/relationships/slideLayout" Target="../slideLayouts/slideLayout148.xml"/><Relationship Id="rId3"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0"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0" y="1825625"/>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9C44B8F-6FB1-E142-BB39-118BD22826E4}"/>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415773443"/>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5" r:id="rId3"/>
    <p:sldLayoutId id="2147483649" r:id="rId4"/>
    <p:sldLayoutId id="2147483658" r:id="rId5"/>
    <p:sldLayoutId id="2147483667" r:id="rId6"/>
    <p:sldLayoutId id="2147483660" r:id="rId7"/>
    <p:sldLayoutId id="2147483662" r:id="rId8"/>
    <p:sldLayoutId id="2147483669" r:id="rId9"/>
    <p:sldLayoutId id="2147483670" r:id="rId10"/>
    <p:sldLayoutId id="2147483671" r:id="rId11"/>
    <p:sldLayoutId id="2147483678" r:id="rId12"/>
    <p:sldLayoutId id="2147483681" r:id="rId13"/>
    <p:sldLayoutId id="2147483687" r:id="rId14"/>
    <p:sldLayoutId id="2147483680" r:id="rId15"/>
    <p:sldLayoutId id="2147483679" r:id="rId16"/>
    <p:sldLayoutId id="2147483689" r:id="rId17"/>
    <p:sldLayoutId id="2147483694" r:id="rId18"/>
    <p:sldLayoutId id="2147483677" r:id="rId19"/>
    <p:sldLayoutId id="2147483692" r:id="rId20"/>
    <p:sldLayoutId id="2147483693" r:id="rId21"/>
    <p:sldLayoutId id="2147483650" r:id="rId22"/>
    <p:sldLayoutId id="2147483690" r:id="rId23"/>
    <p:sldLayoutId id="2147483676" r:id="rId24"/>
    <p:sldLayoutId id="2147483654" r:id="rId25"/>
    <p:sldLayoutId id="2147483691" r:id="rId26"/>
    <p:sldLayoutId id="2147483666" r:id="rId27"/>
    <p:sldLayoutId id="2147483674" r:id="rId28"/>
    <p:sldLayoutId id="2147483683" r:id="rId29"/>
    <p:sldLayoutId id="2147483675" r:id="rId30"/>
    <p:sldLayoutId id="2147483684" r:id="rId31"/>
    <p:sldLayoutId id="2147483652" r:id="rId32"/>
    <p:sldLayoutId id="2147483653" r:id="rId33"/>
    <p:sldLayoutId id="2147483656" r:id="rId34"/>
    <p:sldLayoutId id="2147483657" r:id="rId35"/>
    <p:sldLayoutId id="2147483685" r:id="rId36"/>
    <p:sldLayoutId id="2147483686" r:id="rId37"/>
    <p:sldLayoutId id="2147483823" r:id="rId38"/>
    <p:sldLayoutId id="2147483824" r:id="rId39"/>
    <p:sldLayoutId id="2147483825" r:id="rId40"/>
  </p:sldLayoutIdLst>
  <p:hf hdr="0" dt="0"/>
  <p:txStyles>
    <p:titleStyle>
      <a:lvl1pPr algn="l" defTabSz="914400"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423162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54641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B7484962-6460-42A0-8B2D-2A5BE461319A}"/>
              </a:ext>
            </a:extLst>
          </p:cNvPr>
          <p:cNvGrpSpPr/>
          <p:nvPr userDrawn="1"/>
        </p:nvGrpSpPr>
        <p:grpSpPr>
          <a:xfrm>
            <a:off x="10317304" y="3150223"/>
            <a:ext cx="1251160" cy="958286"/>
            <a:chOff x="10162879" y="3243772"/>
            <a:chExt cx="1251160" cy="958286"/>
          </a:xfrm>
        </p:grpSpPr>
        <p:sp>
          <p:nvSpPr>
            <p:cNvPr id="171" name="Legend1" hidden="1">
              <a:extLst>
                <a:ext uri="{FF2B5EF4-FFF2-40B4-BE49-F238E27FC236}">
                  <a16:creationId xmlns:a16="http://schemas.microsoft.com/office/drawing/2014/main" id="{C16504EA-F1ED-4BBF-A9C6-57595953B07E}"/>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hidden="1">
              <a:extLst>
                <a:ext uri="{FF2B5EF4-FFF2-40B4-BE49-F238E27FC236}">
                  <a16:creationId xmlns:a16="http://schemas.microsoft.com/office/drawing/2014/main" id="{CEE8BAE4-030E-41D8-B1F8-123EB4760FFC}"/>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hidden="1">
              <a:extLst>
                <a:ext uri="{FF2B5EF4-FFF2-40B4-BE49-F238E27FC236}">
                  <a16:creationId xmlns:a16="http://schemas.microsoft.com/office/drawing/2014/main" id="{CDA2698C-35AE-4C86-8ABA-43E5A0C57004}"/>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hidden="1">
              <a:extLst>
                <a:ext uri="{FF2B5EF4-FFF2-40B4-BE49-F238E27FC236}">
                  <a16:creationId xmlns:a16="http://schemas.microsoft.com/office/drawing/2014/main" id="{CF422A87-9A2F-43F8-B7A7-853F1005F061}"/>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5" name="LineLegend2" hidden="1">
              <a:extLst>
                <a:ext uri="{FF2B5EF4-FFF2-40B4-BE49-F238E27FC236}">
                  <a16:creationId xmlns:a16="http://schemas.microsoft.com/office/drawing/2014/main" id="{ECE7761F-2C48-46A5-ADBB-0B002FEDDC8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sp>
          <p:nvSpPr>
            <p:cNvPr id="176" name="LineLegend1" hidden="1">
              <a:extLst>
                <a:ext uri="{FF2B5EF4-FFF2-40B4-BE49-F238E27FC236}">
                  <a16:creationId xmlns:a16="http://schemas.microsoft.com/office/drawing/2014/main" id="{1C54369B-0E9B-4EFC-87B8-71FA83D08A0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ea typeface="+mn-ea"/>
              </a:endParaRPr>
            </a:p>
          </p:txBody>
        </p:sp>
      </p:grpSp>
      <p:grpSp>
        <p:nvGrpSpPr>
          <p:cNvPr id="177" name="LegendMoons" hidden="1">
            <a:extLst>
              <a:ext uri="{FF2B5EF4-FFF2-40B4-BE49-F238E27FC236}">
                <a16:creationId xmlns:a16="http://schemas.microsoft.com/office/drawing/2014/main" id="{D70FFA10-05F3-4B51-805F-2AE358C66D44}"/>
              </a:ext>
            </a:extLst>
          </p:cNvPr>
          <p:cNvGrpSpPr/>
          <p:nvPr userDrawn="1"/>
        </p:nvGrpSpPr>
        <p:grpSpPr>
          <a:xfrm>
            <a:off x="10688315" y="1145373"/>
            <a:ext cx="880149" cy="1731859"/>
            <a:chOff x="7723680" y="1702457"/>
            <a:chExt cx="880149" cy="1731859"/>
          </a:xfrm>
        </p:grpSpPr>
        <p:sp>
          <p:nvSpPr>
            <p:cNvPr id="178" name="Legend1" hidden="1">
              <a:extLst>
                <a:ext uri="{FF2B5EF4-FFF2-40B4-BE49-F238E27FC236}">
                  <a16:creationId xmlns:a16="http://schemas.microsoft.com/office/drawing/2014/main" id="{E057805C-3CF8-4111-91AE-B02C6CDD36C0}"/>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hidden="1">
              <a:extLst>
                <a:ext uri="{FF2B5EF4-FFF2-40B4-BE49-F238E27FC236}">
                  <a16:creationId xmlns:a16="http://schemas.microsoft.com/office/drawing/2014/main" id="{B7307D48-108C-4F9A-8561-9ED07A266D1A}"/>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hidden="1">
              <a:extLst>
                <a:ext uri="{FF2B5EF4-FFF2-40B4-BE49-F238E27FC236}">
                  <a16:creationId xmlns:a16="http://schemas.microsoft.com/office/drawing/2014/main" id="{FA11ADE1-F1EB-4591-98AB-1F132CFBD8A0}"/>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hidden="1">
              <a:extLst>
                <a:ext uri="{FF2B5EF4-FFF2-40B4-BE49-F238E27FC236}">
                  <a16:creationId xmlns:a16="http://schemas.microsoft.com/office/drawing/2014/main" id="{A746054F-3404-4890-B798-A06501840955}"/>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hidden="1">
              <a:extLst>
                <a:ext uri="{FF2B5EF4-FFF2-40B4-BE49-F238E27FC236}">
                  <a16:creationId xmlns:a16="http://schemas.microsoft.com/office/drawing/2014/main" id="{C9C704ED-DCD5-42FC-A095-6384D6E55EB5}"/>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hidden="1">
              <a:extLst>
                <a:ext uri="{FF2B5EF4-FFF2-40B4-BE49-F238E27FC236}">
                  <a16:creationId xmlns:a16="http://schemas.microsoft.com/office/drawing/2014/main" id="{B0C1E337-3A69-499B-B0F4-6D7DFB7F9C05}"/>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932E79D-7066-4AD6-B60E-E2BC52B6298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hidden="1">
                <a:extLst>
                  <a:ext uri="{FF2B5EF4-FFF2-40B4-BE49-F238E27FC236}">
                    <a16:creationId xmlns:a16="http://schemas.microsoft.com/office/drawing/2014/main" id="{59B86C35-906B-4FF0-8425-6754D57EBF43}"/>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AF7A16A7-8B19-4E0D-B905-1F5D95015DA4}"/>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4012041B-E0AF-4EC1-AB55-56A72D02243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hidden="1">
                <a:extLst>
                  <a:ext uri="{FF2B5EF4-FFF2-40B4-BE49-F238E27FC236}">
                    <a16:creationId xmlns:a16="http://schemas.microsoft.com/office/drawing/2014/main" id="{6F696344-D806-4C58-B1D8-974922BB1E24}"/>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8ADDD570-77B0-4129-810C-7A3C34A17A18}"/>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B117C66-7D01-438D-8563-7CD87838C9A4}"/>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hidden="1">
                <a:extLst>
                  <a:ext uri="{FF2B5EF4-FFF2-40B4-BE49-F238E27FC236}">
                    <a16:creationId xmlns:a16="http://schemas.microsoft.com/office/drawing/2014/main" id="{7108ECDC-40F6-4807-877A-BABFEB4AFBE9}"/>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FC1B3E38-7444-4488-8167-7F325BC02FA2}"/>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D605A67-F9E1-42A3-886B-B0852A73166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hidden="1">
                <a:extLst>
                  <a:ext uri="{FF2B5EF4-FFF2-40B4-BE49-F238E27FC236}">
                    <a16:creationId xmlns:a16="http://schemas.microsoft.com/office/drawing/2014/main" id="{AFCDF11F-A29B-4306-B44B-8D2BE1C1592C}"/>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AB301568-EF1B-4D1D-ADC3-1844901AA4CD}"/>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12BE89DB-ED35-460C-BDF1-93CE0F93D1F3}"/>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hidden="1">
                <a:extLst>
                  <a:ext uri="{FF2B5EF4-FFF2-40B4-BE49-F238E27FC236}">
                    <a16:creationId xmlns:a16="http://schemas.microsoft.com/office/drawing/2014/main" id="{358C73CD-ED13-4D23-99C0-F45D5C7E04BC}"/>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119D3746-361F-4AA4-A38D-F93C6AF9D087}"/>
              </a:ext>
            </a:extLst>
          </p:cNvPr>
          <p:cNvGrpSpPr/>
          <p:nvPr userDrawn="1"/>
        </p:nvGrpSpPr>
        <p:grpSpPr>
          <a:xfrm>
            <a:off x="10714801" y="4381500"/>
            <a:ext cx="853663" cy="1717282"/>
            <a:chOff x="10652400" y="4322824"/>
            <a:chExt cx="853663" cy="1717282"/>
          </a:xfrm>
        </p:grpSpPr>
        <p:sp>
          <p:nvSpPr>
            <p:cNvPr id="217" name="RectangleLegend1" hidden="1">
              <a:extLst>
                <a:ext uri="{FF2B5EF4-FFF2-40B4-BE49-F238E27FC236}">
                  <a16:creationId xmlns:a16="http://schemas.microsoft.com/office/drawing/2014/main" id="{B281911C-9646-4033-85CC-351D081CA78B}"/>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hidden="1">
              <a:extLst>
                <a:ext uri="{FF2B5EF4-FFF2-40B4-BE49-F238E27FC236}">
                  <a16:creationId xmlns:a16="http://schemas.microsoft.com/office/drawing/2014/main" id="{50D3A4AD-6F53-43DC-9E40-CF531DBA3B86}"/>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hidden="1">
              <a:extLst>
                <a:ext uri="{FF2B5EF4-FFF2-40B4-BE49-F238E27FC236}">
                  <a16:creationId xmlns:a16="http://schemas.microsoft.com/office/drawing/2014/main" id="{0D8333FC-8074-42CE-BEA3-401BEE8419C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hidden="1">
              <a:extLst>
                <a:ext uri="{FF2B5EF4-FFF2-40B4-BE49-F238E27FC236}">
                  <a16:creationId xmlns:a16="http://schemas.microsoft.com/office/drawing/2014/main" id="{799E4610-E857-4675-80C1-4D7CF813BA62}"/>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hidden="1">
              <a:extLst>
                <a:ext uri="{FF2B5EF4-FFF2-40B4-BE49-F238E27FC236}">
                  <a16:creationId xmlns:a16="http://schemas.microsoft.com/office/drawing/2014/main" id="{D6A22290-64F1-4F76-8FB6-E44FDC6B66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hidden="1">
              <a:extLst>
                <a:ext uri="{FF2B5EF4-FFF2-40B4-BE49-F238E27FC236}">
                  <a16:creationId xmlns:a16="http://schemas.microsoft.com/office/drawing/2014/main" id="{DC4A031E-D1AB-407D-994F-108D96446906}"/>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hidden="1">
              <a:extLst>
                <a:ext uri="{FF2B5EF4-FFF2-40B4-BE49-F238E27FC236}">
                  <a16:creationId xmlns:a16="http://schemas.microsoft.com/office/drawing/2014/main" id="{9E8E8977-7A15-4678-8566-E98F248C9421}"/>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hidden="1">
              <a:extLst>
                <a:ext uri="{FF2B5EF4-FFF2-40B4-BE49-F238E27FC236}">
                  <a16:creationId xmlns:a16="http://schemas.microsoft.com/office/drawing/2014/main" id="{63FBE75A-5EFA-4E1B-9B32-294CDC95475C}"/>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hidden="1">
              <a:extLst>
                <a:ext uri="{FF2B5EF4-FFF2-40B4-BE49-F238E27FC236}">
                  <a16:creationId xmlns:a16="http://schemas.microsoft.com/office/drawing/2014/main" id="{EEB082C1-6EFE-41C3-9966-92C31157F35B}"/>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hidden="1">
              <a:extLst>
                <a:ext uri="{FF2B5EF4-FFF2-40B4-BE49-F238E27FC236}">
                  <a16:creationId xmlns:a16="http://schemas.microsoft.com/office/drawing/2014/main" id="{A66C6196-FD22-49A0-9E02-278834EB83B2}"/>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148" name="Picture 28" descr="World Health Organization Logo, history, meaning, symbol, PNG">
            <a:extLst>
              <a:ext uri="{FF2B5EF4-FFF2-40B4-BE49-F238E27FC236}">
                <a16:creationId xmlns:a16="http://schemas.microsoft.com/office/drawing/2014/main" id="{609E52E0-1A95-44B8-8769-7F7F19B6DAA0}"/>
              </a:ext>
            </a:extLst>
          </p:cNvPr>
          <p:cNvPicPr>
            <a:picLocks noChangeAspect="1" noChangeArrowheads="1"/>
          </p:cNvPicPr>
          <p:nvPr userDrawn="1"/>
        </p:nvPicPr>
        <p:blipFill rotWithShape="1">
          <a:blip r:embed="rId40">
            <a:extLst>
              <a:ext uri="{28A0092B-C50C-407E-A947-70E740481C1C}">
                <a14:useLocalDpi xmlns:a14="http://schemas.microsoft.com/office/drawing/2010/main" val="0"/>
              </a:ext>
            </a:extLst>
          </a:blip>
          <a:srcRect t="17309" b="19199"/>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372241"/>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7"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124477908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3" r:id="rId15"/>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7"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89510624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CB2A9C5F-569E-41BE-B5E5-7CBFE1B687B2}" type="datetime1">
              <a:rPr lang="en-GB" smtClean="0"/>
              <a:pPr/>
              <a:t>27/11/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GB"/>
              <a:t>|     Title of the presentation</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893277053"/>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Lst>
  <p:hf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0" y="0"/>
            <a:ext cx="12192000" cy="1238270"/>
          </a:xfrm>
          <a:prstGeom prst="rect">
            <a:avLst/>
          </a:prstGeom>
          <a:noFill/>
          <a:ln>
            <a:noFill/>
          </a:ln>
          <a:effectLst>
            <a:outerShdw dist="17961" dir="2700000" algn="ctr" rotWithShape="0">
              <a:srgbClr val="96CCEE"/>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2051" name="Rectangle 3"/>
          <p:cNvSpPr>
            <a:spLocks noGrp="1" noChangeArrowheads="1"/>
          </p:cNvSpPr>
          <p:nvPr>
            <p:ph type="body" idx="1"/>
          </p:nvPr>
        </p:nvSpPr>
        <p:spPr bwMode="auto">
          <a:xfrm>
            <a:off x="590052" y="1380815"/>
            <a:ext cx="11055335" cy="461183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052" name="Line 4"/>
          <p:cNvSpPr>
            <a:spLocks noChangeShapeType="1"/>
          </p:cNvSpPr>
          <p:nvPr/>
        </p:nvSpPr>
        <p:spPr bwMode="auto">
          <a:xfrm>
            <a:off x="0" y="1245470"/>
            <a:ext cx="12192000" cy="0"/>
          </a:xfrm>
          <a:prstGeom prst="line">
            <a:avLst/>
          </a:prstGeom>
          <a:noFill/>
          <a:ln w="38100">
            <a:solidFill>
              <a:srgbClr val="1E7FB8"/>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28398" dir="1593903" algn="ctr" rotWithShape="0">
                    <a:schemeClr val="bg2"/>
                  </a:outerShdw>
                </a:effectLst>
              </a14:hiddenEffects>
            </a:ext>
          </a:extLst>
        </p:spPr>
        <p:txBody>
          <a:bodyPr/>
          <a:lstStyle/>
          <a:p>
            <a:endParaRPr lang="en-GB" sz="1633"/>
          </a:p>
        </p:txBody>
      </p:sp>
      <p:sp>
        <p:nvSpPr>
          <p:cNvPr id="2053" name="Rectangle 5"/>
          <p:cNvSpPr>
            <a:spLocks noChangeArrowheads="1"/>
          </p:cNvSpPr>
          <p:nvPr/>
        </p:nvSpPr>
        <p:spPr bwMode="auto">
          <a:xfrm>
            <a:off x="0" y="6197109"/>
            <a:ext cx="12192000" cy="660891"/>
          </a:xfrm>
          <a:prstGeom prst="rect">
            <a:avLst/>
          </a:prstGeom>
          <a:solidFill>
            <a:srgbClr val="1E7FB8"/>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3"/>
          </a:p>
        </p:txBody>
      </p:sp>
      <p:sp>
        <p:nvSpPr>
          <p:cNvPr id="2055" name="Rectangle 7"/>
          <p:cNvSpPr>
            <a:spLocks noChangeArrowheads="1"/>
          </p:cNvSpPr>
          <p:nvPr/>
        </p:nvSpPr>
        <p:spPr bwMode="auto">
          <a:xfrm>
            <a:off x="479645" y="6398688"/>
            <a:ext cx="474214" cy="33260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lstStyle/>
          <a:p>
            <a:pPr algn="r" defTabSz="945990">
              <a:spcBef>
                <a:spcPct val="0"/>
              </a:spcBef>
            </a:pPr>
            <a:fld id="{096BACF8-1F4B-4F7D-A8CA-B59E1BAFCEE0}" type="slidenum">
              <a:rPr lang="x-none" sz="1542" b="1">
                <a:solidFill>
                  <a:srgbClr val="72BBE8"/>
                </a:solidFill>
                <a:latin typeface="Arial Narrow" pitchFamily="34" charset="0"/>
              </a:rPr>
              <a:pPr algn="r" defTabSz="945990">
                <a:spcBef>
                  <a:spcPct val="0"/>
                </a:spcBef>
              </a:pPr>
              <a:t>‹#›</a:t>
            </a:fld>
            <a:r>
              <a:rPr lang="en-US" sz="1542" b="1">
                <a:solidFill>
                  <a:srgbClr val="72BBE8"/>
                </a:solidFill>
                <a:latin typeface="Arial Narrow" pitchFamily="34" charset="0"/>
              </a:rPr>
              <a:t> </a:t>
            </a:r>
            <a:r>
              <a:rPr lang="en-US" sz="2177" b="1" baseline="14000">
                <a:solidFill>
                  <a:schemeClr val="bg1"/>
                </a:solidFill>
                <a:latin typeface="Arial Narrow" pitchFamily="34" charset="0"/>
              </a:rPr>
              <a:t>|</a:t>
            </a:r>
          </a:p>
        </p:txBody>
      </p:sp>
      <p:pic>
        <p:nvPicPr>
          <p:cNvPr id="2056" name="Picture 8" descr="WHO-EN-white-H"/>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274318" y="6211507"/>
            <a:ext cx="2244371" cy="5471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C14538A4-6F5D-410E-9F0B-09391CC681EB}"/>
              </a:ext>
            </a:extLst>
          </p:cNvPr>
          <p:cNvSpPr/>
          <p:nvPr userDrawn="1"/>
        </p:nvSpPr>
        <p:spPr bwMode="auto">
          <a:xfrm>
            <a:off x="0" y="1014153"/>
            <a:ext cx="12192000" cy="432262"/>
          </a:xfrm>
          <a:prstGeom prst="rect">
            <a:avLst/>
          </a:prstGeom>
          <a:solidFill>
            <a:schemeClr val="bg1"/>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104306" tIns="52153" rIns="104306" bIns="52153" numCol="1" rtlCol="0" anchor="t" anchorCtr="0" compatLnSpc="1">
            <a:prstTxWarp prst="textNoShape">
              <a:avLst/>
            </a:prstTxWarp>
            <a:spAutoFit/>
          </a:bodyPr>
          <a:lstStyle/>
          <a:p>
            <a:pPr marL="0" marR="0" indent="0" algn="ctr" defTabSz="1042988" rtl="0" eaLnBrk="1" fontAlgn="base" latinLnBrk="0" hangingPunct="1">
              <a:lnSpc>
                <a:spcPct val="100000"/>
              </a:lnSpc>
              <a:spcBef>
                <a:spcPct val="50000"/>
              </a:spcBef>
              <a:spcAft>
                <a:spcPct val="0"/>
              </a:spcAft>
              <a:buClrTx/>
              <a:buSzTx/>
              <a:buFontTx/>
              <a:buNone/>
              <a:tabLst/>
            </a:pPr>
            <a:endParaRPr kumimoji="0" lang="en-US" sz="2700" b="0" i="0" u="none" strike="noStrike" cap="none" normalizeH="0" baseline="0">
              <a:ln>
                <a:noFill/>
              </a:ln>
              <a:solidFill>
                <a:schemeClr val="tx1"/>
              </a:solidFill>
              <a:effectLst/>
              <a:latin typeface="Times New Roman" pitchFamily="18" charset="0"/>
              <a:cs typeface="Arial" charset="0"/>
            </a:endParaRPr>
          </a:p>
        </p:txBody>
      </p:sp>
    </p:spTree>
    <p:extLst>
      <p:ext uri="{BB962C8B-B14F-4D97-AF65-F5344CB8AC3E}">
        <p14:creationId xmlns:p14="http://schemas.microsoft.com/office/powerpoint/2010/main" val="54117285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Lst>
  <p:txStyles>
    <p:titleStyle>
      <a:lvl1pPr algn="ctr" defTabSz="945990" rtl="0" eaLnBrk="1" fontAlgn="base" hangingPunct="1">
        <a:spcBef>
          <a:spcPct val="0"/>
        </a:spcBef>
        <a:spcAft>
          <a:spcPct val="0"/>
        </a:spcAft>
        <a:defRPr sz="3628" b="1">
          <a:solidFill>
            <a:srgbClr val="000066"/>
          </a:solidFill>
          <a:latin typeface="+mj-lt"/>
          <a:ea typeface="+mj-ea"/>
          <a:cs typeface="+mj-cs"/>
        </a:defRPr>
      </a:lvl1pPr>
      <a:lvl2pPr algn="ctr" defTabSz="945990" rtl="0" eaLnBrk="1" fontAlgn="base" hangingPunct="1">
        <a:spcBef>
          <a:spcPct val="0"/>
        </a:spcBef>
        <a:spcAft>
          <a:spcPct val="0"/>
        </a:spcAft>
        <a:defRPr sz="3628" b="1">
          <a:solidFill>
            <a:srgbClr val="000066"/>
          </a:solidFill>
          <a:latin typeface="Arial" charset="0"/>
          <a:cs typeface="Arial" charset="0"/>
        </a:defRPr>
      </a:lvl2pPr>
      <a:lvl3pPr algn="ctr" defTabSz="945990" rtl="0" eaLnBrk="1" fontAlgn="base" hangingPunct="1">
        <a:spcBef>
          <a:spcPct val="0"/>
        </a:spcBef>
        <a:spcAft>
          <a:spcPct val="0"/>
        </a:spcAft>
        <a:defRPr sz="3628" b="1">
          <a:solidFill>
            <a:srgbClr val="000066"/>
          </a:solidFill>
          <a:latin typeface="Arial" charset="0"/>
          <a:cs typeface="Arial" charset="0"/>
        </a:defRPr>
      </a:lvl3pPr>
      <a:lvl4pPr algn="ctr" defTabSz="945990" rtl="0" eaLnBrk="1" fontAlgn="base" hangingPunct="1">
        <a:spcBef>
          <a:spcPct val="0"/>
        </a:spcBef>
        <a:spcAft>
          <a:spcPct val="0"/>
        </a:spcAft>
        <a:defRPr sz="3628" b="1">
          <a:solidFill>
            <a:srgbClr val="000066"/>
          </a:solidFill>
          <a:latin typeface="Arial" charset="0"/>
          <a:cs typeface="Arial" charset="0"/>
        </a:defRPr>
      </a:lvl4pPr>
      <a:lvl5pPr algn="ctr" defTabSz="945990" rtl="0" eaLnBrk="1" fontAlgn="base" hangingPunct="1">
        <a:spcBef>
          <a:spcPct val="0"/>
        </a:spcBef>
        <a:spcAft>
          <a:spcPct val="0"/>
        </a:spcAft>
        <a:defRPr sz="3628" b="1">
          <a:solidFill>
            <a:srgbClr val="000066"/>
          </a:solidFill>
          <a:latin typeface="Arial" charset="0"/>
          <a:cs typeface="Arial" charset="0"/>
        </a:defRPr>
      </a:lvl5pPr>
      <a:lvl6pPr marL="414680" algn="ctr" defTabSz="945990" rtl="0" eaLnBrk="1" fontAlgn="base" hangingPunct="1">
        <a:spcBef>
          <a:spcPct val="0"/>
        </a:spcBef>
        <a:spcAft>
          <a:spcPct val="0"/>
        </a:spcAft>
        <a:defRPr sz="3628" b="1">
          <a:solidFill>
            <a:srgbClr val="000066"/>
          </a:solidFill>
          <a:latin typeface="Arial" charset="0"/>
          <a:cs typeface="Arial" charset="0"/>
        </a:defRPr>
      </a:lvl6pPr>
      <a:lvl7pPr marL="829361" algn="ctr" defTabSz="945990" rtl="0" eaLnBrk="1" fontAlgn="base" hangingPunct="1">
        <a:spcBef>
          <a:spcPct val="0"/>
        </a:spcBef>
        <a:spcAft>
          <a:spcPct val="0"/>
        </a:spcAft>
        <a:defRPr sz="3628" b="1">
          <a:solidFill>
            <a:srgbClr val="000066"/>
          </a:solidFill>
          <a:latin typeface="Arial" charset="0"/>
          <a:cs typeface="Arial" charset="0"/>
        </a:defRPr>
      </a:lvl7pPr>
      <a:lvl8pPr marL="1244041" algn="ctr" defTabSz="945990" rtl="0" eaLnBrk="1" fontAlgn="base" hangingPunct="1">
        <a:spcBef>
          <a:spcPct val="0"/>
        </a:spcBef>
        <a:spcAft>
          <a:spcPct val="0"/>
        </a:spcAft>
        <a:defRPr sz="3628" b="1">
          <a:solidFill>
            <a:srgbClr val="000066"/>
          </a:solidFill>
          <a:latin typeface="Arial" charset="0"/>
          <a:cs typeface="Arial" charset="0"/>
        </a:defRPr>
      </a:lvl8pPr>
      <a:lvl9pPr marL="1658722" algn="ctr" defTabSz="945990" rtl="0" eaLnBrk="1" fontAlgn="base" hangingPunct="1">
        <a:spcBef>
          <a:spcPct val="0"/>
        </a:spcBef>
        <a:spcAft>
          <a:spcPct val="0"/>
        </a:spcAft>
        <a:defRPr sz="3628" b="1">
          <a:solidFill>
            <a:srgbClr val="000066"/>
          </a:solidFill>
          <a:latin typeface="Arial" charset="0"/>
          <a:cs typeface="Arial" charset="0"/>
        </a:defRPr>
      </a:lvl9pPr>
    </p:titleStyle>
    <p:bodyStyle>
      <a:lvl1pPr marL="354206" indent="-354206" algn="l" defTabSz="945990" rtl="0" eaLnBrk="1" fontAlgn="base" hangingPunct="1">
        <a:spcBef>
          <a:spcPct val="80000"/>
        </a:spcBef>
        <a:spcAft>
          <a:spcPct val="0"/>
        </a:spcAft>
        <a:buClr>
          <a:srgbClr val="1E7FB8"/>
        </a:buClr>
        <a:buFont typeface="Wingdings" pitchFamily="2" charset="2"/>
        <a:buChar char="l"/>
        <a:defRPr sz="2630">
          <a:solidFill>
            <a:srgbClr val="000066"/>
          </a:solidFill>
          <a:latin typeface="+mn-lt"/>
          <a:ea typeface="+mn-ea"/>
          <a:cs typeface="+mn-cs"/>
        </a:defRPr>
      </a:lvl1pPr>
      <a:lvl2pPr marL="832241" indent="-290852" algn="l" defTabSz="945990" rtl="0" eaLnBrk="1" fontAlgn="base" hangingPunct="1">
        <a:spcBef>
          <a:spcPct val="20000"/>
        </a:spcBef>
        <a:spcAft>
          <a:spcPct val="0"/>
        </a:spcAft>
        <a:buClr>
          <a:srgbClr val="1E7FB8"/>
        </a:buClr>
        <a:buFont typeface="Arial" pitchFamily="34" charset="0"/>
        <a:buChar char="–"/>
        <a:defRPr sz="2177">
          <a:solidFill>
            <a:srgbClr val="000066"/>
          </a:solidFill>
          <a:latin typeface="+mn-lt"/>
          <a:cs typeface="+mn-cs"/>
        </a:defRPr>
      </a:lvl2pPr>
      <a:lvl3pPr marL="1298756" indent="-279333" algn="l" defTabSz="945990" rtl="0" eaLnBrk="1" fontAlgn="base" hangingPunct="1">
        <a:spcBef>
          <a:spcPct val="20000"/>
        </a:spcBef>
        <a:spcAft>
          <a:spcPct val="0"/>
        </a:spcAft>
        <a:buClr>
          <a:srgbClr val="1E7FB8"/>
        </a:buClr>
        <a:buChar char="•"/>
        <a:defRPr sz="2177">
          <a:solidFill>
            <a:srgbClr val="000066"/>
          </a:solidFill>
          <a:latin typeface="Arial Narrow" pitchFamily="34" charset="0"/>
          <a:cs typeface="+mn-cs"/>
        </a:defRPr>
      </a:lvl3pPr>
      <a:lvl4pPr marL="1720636" indent="-234698" algn="l" defTabSz="945990" rtl="0" eaLnBrk="1" fontAlgn="base" hangingPunct="1">
        <a:spcBef>
          <a:spcPct val="20000"/>
        </a:spcBef>
        <a:spcAft>
          <a:spcPct val="0"/>
        </a:spcAft>
        <a:buClr>
          <a:srgbClr val="1E7FB8"/>
        </a:buClr>
        <a:buChar char="–"/>
        <a:defRPr sz="2177">
          <a:solidFill>
            <a:srgbClr val="000066"/>
          </a:solidFill>
          <a:latin typeface="Arial Narrow" pitchFamily="34" charset="0"/>
          <a:cs typeface="+mn-cs"/>
        </a:defRPr>
      </a:lvl4pPr>
      <a:lvl5pPr marL="2057564" indent="-151186" algn="r" defTabSz="945990" rtl="1" eaLnBrk="1" fontAlgn="base" hangingPunct="1">
        <a:spcBef>
          <a:spcPct val="20000"/>
        </a:spcBef>
        <a:spcAft>
          <a:spcPct val="0"/>
        </a:spcAft>
        <a:buChar char="»"/>
        <a:defRPr sz="2086">
          <a:solidFill>
            <a:srgbClr val="000066"/>
          </a:solidFill>
          <a:latin typeface="+mn-lt"/>
          <a:cs typeface="+mn-cs"/>
        </a:defRPr>
      </a:lvl5pPr>
      <a:lvl6pPr marL="2472244" indent="-151186" algn="r" defTabSz="945990" rtl="1" eaLnBrk="1" fontAlgn="base" hangingPunct="1">
        <a:spcBef>
          <a:spcPct val="20000"/>
        </a:spcBef>
        <a:spcAft>
          <a:spcPct val="0"/>
        </a:spcAft>
        <a:buChar char="»"/>
        <a:defRPr sz="2086">
          <a:solidFill>
            <a:srgbClr val="000066"/>
          </a:solidFill>
          <a:latin typeface="+mn-lt"/>
          <a:cs typeface="+mn-cs"/>
        </a:defRPr>
      </a:lvl6pPr>
      <a:lvl7pPr marL="2886925" indent="-151186" algn="r" defTabSz="945990" rtl="1" eaLnBrk="1" fontAlgn="base" hangingPunct="1">
        <a:spcBef>
          <a:spcPct val="20000"/>
        </a:spcBef>
        <a:spcAft>
          <a:spcPct val="0"/>
        </a:spcAft>
        <a:buChar char="»"/>
        <a:defRPr sz="2086">
          <a:solidFill>
            <a:srgbClr val="000066"/>
          </a:solidFill>
          <a:latin typeface="+mn-lt"/>
          <a:cs typeface="+mn-cs"/>
        </a:defRPr>
      </a:lvl7pPr>
      <a:lvl8pPr marL="3301605" indent="-151186" algn="r" defTabSz="945990" rtl="1" eaLnBrk="1" fontAlgn="base" hangingPunct="1">
        <a:spcBef>
          <a:spcPct val="20000"/>
        </a:spcBef>
        <a:spcAft>
          <a:spcPct val="0"/>
        </a:spcAft>
        <a:buChar char="»"/>
        <a:defRPr sz="2086">
          <a:solidFill>
            <a:srgbClr val="000066"/>
          </a:solidFill>
          <a:latin typeface="+mn-lt"/>
          <a:cs typeface="+mn-cs"/>
        </a:defRPr>
      </a:lvl8pPr>
      <a:lvl9pPr marL="3716286" indent="-151186" algn="r" defTabSz="945990" rtl="1" eaLnBrk="1" fontAlgn="base" hangingPunct="1">
        <a:spcBef>
          <a:spcPct val="20000"/>
        </a:spcBef>
        <a:spcAft>
          <a:spcPct val="0"/>
        </a:spcAft>
        <a:buChar char="»"/>
        <a:defRPr sz="2086">
          <a:solidFill>
            <a:srgbClr val="000066"/>
          </a:solidFill>
          <a:latin typeface="+mn-lt"/>
          <a:cs typeface="+mn-cs"/>
        </a:defRPr>
      </a:lvl9pPr>
    </p:bodyStyle>
    <p:otherStyle>
      <a:defPPr>
        <a:defRPr lang="en-US"/>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2A691F4-1CB0-3D45-B048-A5A3F8494584}"/>
              </a:ext>
            </a:extLst>
          </p:cNvPr>
          <p:cNvSpPr/>
          <p:nvPr userDrawn="1"/>
        </p:nvSpPr>
        <p:spPr>
          <a:xfrm>
            <a:off x="0" y="-27383"/>
            <a:ext cx="12192000" cy="759220"/>
          </a:xfrm>
          <a:prstGeom prst="rect">
            <a:avLst/>
          </a:prstGeom>
          <a:solidFill>
            <a:srgbClr val="0079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a:solidFill>
                <a:prstClr val="white"/>
              </a:solidFill>
            </a:endParaRP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8819819" y="6021289"/>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72E375D5-DD51-4DDF-87E6-FA82A457ECD1}" type="slidenum">
              <a:rPr lang="en-GB" smtClean="0">
                <a:solidFill>
                  <a:prstClr val="black">
                    <a:tint val="75000"/>
                  </a:prstClr>
                </a:solidFill>
                <a:latin typeface="Calibri"/>
                <a:cs typeface="+mn-cs"/>
              </a:rPr>
              <a:pPr eaLnBrk="1" fontAlgn="auto" hangingPunct="1">
                <a:spcBef>
                  <a:spcPts val="0"/>
                </a:spcBef>
                <a:spcAft>
                  <a:spcPts val="0"/>
                </a:spcAft>
              </a:pPr>
              <a:t>‹#›</a:t>
            </a:fld>
            <a:endParaRPr lang="en-GB">
              <a:solidFill>
                <a:prstClr val="black">
                  <a:tint val="75000"/>
                </a:prstClr>
              </a:solidFill>
              <a:latin typeface="Calibri"/>
              <a:cs typeface="+mn-cs"/>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18" name="Date Placeholder 17"/>
          <p:cNvSpPr>
            <a:spLocks noGrp="1"/>
          </p:cNvSpPr>
          <p:nvPr>
            <p:ph type="dt" sz="half" idx="2"/>
          </p:nvPr>
        </p:nvSpPr>
        <p:spPr>
          <a:xfrm>
            <a:off x="8880000" y="36001"/>
            <a:ext cx="2844800" cy="365125"/>
          </a:xfrm>
          <a:prstGeom prst="rect">
            <a:avLst/>
          </a:prstGeom>
        </p:spPr>
        <p:txBody>
          <a:bodyPr vert="horz" lIns="91440" tIns="45720" rIns="91440" bIns="45720" rtlCol="0" anchor="ctr"/>
          <a:lstStyle>
            <a:lvl1pPr algn="r">
              <a:defRPr sz="1200">
                <a:solidFill>
                  <a:schemeClr val="bg1"/>
                </a:solidFill>
                <a:latin typeface="Segoe Condensed" panose="020B0606040200020203" pitchFamily="34" charset="0"/>
              </a:defRPr>
            </a:lvl1pPr>
          </a:lstStyle>
          <a:p>
            <a:pPr eaLnBrk="1" fontAlgn="auto" hangingPunct="1">
              <a:spcBef>
                <a:spcPts val="0"/>
              </a:spcBef>
              <a:spcAft>
                <a:spcPts val="0"/>
              </a:spcAft>
            </a:pPr>
            <a:fld id="{706DAB67-E117-46AE-8F6F-670ADCFE2459}" type="datetime4">
              <a:rPr lang="en-GB" smtClean="0">
                <a:solidFill>
                  <a:prstClr val="white"/>
                </a:solidFill>
                <a:cs typeface="+mn-cs"/>
              </a:rPr>
              <a:t>27 November 2022</a:t>
            </a:fld>
            <a:endParaRPr lang="en-GB">
              <a:solidFill>
                <a:prstClr val="white"/>
              </a:solidFill>
              <a:cs typeface="+mn-cs"/>
            </a:endParaRPr>
          </a:p>
        </p:txBody>
      </p:sp>
      <p:pic>
        <p:nvPicPr>
          <p:cNvPr id="10" name="Picture 9">
            <a:extLst>
              <a:ext uri="{FF2B5EF4-FFF2-40B4-BE49-F238E27FC236}">
                <a16:creationId xmlns:a16="http://schemas.microsoft.com/office/drawing/2014/main" id="{2767A390-2DE4-5B46-B84F-24F071F16105}"/>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07368" y="6326400"/>
            <a:ext cx="1368152" cy="380689"/>
          </a:xfrm>
          <a:prstGeom prst="rect">
            <a:avLst/>
          </a:prstGeom>
        </p:spPr>
      </p:pic>
      <p:cxnSp>
        <p:nvCxnSpPr>
          <p:cNvPr id="11" name="Straight Connector 10">
            <a:extLst>
              <a:ext uri="{FF2B5EF4-FFF2-40B4-BE49-F238E27FC236}">
                <a16:creationId xmlns:a16="http://schemas.microsoft.com/office/drawing/2014/main" id="{3B6BC40A-4DA4-7146-BF35-232B98D7F28C}"/>
              </a:ext>
            </a:extLst>
          </p:cNvPr>
          <p:cNvCxnSpPr/>
          <p:nvPr userDrawn="1"/>
        </p:nvCxnSpPr>
        <p:spPr>
          <a:xfrm>
            <a:off x="-12288" y="6224389"/>
            <a:ext cx="12204288"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03329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89" r:id="rId13"/>
  </p:sldLayoutIdLst>
  <p:hf hdr="0" dt="0"/>
  <p:txStyles>
    <p:titleStyle>
      <a:lvl1pPr algn="l" defTabSz="914400" rtl="0" eaLnBrk="1" latinLnBrk="0" hangingPunct="1">
        <a:spcBef>
          <a:spcPct val="0"/>
        </a:spcBef>
        <a:buNone/>
        <a:defRPr sz="4400" b="1" kern="1200">
          <a:solidFill>
            <a:schemeClr val="bg1"/>
          </a:solidFill>
          <a:latin typeface="Segoe Condensed" panose="020B0606040200020203"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b="1" kern="1200">
          <a:solidFill>
            <a:schemeClr val="tx1">
              <a:lumMod val="50000"/>
              <a:lumOff val="50000"/>
            </a:schemeClr>
          </a:solidFill>
          <a:latin typeface="Segoe Condensed" panose="020B0606040200020203"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b="1" kern="1200">
          <a:solidFill>
            <a:schemeClr val="tx1">
              <a:lumMod val="50000"/>
              <a:lumOff val="50000"/>
            </a:schemeClr>
          </a:solidFill>
          <a:latin typeface="Segoe Condensed" panose="020B0606040200020203"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b="1" kern="1200">
          <a:solidFill>
            <a:schemeClr val="tx1">
              <a:lumMod val="50000"/>
              <a:lumOff val="50000"/>
            </a:schemeClr>
          </a:solidFill>
          <a:latin typeface="Segoe Condensed" panose="020B0606040200020203"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EB20996-940D-4E3D-9535-71C3BFC69C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1B493D-17A3-423B-8706-5F7C5A9946B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B69F1-4343-455B-98FD-6F9C43D345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ABADEF-A426-4D70-9F36-F4B95950F572}" type="datetimeFigureOut">
              <a:rPr lang="en-US" smtClean="0"/>
              <a:t>11/27/2022</a:t>
            </a:fld>
            <a:endParaRPr lang="en-US"/>
          </a:p>
        </p:txBody>
      </p:sp>
      <p:sp>
        <p:nvSpPr>
          <p:cNvPr id="5" name="Footer Placeholder 4">
            <a:extLst>
              <a:ext uri="{FF2B5EF4-FFF2-40B4-BE49-F238E27FC236}">
                <a16:creationId xmlns:a16="http://schemas.microsoft.com/office/drawing/2014/main" id="{6C98B560-D62F-4B0B-ABBC-94535200D6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19B6051-A386-4733-B7D7-E50B4AB9DB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242A58-9309-482D-BE7E-E6851242960B}" type="slidenum">
              <a:rPr lang="en-US" smtClean="0"/>
              <a:t>‹#›</a:t>
            </a:fld>
            <a:endParaRPr lang="en-US"/>
          </a:p>
        </p:txBody>
      </p:sp>
    </p:spTree>
    <p:extLst>
      <p:ext uri="{BB962C8B-B14F-4D97-AF65-F5344CB8AC3E}">
        <p14:creationId xmlns:p14="http://schemas.microsoft.com/office/powerpoint/2010/main" val="358649773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CB2A9C5F-569E-41BE-B5E5-7CBFE1B687B2}" type="datetime1">
              <a:rPr lang="en-GB" smtClean="0"/>
              <a:pPr/>
              <a:t>27/11/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GB"/>
              <a:t>|     Title of the presentation</a:t>
            </a:r>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7"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pic>
        <p:nvPicPr>
          <p:cNvPr id="8" name="Picture 7" descr="A close up of a logo&#10;&#10;Description generated with very high confidence">
            <a:extLst>
              <a:ext uri="{FF2B5EF4-FFF2-40B4-BE49-F238E27FC236}">
                <a16:creationId xmlns:a16="http://schemas.microsoft.com/office/drawing/2014/main" id="{F5E8F4CD-E184-4787-843D-77B4E71627D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9630847" y="379491"/>
            <a:ext cx="1974941" cy="694887"/>
          </a:xfrm>
          <a:prstGeom prst="rect">
            <a:avLst/>
          </a:prstGeom>
        </p:spPr>
      </p:pic>
    </p:spTree>
    <p:extLst>
      <p:ext uri="{BB962C8B-B14F-4D97-AF65-F5344CB8AC3E}">
        <p14:creationId xmlns:p14="http://schemas.microsoft.com/office/powerpoint/2010/main" val="4269317717"/>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Lst>
  <p:hf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49208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49" name="Rectangle 12">
            <a:extLst>
              <a:ext uri="{FF2B5EF4-FFF2-40B4-BE49-F238E27FC236}">
                <a16:creationId xmlns:a16="http://schemas.microsoft.com/office/drawing/2014/main" id="{995DEE4D-DE68-4D88-892E-A824D28BADE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52" name="Picture 17">
            <a:extLst>
              <a:ext uri="{FF2B5EF4-FFF2-40B4-BE49-F238E27FC236}">
                <a16:creationId xmlns:a16="http://schemas.microsoft.com/office/drawing/2014/main" id="{21E2EAA5-B57A-4298-86E2-F46FEDB28FDE}"/>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502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3" name="LegendLines" hidden="1">
            <a:extLst>
              <a:ext uri="{FF2B5EF4-FFF2-40B4-BE49-F238E27FC236}">
                <a16:creationId xmlns:a16="http://schemas.microsoft.com/office/drawing/2014/main" id="{824664CA-9CBA-4BC2-AEEE-EB680CBAC853}"/>
              </a:ext>
            </a:extLst>
          </p:cNvPr>
          <p:cNvGrpSpPr/>
          <p:nvPr userDrawn="1"/>
        </p:nvGrpSpPr>
        <p:grpSpPr>
          <a:xfrm>
            <a:off x="10317304" y="3150223"/>
            <a:ext cx="1319960" cy="958286"/>
            <a:chOff x="10162879" y="3243772"/>
            <a:chExt cx="1319960" cy="958286"/>
          </a:xfrm>
        </p:grpSpPr>
        <p:sp>
          <p:nvSpPr>
            <p:cNvPr id="154" name="Legend1">
              <a:extLst>
                <a:ext uri="{FF2B5EF4-FFF2-40B4-BE49-F238E27FC236}">
                  <a16:creationId xmlns:a16="http://schemas.microsoft.com/office/drawing/2014/main" id="{50866770-7E78-4B98-AE5C-FC36613ACEE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5" name="Legend2">
              <a:extLst>
                <a:ext uri="{FF2B5EF4-FFF2-40B4-BE49-F238E27FC236}">
                  <a16:creationId xmlns:a16="http://schemas.microsoft.com/office/drawing/2014/main" id="{60800198-ACA8-4569-B19F-EDC2AA39573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6" name="Legend3">
              <a:extLst>
                <a:ext uri="{FF2B5EF4-FFF2-40B4-BE49-F238E27FC236}">
                  <a16:creationId xmlns:a16="http://schemas.microsoft.com/office/drawing/2014/main" id="{1AD78493-2F46-4D78-B490-9CB3A59F0F25}"/>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7" name="LineLegend3">
              <a:extLst>
                <a:ext uri="{FF2B5EF4-FFF2-40B4-BE49-F238E27FC236}">
                  <a16:creationId xmlns:a16="http://schemas.microsoft.com/office/drawing/2014/main" id="{D78428E7-1031-4525-958D-2AEC82E576E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8" name="LineLegend2">
              <a:extLst>
                <a:ext uri="{FF2B5EF4-FFF2-40B4-BE49-F238E27FC236}">
                  <a16:creationId xmlns:a16="http://schemas.microsoft.com/office/drawing/2014/main" id="{32960FFE-A946-4DC5-A896-73EC6891F6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9" name="LineLegend1">
              <a:extLst>
                <a:ext uri="{FF2B5EF4-FFF2-40B4-BE49-F238E27FC236}">
                  <a16:creationId xmlns:a16="http://schemas.microsoft.com/office/drawing/2014/main" id="{2D89AC4B-3F7B-414E-BBC9-753E2DCD022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60" name="LegendMoons" hidden="1">
            <a:extLst>
              <a:ext uri="{FF2B5EF4-FFF2-40B4-BE49-F238E27FC236}">
                <a16:creationId xmlns:a16="http://schemas.microsoft.com/office/drawing/2014/main" id="{1C2C0F83-8077-434A-80BF-DC74551C0FEE}"/>
              </a:ext>
            </a:extLst>
          </p:cNvPr>
          <p:cNvGrpSpPr/>
          <p:nvPr userDrawn="1"/>
        </p:nvGrpSpPr>
        <p:grpSpPr>
          <a:xfrm>
            <a:off x="10688315" y="1145373"/>
            <a:ext cx="948949" cy="1731859"/>
            <a:chOff x="7723680" y="1702457"/>
            <a:chExt cx="948949" cy="1731859"/>
          </a:xfrm>
        </p:grpSpPr>
        <p:sp>
          <p:nvSpPr>
            <p:cNvPr id="161" name="Legend1">
              <a:extLst>
                <a:ext uri="{FF2B5EF4-FFF2-40B4-BE49-F238E27FC236}">
                  <a16:creationId xmlns:a16="http://schemas.microsoft.com/office/drawing/2014/main" id="{60EC90F2-C3D6-4A1E-A522-2B0084B9AE3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2" name="Legend2">
              <a:extLst>
                <a:ext uri="{FF2B5EF4-FFF2-40B4-BE49-F238E27FC236}">
                  <a16:creationId xmlns:a16="http://schemas.microsoft.com/office/drawing/2014/main" id="{608623A6-B3C2-40FD-9974-313B9899F29B}"/>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3" name="Legend3">
              <a:extLst>
                <a:ext uri="{FF2B5EF4-FFF2-40B4-BE49-F238E27FC236}">
                  <a16:creationId xmlns:a16="http://schemas.microsoft.com/office/drawing/2014/main" id="{079CB4EB-D6E1-4D96-95B5-5BA83C6B2D1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4" name="Legend4">
              <a:extLst>
                <a:ext uri="{FF2B5EF4-FFF2-40B4-BE49-F238E27FC236}">
                  <a16:creationId xmlns:a16="http://schemas.microsoft.com/office/drawing/2014/main" id="{2D239807-0A7B-4680-A18C-E70D41EBB90E}"/>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5" name="Legend5">
              <a:extLst>
                <a:ext uri="{FF2B5EF4-FFF2-40B4-BE49-F238E27FC236}">
                  <a16:creationId xmlns:a16="http://schemas.microsoft.com/office/drawing/2014/main" id="{31B15AEC-CBEB-4DC7-8CBE-55C046CC45AC}"/>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166" name="MoonLegend1">
              <a:extLst>
                <a:ext uri="{FF2B5EF4-FFF2-40B4-BE49-F238E27FC236}">
                  <a16:creationId xmlns:a16="http://schemas.microsoft.com/office/drawing/2014/main" id="{AE632BB1-F875-4D92-8B2F-237708A0CA61}"/>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90" name="Oval 189">
                <a:extLst>
                  <a:ext uri="{FF2B5EF4-FFF2-40B4-BE49-F238E27FC236}">
                    <a16:creationId xmlns:a16="http://schemas.microsoft.com/office/drawing/2014/main" id="{E7BB0302-2398-47BF-BAA0-1F7D6CFFC74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91" name="Arc 190">
                <a:extLst>
                  <a:ext uri="{FF2B5EF4-FFF2-40B4-BE49-F238E27FC236}">
                    <a16:creationId xmlns:a16="http://schemas.microsoft.com/office/drawing/2014/main" id="{1EC76811-ECA2-4449-B4B1-696BEA5678D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7" name="MoonLegend2">
              <a:extLst>
                <a:ext uri="{FF2B5EF4-FFF2-40B4-BE49-F238E27FC236}">
                  <a16:creationId xmlns:a16="http://schemas.microsoft.com/office/drawing/2014/main" id="{B3BB233A-1F5C-412E-96A0-C1B1668CF844}"/>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88" name="Oval 187">
                <a:extLst>
                  <a:ext uri="{FF2B5EF4-FFF2-40B4-BE49-F238E27FC236}">
                    <a16:creationId xmlns:a16="http://schemas.microsoft.com/office/drawing/2014/main" id="{677312EB-258E-4A3B-AF67-2E3390F5E0F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9" name="Arc 188">
                <a:extLst>
                  <a:ext uri="{FF2B5EF4-FFF2-40B4-BE49-F238E27FC236}">
                    <a16:creationId xmlns:a16="http://schemas.microsoft.com/office/drawing/2014/main" id="{AE4A3AA3-1575-43DC-A2FC-75F17D4920A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8" name="MoonLegend3">
              <a:extLst>
                <a:ext uri="{FF2B5EF4-FFF2-40B4-BE49-F238E27FC236}">
                  <a16:creationId xmlns:a16="http://schemas.microsoft.com/office/drawing/2014/main" id="{245259AB-784C-44BE-BC51-53B81C3C6047}"/>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85" name="Oval 184">
                <a:extLst>
                  <a:ext uri="{FF2B5EF4-FFF2-40B4-BE49-F238E27FC236}">
                    <a16:creationId xmlns:a16="http://schemas.microsoft.com/office/drawing/2014/main" id="{63530634-CB58-4B0E-8669-BD58DE6E7C8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7" name="Arc 186">
                <a:extLst>
                  <a:ext uri="{FF2B5EF4-FFF2-40B4-BE49-F238E27FC236}">
                    <a16:creationId xmlns:a16="http://schemas.microsoft.com/office/drawing/2014/main" id="{570FB72B-45DC-46A5-BB9A-8BDC5E58FACA}"/>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79" name="MoonLegend4">
              <a:extLst>
                <a:ext uri="{FF2B5EF4-FFF2-40B4-BE49-F238E27FC236}">
                  <a16:creationId xmlns:a16="http://schemas.microsoft.com/office/drawing/2014/main" id="{FBF435B8-807F-4D16-841C-6025441A19C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3" name="Oval 182">
                <a:extLst>
                  <a:ext uri="{FF2B5EF4-FFF2-40B4-BE49-F238E27FC236}">
                    <a16:creationId xmlns:a16="http://schemas.microsoft.com/office/drawing/2014/main" id="{8DCCA69E-B122-4D78-8DCB-61D80D85E58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4" name="Arc 183">
                <a:extLst>
                  <a:ext uri="{FF2B5EF4-FFF2-40B4-BE49-F238E27FC236}">
                    <a16:creationId xmlns:a16="http://schemas.microsoft.com/office/drawing/2014/main" id="{EBD6A758-DCE6-4ECA-8A27-B8158F3FA9C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80" name="MoonLegend5">
              <a:extLst>
                <a:ext uri="{FF2B5EF4-FFF2-40B4-BE49-F238E27FC236}">
                  <a16:creationId xmlns:a16="http://schemas.microsoft.com/office/drawing/2014/main" id="{5495CBB2-1285-426E-A323-C51AA6A72569}"/>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81" name="Oval 180">
                <a:extLst>
                  <a:ext uri="{FF2B5EF4-FFF2-40B4-BE49-F238E27FC236}">
                    <a16:creationId xmlns:a16="http://schemas.microsoft.com/office/drawing/2014/main" id="{0CD67488-479D-480B-BA77-F62D0CD5292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182" name="Arc 181">
                <a:extLst>
                  <a:ext uri="{FF2B5EF4-FFF2-40B4-BE49-F238E27FC236}">
                    <a16:creationId xmlns:a16="http://schemas.microsoft.com/office/drawing/2014/main" id="{6DE8F7C9-C68D-4169-8A18-D9ECEB28889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192" name="LegendBoxes" hidden="1">
            <a:extLst>
              <a:ext uri="{FF2B5EF4-FFF2-40B4-BE49-F238E27FC236}">
                <a16:creationId xmlns:a16="http://schemas.microsoft.com/office/drawing/2014/main" id="{B155AAC0-1705-4D70-B770-11BF11451495}"/>
              </a:ext>
            </a:extLst>
          </p:cNvPr>
          <p:cNvGrpSpPr/>
          <p:nvPr userDrawn="1"/>
        </p:nvGrpSpPr>
        <p:grpSpPr>
          <a:xfrm>
            <a:off x="10714801" y="4381500"/>
            <a:ext cx="922463" cy="1717282"/>
            <a:chOff x="10652400" y="4322824"/>
            <a:chExt cx="922463" cy="1717282"/>
          </a:xfrm>
        </p:grpSpPr>
        <p:sp>
          <p:nvSpPr>
            <p:cNvPr id="193" name="RectangleLegend1">
              <a:extLst>
                <a:ext uri="{FF2B5EF4-FFF2-40B4-BE49-F238E27FC236}">
                  <a16:creationId xmlns:a16="http://schemas.microsoft.com/office/drawing/2014/main" id="{86FC8069-537A-4597-9DA1-F1C857D7B76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4" name="RectangleLegend2">
              <a:extLst>
                <a:ext uri="{FF2B5EF4-FFF2-40B4-BE49-F238E27FC236}">
                  <a16:creationId xmlns:a16="http://schemas.microsoft.com/office/drawing/2014/main" id="{2502BF71-FDE8-4313-A13C-3FD87E6904D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5" name="RectangleLegend3">
              <a:extLst>
                <a:ext uri="{FF2B5EF4-FFF2-40B4-BE49-F238E27FC236}">
                  <a16:creationId xmlns:a16="http://schemas.microsoft.com/office/drawing/2014/main" id="{AAAC8C7F-D65F-4555-A58C-AE9E3B6D701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6" name="RectangleLegend4">
              <a:extLst>
                <a:ext uri="{FF2B5EF4-FFF2-40B4-BE49-F238E27FC236}">
                  <a16:creationId xmlns:a16="http://schemas.microsoft.com/office/drawing/2014/main" id="{A3594C7D-CFDB-4980-848D-11EA3BFC98E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97" name="RectangleLegend5">
              <a:extLst>
                <a:ext uri="{FF2B5EF4-FFF2-40B4-BE49-F238E27FC236}">
                  <a16:creationId xmlns:a16="http://schemas.microsoft.com/office/drawing/2014/main" id="{27D659C1-FA2F-4455-88B1-C3AAAC688F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7" name="Legend1">
              <a:extLst>
                <a:ext uri="{FF2B5EF4-FFF2-40B4-BE49-F238E27FC236}">
                  <a16:creationId xmlns:a16="http://schemas.microsoft.com/office/drawing/2014/main" id="{DD68C5FB-28D3-4635-BB70-CDC92FE3C38A}"/>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8" name="Legend2">
              <a:extLst>
                <a:ext uri="{FF2B5EF4-FFF2-40B4-BE49-F238E27FC236}">
                  <a16:creationId xmlns:a16="http://schemas.microsoft.com/office/drawing/2014/main" id="{0F1454F8-83B7-4593-9440-E5FFBC024CAB}"/>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9" name="Legend3">
              <a:extLst>
                <a:ext uri="{FF2B5EF4-FFF2-40B4-BE49-F238E27FC236}">
                  <a16:creationId xmlns:a16="http://schemas.microsoft.com/office/drawing/2014/main" id="{939A538E-F8F2-4DC4-AB07-DB4B55953C0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0" name="Legend4">
              <a:extLst>
                <a:ext uri="{FF2B5EF4-FFF2-40B4-BE49-F238E27FC236}">
                  <a16:creationId xmlns:a16="http://schemas.microsoft.com/office/drawing/2014/main" id="{8D10687F-B099-467B-8A36-F9E9168AE45D}"/>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1" name="Legend5">
              <a:extLst>
                <a:ext uri="{FF2B5EF4-FFF2-40B4-BE49-F238E27FC236}">
                  <a16:creationId xmlns:a16="http://schemas.microsoft.com/office/drawing/2014/main" id="{B548876E-830B-4B02-86BE-66E2E18A68BF}"/>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7" name="Straight Connector 6">
            <a:extLst>
              <a:ext uri="{FF2B5EF4-FFF2-40B4-BE49-F238E27FC236}">
                <a16:creationId xmlns:a16="http://schemas.microsoft.com/office/drawing/2014/main" id="{DF6FFE83-1A24-49A9-A905-1B582A31325C}"/>
              </a:ext>
            </a:extLst>
          </p:cNvPr>
          <p:cNvCxnSpPr/>
          <p:nvPr userDrawn="1"/>
        </p:nvCxnSpPr>
        <p:spPr>
          <a:xfrm>
            <a:off x="-7620" y="96011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27648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02.xml"/></Relationships>
</file>

<file path=ppt/slides/_rels/slide12.xml.rels><?xml version="1.0" encoding="UTF-8" standalone="yes"?>
<Relationships xmlns="http://schemas.openxmlformats.org/package/2006/relationships"><Relationship Id="rId8" Type="http://schemas.openxmlformats.org/officeDocument/2006/relationships/tags" Target="../tags/tag265.xml"/><Relationship Id="rId13" Type="http://schemas.openxmlformats.org/officeDocument/2006/relationships/oleObject" Target="../embeddings/oleObject37.bin"/><Relationship Id="rId18" Type="http://schemas.openxmlformats.org/officeDocument/2006/relationships/image" Target="../media/image50.png"/><Relationship Id="rId3" Type="http://schemas.openxmlformats.org/officeDocument/2006/relationships/tags" Target="../tags/tag260.xml"/><Relationship Id="rId21" Type="http://schemas.openxmlformats.org/officeDocument/2006/relationships/image" Target="../media/image53.svg"/><Relationship Id="rId7" Type="http://schemas.openxmlformats.org/officeDocument/2006/relationships/tags" Target="../tags/tag264.xml"/><Relationship Id="rId12" Type="http://schemas.openxmlformats.org/officeDocument/2006/relationships/notesSlide" Target="../notesSlides/notesSlide10.xml"/><Relationship Id="rId17" Type="http://schemas.openxmlformats.org/officeDocument/2006/relationships/image" Target="../media/image49.png"/><Relationship Id="rId2" Type="http://schemas.openxmlformats.org/officeDocument/2006/relationships/tags" Target="../tags/tag259.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tags" Target="../tags/tag258.xml"/><Relationship Id="rId6" Type="http://schemas.openxmlformats.org/officeDocument/2006/relationships/tags" Target="../tags/tag263.xml"/><Relationship Id="rId11" Type="http://schemas.openxmlformats.org/officeDocument/2006/relationships/slideLayout" Target="../slideLayouts/slideLayout142.xml"/><Relationship Id="rId5" Type="http://schemas.openxmlformats.org/officeDocument/2006/relationships/tags" Target="../tags/tag262.xml"/><Relationship Id="rId15" Type="http://schemas.openxmlformats.org/officeDocument/2006/relationships/image" Target="../media/image47.png"/><Relationship Id="rId10" Type="http://schemas.openxmlformats.org/officeDocument/2006/relationships/tags" Target="../tags/tag267.xml"/><Relationship Id="rId19" Type="http://schemas.openxmlformats.org/officeDocument/2006/relationships/image" Target="../media/image51.svg"/><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image" Target="../media/image46.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2.xml"/><Relationship Id="rId1" Type="http://schemas.openxmlformats.org/officeDocument/2006/relationships/tags" Target="../tags/tag268.xml"/><Relationship Id="rId5" Type="http://schemas.openxmlformats.org/officeDocument/2006/relationships/image" Target="../media/image46.emf"/><Relationship Id="rId4" Type="http://schemas.openxmlformats.org/officeDocument/2006/relationships/oleObject" Target="../embeddings/oleObject38.bin"/></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71.xml"/></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171.xml"/></Relationships>
</file>

<file path=ppt/slides/_rels/slide16.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image" Target="../media/image56.emf"/><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oleObject" Target="../embeddings/oleObject39.bin"/><Relationship Id="rId5" Type="http://schemas.openxmlformats.org/officeDocument/2006/relationships/notesSlide" Target="../notesSlides/notesSlide13.xml"/><Relationship Id="rId4"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274.xml"/><Relationship Id="rId7" Type="http://schemas.openxmlformats.org/officeDocument/2006/relationships/image" Target="../media/image46.emf"/><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oleObject" Target="../embeddings/oleObject40.bin"/><Relationship Id="rId5" Type="http://schemas.openxmlformats.org/officeDocument/2006/relationships/notesSlide" Target="../notesSlides/notesSlide14.xml"/><Relationship Id="rId4"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46.emf"/><Relationship Id="rId5" Type="http://schemas.openxmlformats.org/officeDocument/2006/relationships/oleObject" Target="../embeddings/oleObject41.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9.xml"/><Relationship Id="rId1" Type="http://schemas.openxmlformats.org/officeDocument/2006/relationships/tags" Target="../tags/tag277.xml"/></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17.xml"/><Relationship Id="rId13" Type="http://schemas.openxmlformats.org/officeDocument/2006/relationships/image" Target="../media/image59.png"/><Relationship Id="rId3" Type="http://schemas.openxmlformats.org/officeDocument/2006/relationships/tags" Target="../tags/tag280.xml"/><Relationship Id="rId7" Type="http://schemas.openxmlformats.org/officeDocument/2006/relationships/slideLayout" Target="../slideLayouts/slideLayout39.xml"/><Relationship Id="rId12" Type="http://schemas.openxmlformats.org/officeDocument/2006/relationships/image" Target="../media/image58.sv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image" Target="../media/image50.png"/><Relationship Id="rId5" Type="http://schemas.openxmlformats.org/officeDocument/2006/relationships/tags" Target="../tags/tag282.xml"/><Relationship Id="rId10" Type="http://schemas.openxmlformats.org/officeDocument/2006/relationships/image" Target="../media/image46.emf"/><Relationship Id="rId4" Type="http://schemas.openxmlformats.org/officeDocument/2006/relationships/tags" Target="../tags/tag281.xml"/><Relationship Id="rId9" Type="http://schemas.openxmlformats.org/officeDocument/2006/relationships/oleObject" Target="../embeddings/oleObject40.bin"/></Relationships>
</file>

<file path=ppt/slides/_rels/slide22.xml.rels><?xml version="1.0" encoding="UTF-8" standalone="yes"?>
<Relationships xmlns="http://schemas.openxmlformats.org/package/2006/relationships"><Relationship Id="rId8" Type="http://schemas.openxmlformats.org/officeDocument/2006/relationships/tags" Target="../tags/tag291.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46.emf"/><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oleObject" Target="../embeddings/oleObject42.bin"/><Relationship Id="rId5" Type="http://schemas.openxmlformats.org/officeDocument/2006/relationships/tags" Target="../tags/tag288.xml"/><Relationship Id="rId10" Type="http://schemas.openxmlformats.org/officeDocument/2006/relationships/notesSlide" Target="../notesSlides/notesSlide18.xml"/><Relationship Id="rId4" Type="http://schemas.openxmlformats.org/officeDocument/2006/relationships/tags" Target="../tags/tag287.xml"/><Relationship Id="rId9"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19.xml"/><Relationship Id="rId3" Type="http://schemas.openxmlformats.org/officeDocument/2006/relationships/tags" Target="../tags/tag294.xml"/><Relationship Id="rId7" Type="http://schemas.openxmlformats.org/officeDocument/2006/relationships/slideLayout" Target="../slideLayouts/slideLayout39.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5" Type="http://schemas.openxmlformats.org/officeDocument/2006/relationships/tags" Target="../tags/tag296.xml"/><Relationship Id="rId10" Type="http://schemas.openxmlformats.org/officeDocument/2006/relationships/image" Target="../media/image46.emf"/><Relationship Id="rId4" Type="http://schemas.openxmlformats.org/officeDocument/2006/relationships/tags" Target="../tags/tag295.xml"/><Relationship Id="rId9" Type="http://schemas.openxmlformats.org/officeDocument/2006/relationships/oleObject" Target="../embeddings/oleObject4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61.png"/><Relationship Id="rId2" Type="http://schemas.openxmlformats.org/officeDocument/2006/relationships/slideLayout" Target="../slideLayouts/slideLayout39.xml"/><Relationship Id="rId1" Type="http://schemas.openxmlformats.org/officeDocument/2006/relationships/tags" Target="../tags/tag298.xml"/><Relationship Id="rId6" Type="http://schemas.openxmlformats.org/officeDocument/2006/relationships/image" Target="../media/image60.png"/><Relationship Id="rId5" Type="http://schemas.openxmlformats.org/officeDocument/2006/relationships/image" Target="../media/image46.emf"/><Relationship Id="rId4" Type="http://schemas.openxmlformats.org/officeDocument/2006/relationships/oleObject" Target="../embeddings/oleObject44.bin"/></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1.xml"/><Relationship Id="rId13" Type="http://schemas.openxmlformats.org/officeDocument/2006/relationships/image" Target="../media/image64.png"/><Relationship Id="rId3" Type="http://schemas.openxmlformats.org/officeDocument/2006/relationships/tags" Target="../tags/tag301.xml"/><Relationship Id="rId7" Type="http://schemas.openxmlformats.org/officeDocument/2006/relationships/slideLayout" Target="../slideLayouts/slideLayout39.xml"/><Relationship Id="rId12" Type="http://schemas.openxmlformats.org/officeDocument/2006/relationships/image" Target="../media/image63.pn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tags" Target="../tags/tag304.xml"/><Relationship Id="rId11" Type="http://schemas.openxmlformats.org/officeDocument/2006/relationships/image" Target="../media/image46.emf"/><Relationship Id="rId5" Type="http://schemas.openxmlformats.org/officeDocument/2006/relationships/tags" Target="../tags/tag303.xml"/><Relationship Id="rId10" Type="http://schemas.openxmlformats.org/officeDocument/2006/relationships/oleObject" Target="../embeddings/oleObject45.bin"/><Relationship Id="rId4" Type="http://schemas.openxmlformats.org/officeDocument/2006/relationships/tags" Target="../tags/tag302.xml"/><Relationship Id="rId9" Type="http://schemas.openxmlformats.org/officeDocument/2006/relationships/image" Target="../media/image62.png"/></Relationships>
</file>

<file path=ppt/slides/_rels/slide2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13.xml"/></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hyperlink" Target="http://apps.who.int/gb/ebwha/pdf_files/WHA71/A71(15)-en.pdf" TargetMode="External"/></Relationships>
</file>

<file path=ppt/slides/_rels/slide4.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hyperlink" Target="https://apps.who.int/iris/bitstream/handle/10665/345531/WER27september2021-specialissue-eng-fre.pdf?sequence=1&amp;isAllowed=y" TargetMode="External"/><Relationship Id="rId5" Type="http://schemas.openxmlformats.org/officeDocument/2006/relationships/image" Target="../media/image42.png"/><Relationship Id="rId4" Type="http://schemas.microsoft.com/office/2014/relationships/chartEx" Target="../charts/chartEx1.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E9BE6-770B-E546-B856-9AE8A8AD6114}"/>
              </a:ext>
            </a:extLst>
          </p:cNvPr>
          <p:cNvSpPr>
            <a:spLocks noGrp="1"/>
          </p:cNvSpPr>
          <p:nvPr>
            <p:ph type="ctrTitle"/>
          </p:nvPr>
        </p:nvSpPr>
        <p:spPr>
          <a:xfrm>
            <a:off x="457199" y="685419"/>
            <a:ext cx="11229976" cy="2387600"/>
          </a:xfrm>
        </p:spPr>
        <p:txBody>
          <a:bodyPr/>
          <a:lstStyle/>
          <a:p>
            <a:r>
              <a:rPr lang="ru-RU" dirty="0"/>
              <a:t>Национальный план действий по охране здоровья: где мы сейчас и куда мы идем</a:t>
            </a:r>
            <a:r>
              <a:rPr lang="en-US" dirty="0"/>
              <a:t>?</a:t>
            </a:r>
          </a:p>
        </p:txBody>
      </p:sp>
      <p:sp>
        <p:nvSpPr>
          <p:cNvPr id="3" name="Subtitle 2">
            <a:extLst>
              <a:ext uri="{FF2B5EF4-FFF2-40B4-BE49-F238E27FC236}">
                <a16:creationId xmlns:a16="http://schemas.microsoft.com/office/drawing/2014/main" id="{7AD05776-BD58-2F49-9E15-216C84F4F908}"/>
              </a:ext>
            </a:extLst>
          </p:cNvPr>
          <p:cNvSpPr>
            <a:spLocks noGrp="1"/>
          </p:cNvSpPr>
          <p:nvPr>
            <p:ph type="subTitle" idx="1"/>
          </p:nvPr>
        </p:nvSpPr>
        <p:spPr>
          <a:xfrm>
            <a:off x="457199" y="3784982"/>
            <a:ext cx="8900798" cy="1655762"/>
          </a:xfrm>
        </p:spPr>
        <p:txBody>
          <a:bodyPr>
            <a:normAutofit fontScale="92500"/>
          </a:bodyPr>
          <a:lstStyle/>
          <a:p>
            <a:r>
              <a:rPr lang="ru-RU" dirty="0"/>
              <a:t>Д-р Юсси Сане</a:t>
            </a:r>
          </a:p>
          <a:p>
            <a:r>
              <a:rPr lang="ru-RU" dirty="0"/>
              <a:t>Готовность страны к чрезвычайным ситуациям в области здравоохранения и ММСП</a:t>
            </a:r>
          </a:p>
          <a:p>
            <a:r>
              <a:rPr lang="ru-RU" dirty="0"/>
              <a:t>Программа ВОЗ по чрезвычайным ситуациям в области здравоохранения</a:t>
            </a:r>
          </a:p>
          <a:p>
            <a:endParaRPr lang="en-US" dirty="0"/>
          </a:p>
        </p:txBody>
      </p:sp>
    </p:spTree>
    <p:extLst>
      <p:ext uri="{BB962C8B-B14F-4D97-AF65-F5344CB8AC3E}">
        <p14:creationId xmlns:p14="http://schemas.microsoft.com/office/powerpoint/2010/main" val="4100555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DD38EE57-B708-47C9-A4A4-E25F09FAB0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57A28182-58A5-4DBB-8F64-BD944BCA815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9710" y="635715"/>
            <a:ext cx="11142208" cy="2482136"/>
            <a:chOff x="409710" y="635715"/>
            <a:chExt cx="11142208" cy="2482136"/>
          </a:xfrm>
        </p:grpSpPr>
        <p:sp>
          <p:nvSpPr>
            <p:cNvPr id="15" name="Freeform 44">
              <a:extLst>
                <a:ext uri="{FF2B5EF4-FFF2-40B4-BE49-F238E27FC236}">
                  <a16:creationId xmlns:a16="http://schemas.microsoft.com/office/drawing/2014/main" id="{E4A9080E-7BA6-45FC-8677-8B9D5F4DAFE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45">
              <a:extLst>
                <a:ext uri="{FF2B5EF4-FFF2-40B4-BE49-F238E27FC236}">
                  <a16:creationId xmlns:a16="http://schemas.microsoft.com/office/drawing/2014/main" id="{2163D516-75D4-4DE0-AC27-63719125AE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Freeform 46">
              <a:extLst>
                <a:ext uri="{FF2B5EF4-FFF2-40B4-BE49-F238E27FC236}">
                  <a16:creationId xmlns:a16="http://schemas.microsoft.com/office/drawing/2014/main" id="{E74A26A5-C23A-46D4-B0FF-155FB383462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47">
              <a:extLst>
                <a:ext uri="{FF2B5EF4-FFF2-40B4-BE49-F238E27FC236}">
                  <a16:creationId xmlns:a16="http://schemas.microsoft.com/office/drawing/2014/main" id="{08E0243F-1062-43C6-AD04-130DFF66840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94C5517B-1B0F-47AA-93A5-36718996986F}"/>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Title 1">
            <a:extLst>
              <a:ext uri="{FF2B5EF4-FFF2-40B4-BE49-F238E27FC236}">
                <a16:creationId xmlns:a16="http://schemas.microsoft.com/office/drawing/2014/main" id="{A5814D3E-18B4-452F-83F9-5684426FF2BE}"/>
              </a:ext>
            </a:extLst>
          </p:cNvPr>
          <p:cNvSpPr>
            <a:spLocks noGrp="1"/>
          </p:cNvSpPr>
          <p:nvPr>
            <p:ph type="title"/>
          </p:nvPr>
        </p:nvSpPr>
        <p:spPr>
          <a:xfrm>
            <a:off x="1047280" y="759805"/>
            <a:ext cx="10306520" cy="1325563"/>
          </a:xfrm>
        </p:spPr>
        <p:txBody>
          <a:bodyPr vert="horz" lIns="91440" tIns="45720" rIns="91440" bIns="45720" rtlCol="0">
            <a:normAutofit fontScale="90000"/>
          </a:bodyPr>
          <a:lstStyle/>
          <a:p>
            <a:r>
              <a:rPr lang="en-US" sz="4000" kern="1200" dirty="0">
                <a:solidFill>
                  <a:srgbClr val="FFFFFF"/>
                </a:solidFill>
                <a:latin typeface="+mj-lt"/>
                <a:ea typeface="+mj-ea"/>
                <a:cs typeface="+mj-cs"/>
              </a:rPr>
              <a:t>5-</a:t>
            </a:r>
            <a:r>
              <a:rPr lang="ru-RU" sz="4000" kern="1200" dirty="0">
                <a:solidFill>
                  <a:srgbClr val="FFFFFF"/>
                </a:solidFill>
                <a:latin typeface="+mj-lt"/>
                <a:ea typeface="+mj-ea"/>
                <a:cs typeface="+mj-cs"/>
              </a:rPr>
              <a:t>летний</a:t>
            </a:r>
            <a:r>
              <a:rPr lang="en-US" sz="4000" kern="1200" dirty="0">
                <a:solidFill>
                  <a:srgbClr val="FFFFFF"/>
                </a:solidFill>
                <a:latin typeface="+mj-lt"/>
                <a:ea typeface="+mj-ea"/>
                <a:cs typeface="+mj-cs"/>
              </a:rPr>
              <a:t> NAPHS </a:t>
            </a:r>
            <a:r>
              <a:rPr lang="ru-RU" sz="4000" kern="1200" dirty="0">
                <a:solidFill>
                  <a:srgbClr val="FFFFFF"/>
                </a:solidFill>
                <a:latin typeface="+mj-lt"/>
                <a:ea typeface="+mj-ea"/>
                <a:cs typeface="+mj-cs"/>
              </a:rPr>
              <a:t>и</a:t>
            </a:r>
            <a:br>
              <a:rPr lang="en-US" sz="4000" kern="1200" dirty="0">
                <a:solidFill>
                  <a:srgbClr val="FFFFFF"/>
                </a:solidFill>
                <a:latin typeface="+mj-lt"/>
                <a:ea typeface="+mj-ea"/>
                <a:cs typeface="+mj-cs"/>
              </a:rPr>
            </a:br>
            <a:r>
              <a:rPr lang="ru-RU" sz="4000" kern="1200" dirty="0">
                <a:solidFill>
                  <a:srgbClr val="FFFFFF"/>
                </a:solidFill>
                <a:latin typeface="+mj-lt"/>
                <a:ea typeface="+mj-ea"/>
                <a:cs typeface="+mj-cs"/>
              </a:rPr>
              <a:t>План приоритетных действий на 12-24 месяца</a:t>
            </a:r>
            <a:endParaRPr lang="en-US" sz="4000" kern="1200" dirty="0">
              <a:solidFill>
                <a:srgbClr val="FFFFFF"/>
              </a:solidFill>
              <a:latin typeface="+mj-lt"/>
              <a:ea typeface="+mj-ea"/>
              <a:cs typeface="+mj-cs"/>
            </a:endParaRPr>
          </a:p>
        </p:txBody>
      </p:sp>
      <p:sp>
        <p:nvSpPr>
          <p:cNvPr id="6" name="Content Placeholder 5">
            <a:extLst>
              <a:ext uri="{FF2B5EF4-FFF2-40B4-BE49-F238E27FC236}">
                <a16:creationId xmlns:a16="http://schemas.microsoft.com/office/drawing/2014/main" id="{3C9789FC-51B8-2B14-9DB3-0C9D6C78B202}"/>
              </a:ext>
            </a:extLst>
          </p:cNvPr>
          <p:cNvSpPr>
            <a:spLocks noGrp="1"/>
          </p:cNvSpPr>
          <p:nvPr>
            <p:ph idx="1"/>
          </p:nvPr>
        </p:nvSpPr>
        <p:spPr>
          <a:xfrm>
            <a:off x="1371638" y="2904005"/>
            <a:ext cx="4053545" cy="1926630"/>
          </a:xfrm>
        </p:spPr>
        <p:style>
          <a:lnRef idx="2">
            <a:schemeClr val="accent4"/>
          </a:lnRef>
          <a:fillRef idx="1">
            <a:schemeClr val="lt1"/>
          </a:fillRef>
          <a:effectRef idx="0">
            <a:schemeClr val="accent4"/>
          </a:effectRef>
          <a:fontRef idx="minor">
            <a:schemeClr val="dk1"/>
          </a:fontRef>
        </p:style>
        <p:txBody>
          <a:bodyPr>
            <a:normAutofit fontScale="85000" lnSpcReduction="10000"/>
          </a:bodyPr>
          <a:lstStyle/>
          <a:p>
            <a:pPr>
              <a:lnSpc>
                <a:spcPct val="90000"/>
              </a:lnSpc>
            </a:pPr>
            <a:r>
              <a:rPr lang="ru-RU" sz="1700" b="1" dirty="0">
                <a:latin typeface="Arial" panose="020B0604020202020204" pitchFamily="34" charset="0"/>
              </a:rPr>
              <a:t>5-летний</a:t>
            </a:r>
            <a:r>
              <a:rPr lang="en-US" sz="1700" b="1" i="0" dirty="0">
                <a:effectLst/>
                <a:latin typeface="Arial" panose="020B0604020202020204" pitchFamily="34" charset="0"/>
              </a:rPr>
              <a:t> NAPHS: </a:t>
            </a:r>
            <a:r>
              <a:rPr lang="ru-RU" sz="1700" i="0" dirty="0">
                <a:effectLst/>
                <a:latin typeface="Arial" panose="020B0604020202020204" pitchFamily="34" charset="0"/>
              </a:rPr>
              <a:t>Стратегические приоритеты высокого уровня в отношении </a:t>
            </a:r>
            <a:r>
              <a:rPr lang="ru-RU" sz="1700" i="0" u="sng" dirty="0">
                <a:effectLst/>
                <a:latin typeface="Arial" panose="020B0604020202020204" pitchFamily="34" charset="0"/>
              </a:rPr>
              <a:t>всех опасностей </a:t>
            </a:r>
            <a:r>
              <a:rPr lang="ru-RU" sz="1700" i="0" dirty="0">
                <a:effectLst/>
                <a:latin typeface="Arial" panose="020B0604020202020204" pitchFamily="34" charset="0"/>
              </a:rPr>
              <a:t>на следующие 5 лет</a:t>
            </a:r>
            <a:endParaRPr lang="en-US" sz="1700" i="0" dirty="0">
              <a:effectLst/>
              <a:latin typeface="Arial" panose="020B0604020202020204" pitchFamily="34" charset="0"/>
            </a:endParaRPr>
          </a:p>
          <a:p>
            <a:pPr>
              <a:lnSpc>
                <a:spcPct val="90000"/>
              </a:lnSpc>
            </a:pPr>
            <a:endParaRPr lang="en-US" sz="1700" b="1" i="0" dirty="0">
              <a:effectLst/>
              <a:latin typeface="Arial" panose="020B0604020202020204" pitchFamily="34" charset="0"/>
            </a:endParaRPr>
          </a:p>
          <a:p>
            <a:pPr>
              <a:lnSpc>
                <a:spcPct val="90000"/>
              </a:lnSpc>
            </a:pPr>
            <a:r>
              <a:rPr lang="ru-RU" sz="1700" b="1" dirty="0">
                <a:latin typeface="Arial" panose="020B0604020202020204" pitchFamily="34" charset="0"/>
              </a:rPr>
              <a:t>Операционные планы NAPHS на 12-24 месяца: </a:t>
            </a:r>
            <a:r>
              <a:rPr lang="ru-RU" sz="1700" dirty="0">
                <a:latin typeface="Arial" panose="020B0604020202020204" pitchFamily="34" charset="0"/>
              </a:rPr>
              <a:t>конкретные, осуществимые и управляемые приоритеты в отношении </a:t>
            </a:r>
            <a:r>
              <a:rPr lang="ru-RU" sz="1700" u="sng" dirty="0">
                <a:latin typeface="Arial" panose="020B0604020202020204" pitchFamily="34" charset="0"/>
              </a:rPr>
              <a:t>всех опасностей</a:t>
            </a:r>
            <a:r>
              <a:rPr lang="ru-RU" sz="1700" dirty="0">
                <a:latin typeface="Arial" panose="020B0604020202020204" pitchFamily="34" charset="0"/>
              </a:rPr>
              <a:t> для реализации в ближайшие 1-2 года</a:t>
            </a:r>
          </a:p>
        </p:txBody>
      </p:sp>
      <p:pic>
        <p:nvPicPr>
          <p:cNvPr id="3" name="Picture 2">
            <a:extLst>
              <a:ext uri="{FF2B5EF4-FFF2-40B4-BE49-F238E27FC236}">
                <a16:creationId xmlns:a16="http://schemas.microsoft.com/office/drawing/2014/main" id="{A29CE933-34AF-4CEE-82FF-0805B8E81EC0}"/>
              </a:ext>
            </a:extLst>
          </p:cNvPr>
          <p:cNvPicPr>
            <a:picLocks noChangeAspect="1"/>
          </p:cNvPicPr>
          <p:nvPr/>
        </p:nvPicPr>
        <p:blipFill>
          <a:blip r:embed="rId3"/>
          <a:stretch>
            <a:fillRect/>
          </a:stretch>
        </p:blipFill>
        <p:spPr>
          <a:xfrm>
            <a:off x="6355138" y="2543175"/>
            <a:ext cx="4802404" cy="2418232"/>
          </a:xfrm>
          <a:prstGeom prst="rect">
            <a:avLst/>
          </a:prstGeom>
        </p:spPr>
      </p:pic>
      <p:sp>
        <p:nvSpPr>
          <p:cNvPr id="4" name="Slide Number Placeholder 3">
            <a:extLst>
              <a:ext uri="{FF2B5EF4-FFF2-40B4-BE49-F238E27FC236}">
                <a16:creationId xmlns:a16="http://schemas.microsoft.com/office/drawing/2014/main" id="{63EFA781-F457-448D-B243-3029F6B705B8}"/>
              </a:ext>
            </a:extLst>
          </p:cNvPr>
          <p:cNvSpPr>
            <a:spLocks noGrp="1"/>
          </p:cNvSpPr>
          <p:nvPr>
            <p:ph type="sldNum" sz="quarter" idx="12"/>
          </p:nvPr>
        </p:nvSpPr>
        <p:spPr>
          <a:xfrm>
            <a:off x="10707624" y="6382512"/>
            <a:ext cx="685800" cy="320040"/>
          </a:xfrm>
        </p:spPr>
        <p:txBody>
          <a:bodyPr vert="horz" lIns="91440" tIns="45720" rIns="91440" bIns="45720" rtlCol="0">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2E375D5-DD51-4DDF-87E6-FA82A457ECD1}" type="slidenum">
              <a:rPr kumimoji="0" lang="en-US" sz="10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0</a:t>
            </a:fld>
            <a:endParaRPr kumimoji="0" lang="en-US" sz="10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D6000C63-AB55-A8A1-8462-3F4866535D5C}"/>
              </a:ext>
            </a:extLst>
          </p:cNvPr>
          <p:cNvSpPr/>
          <p:nvPr/>
        </p:nvSpPr>
        <p:spPr>
          <a:xfrm>
            <a:off x="830094" y="2503252"/>
            <a:ext cx="10583693" cy="2133600"/>
          </a:xfrm>
          <a:prstGeom prst="rect">
            <a:avLst/>
          </a:prstGeom>
          <a:ln>
            <a:noFill/>
          </a:ln>
        </p:spPr>
        <p:txBody>
          <a:bodyPr wrap="square" numCol="2" rtlCol="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sp>
        <p:nvSpPr>
          <p:cNvPr id="5" name="TextBox 4">
            <a:extLst>
              <a:ext uri="{FF2B5EF4-FFF2-40B4-BE49-F238E27FC236}">
                <a16:creationId xmlns:a16="http://schemas.microsoft.com/office/drawing/2014/main" id="{38CD22B8-BB04-4AF4-B843-E8DCA694CBF0}"/>
              </a:ext>
            </a:extLst>
          </p:cNvPr>
          <p:cNvSpPr txBox="1"/>
          <p:nvPr/>
        </p:nvSpPr>
        <p:spPr>
          <a:xfrm>
            <a:off x="4290347" y="5656007"/>
            <a:ext cx="500056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black"/>
                </a:solidFill>
                <a:effectLst/>
                <a:uLnTx/>
                <a:uFillTx/>
                <a:latin typeface="Calibri"/>
                <a:ea typeface="+mn-ea"/>
                <a:cs typeface="+mn-cs"/>
              </a:rPr>
              <a:t>Включая небиологические риски и связь с планированием управления рисками бедствий и наращиванием потенциала.</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Arrow: Down 8">
            <a:extLst>
              <a:ext uri="{FF2B5EF4-FFF2-40B4-BE49-F238E27FC236}">
                <a16:creationId xmlns:a16="http://schemas.microsoft.com/office/drawing/2014/main" id="{3B351E4C-6FDE-466F-9AC1-39EE1015EF97}"/>
              </a:ext>
            </a:extLst>
          </p:cNvPr>
          <p:cNvSpPr/>
          <p:nvPr/>
        </p:nvSpPr>
        <p:spPr>
          <a:xfrm>
            <a:off x="5890289" y="5031181"/>
            <a:ext cx="408373" cy="424281"/>
          </a:xfrm>
          <a:prstGeom prst="downArrow">
            <a:avLst/>
          </a:prstGeom>
          <a:solidFill>
            <a:schemeClr val="accent4"/>
          </a:solidFill>
          <a:ln>
            <a:noFill/>
          </a:ln>
        </p:spPr>
        <p:txBody>
          <a:bodyPr wrap="square" numCol="2" rtlCol="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spTree>
    <p:extLst>
      <p:ext uri="{BB962C8B-B14F-4D97-AF65-F5344CB8AC3E}">
        <p14:creationId xmlns:p14="http://schemas.microsoft.com/office/powerpoint/2010/main" val="15206339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DD38EE57-B708-47C9-A4A4-E25F09FAB0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57A28182-58A5-4DBB-8F64-BD944BCA815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9710" y="635715"/>
            <a:ext cx="11142208" cy="2482136"/>
            <a:chOff x="409710" y="635715"/>
            <a:chExt cx="11142208" cy="2482136"/>
          </a:xfrm>
        </p:grpSpPr>
        <p:sp>
          <p:nvSpPr>
            <p:cNvPr id="15" name="Freeform 44">
              <a:extLst>
                <a:ext uri="{FF2B5EF4-FFF2-40B4-BE49-F238E27FC236}">
                  <a16:creationId xmlns:a16="http://schemas.microsoft.com/office/drawing/2014/main" id="{E4A9080E-7BA6-45FC-8677-8B9D5F4DAFE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45">
              <a:extLst>
                <a:ext uri="{FF2B5EF4-FFF2-40B4-BE49-F238E27FC236}">
                  <a16:creationId xmlns:a16="http://schemas.microsoft.com/office/drawing/2014/main" id="{2163D516-75D4-4DE0-AC27-63719125AE52}"/>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Freeform 46">
              <a:extLst>
                <a:ext uri="{FF2B5EF4-FFF2-40B4-BE49-F238E27FC236}">
                  <a16:creationId xmlns:a16="http://schemas.microsoft.com/office/drawing/2014/main" id="{E74A26A5-C23A-46D4-B0FF-155FB383462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47">
              <a:extLst>
                <a:ext uri="{FF2B5EF4-FFF2-40B4-BE49-F238E27FC236}">
                  <a16:creationId xmlns:a16="http://schemas.microsoft.com/office/drawing/2014/main" id="{08E0243F-1062-43C6-AD04-130DFF66840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94C5517B-1B0F-47AA-93A5-36718996986F}"/>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Title 1">
            <a:extLst>
              <a:ext uri="{FF2B5EF4-FFF2-40B4-BE49-F238E27FC236}">
                <a16:creationId xmlns:a16="http://schemas.microsoft.com/office/drawing/2014/main" id="{A5814D3E-18B4-452F-83F9-5684426FF2BE}"/>
              </a:ext>
            </a:extLst>
          </p:cNvPr>
          <p:cNvSpPr>
            <a:spLocks noGrp="1"/>
          </p:cNvSpPr>
          <p:nvPr>
            <p:ph type="title"/>
          </p:nvPr>
        </p:nvSpPr>
        <p:spPr>
          <a:xfrm>
            <a:off x="1047280" y="759805"/>
            <a:ext cx="10306520" cy="1325563"/>
          </a:xfrm>
        </p:spPr>
        <p:txBody>
          <a:bodyPr vert="horz" lIns="91440" tIns="45720" rIns="91440" bIns="45720" rtlCol="0">
            <a:normAutofit fontScale="90000"/>
          </a:bodyPr>
          <a:lstStyle/>
          <a:p>
            <a:r>
              <a:rPr lang="en-US" sz="4000" kern="1200" dirty="0">
                <a:solidFill>
                  <a:srgbClr val="FFFFFF"/>
                </a:solidFill>
                <a:latin typeface="+mj-lt"/>
                <a:ea typeface="+mj-ea"/>
                <a:cs typeface="+mj-cs"/>
              </a:rPr>
              <a:t>5-</a:t>
            </a:r>
            <a:r>
              <a:rPr lang="ru-RU" sz="4000" kern="1200" dirty="0">
                <a:solidFill>
                  <a:srgbClr val="FFFFFF"/>
                </a:solidFill>
                <a:latin typeface="+mj-lt"/>
                <a:ea typeface="+mj-ea"/>
                <a:cs typeface="+mj-cs"/>
              </a:rPr>
              <a:t>летний</a:t>
            </a:r>
            <a:r>
              <a:rPr lang="en-US" sz="4000" kern="1200" dirty="0">
                <a:solidFill>
                  <a:srgbClr val="FFFFFF"/>
                </a:solidFill>
                <a:latin typeface="+mj-lt"/>
                <a:ea typeface="+mj-ea"/>
                <a:cs typeface="+mj-cs"/>
              </a:rPr>
              <a:t> NAPHS </a:t>
            </a:r>
            <a:r>
              <a:rPr lang="ru-RU" sz="4000" kern="1200" dirty="0">
                <a:solidFill>
                  <a:srgbClr val="FFFFFF"/>
                </a:solidFill>
                <a:latin typeface="+mj-lt"/>
                <a:ea typeface="+mj-ea"/>
                <a:cs typeface="+mj-cs"/>
              </a:rPr>
              <a:t>и</a:t>
            </a:r>
            <a:br>
              <a:rPr lang="en-US" sz="4000" kern="1200" dirty="0">
                <a:solidFill>
                  <a:srgbClr val="FFFFFF"/>
                </a:solidFill>
                <a:latin typeface="+mj-lt"/>
                <a:ea typeface="+mj-ea"/>
                <a:cs typeface="+mj-cs"/>
              </a:rPr>
            </a:br>
            <a:r>
              <a:rPr lang="ru-RU" sz="4000" kern="1200" dirty="0">
                <a:solidFill>
                  <a:srgbClr val="FFFFFF"/>
                </a:solidFill>
                <a:latin typeface="+mj-lt"/>
                <a:ea typeface="+mj-ea"/>
                <a:cs typeface="+mj-cs"/>
              </a:rPr>
              <a:t>План приоритетных действий на 12-24 месяца</a:t>
            </a:r>
            <a:endParaRPr lang="en-US" sz="4000" kern="1200" dirty="0">
              <a:solidFill>
                <a:srgbClr val="FFFFFF"/>
              </a:solidFill>
              <a:latin typeface="+mj-lt"/>
              <a:ea typeface="+mj-ea"/>
              <a:cs typeface="+mj-cs"/>
            </a:endParaRPr>
          </a:p>
        </p:txBody>
      </p:sp>
      <p:pic>
        <p:nvPicPr>
          <p:cNvPr id="3" name="Picture 2">
            <a:extLst>
              <a:ext uri="{FF2B5EF4-FFF2-40B4-BE49-F238E27FC236}">
                <a16:creationId xmlns:a16="http://schemas.microsoft.com/office/drawing/2014/main" id="{A29CE933-34AF-4CEE-82FF-0805B8E81EC0}"/>
              </a:ext>
            </a:extLst>
          </p:cNvPr>
          <p:cNvPicPr>
            <a:picLocks noChangeAspect="1"/>
          </p:cNvPicPr>
          <p:nvPr/>
        </p:nvPicPr>
        <p:blipFill>
          <a:blip r:embed="rId3"/>
          <a:stretch>
            <a:fillRect/>
          </a:stretch>
        </p:blipFill>
        <p:spPr>
          <a:xfrm>
            <a:off x="9135802" y="408171"/>
            <a:ext cx="2515124" cy="1266481"/>
          </a:xfrm>
          <a:prstGeom prst="rect">
            <a:avLst/>
          </a:prstGeom>
        </p:spPr>
      </p:pic>
      <p:sp>
        <p:nvSpPr>
          <p:cNvPr id="4" name="Slide Number Placeholder 3">
            <a:extLst>
              <a:ext uri="{FF2B5EF4-FFF2-40B4-BE49-F238E27FC236}">
                <a16:creationId xmlns:a16="http://schemas.microsoft.com/office/drawing/2014/main" id="{63EFA781-F457-448D-B243-3029F6B705B8}"/>
              </a:ext>
            </a:extLst>
          </p:cNvPr>
          <p:cNvSpPr>
            <a:spLocks noGrp="1"/>
          </p:cNvSpPr>
          <p:nvPr>
            <p:ph type="sldNum" sz="quarter" idx="12"/>
          </p:nvPr>
        </p:nvSpPr>
        <p:spPr>
          <a:xfrm>
            <a:off x="10707624" y="6382512"/>
            <a:ext cx="685800" cy="320040"/>
          </a:xfrm>
        </p:spPr>
        <p:txBody>
          <a:bodyPr vert="horz" lIns="91440" tIns="45720" rIns="91440" bIns="45720" rtlCol="0">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2E375D5-DD51-4DDF-87E6-FA82A457ECD1}" type="slidenum">
              <a:rPr kumimoji="0" lang="en-US" sz="10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1</a:t>
            </a:fld>
            <a:endParaRPr kumimoji="0" lang="en-US" sz="10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D6000C63-AB55-A8A1-8462-3F4866535D5C}"/>
              </a:ext>
            </a:extLst>
          </p:cNvPr>
          <p:cNvSpPr/>
          <p:nvPr/>
        </p:nvSpPr>
        <p:spPr>
          <a:xfrm>
            <a:off x="830094" y="2503252"/>
            <a:ext cx="10583693" cy="2133600"/>
          </a:xfrm>
          <a:prstGeom prst="rect">
            <a:avLst/>
          </a:prstGeom>
          <a:ln>
            <a:noFill/>
          </a:ln>
        </p:spPr>
        <p:txBody>
          <a:bodyPr wrap="square" numCol="2" rtlCol="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sp>
        <p:nvSpPr>
          <p:cNvPr id="9" name="Arrow: Down 8">
            <a:extLst>
              <a:ext uri="{FF2B5EF4-FFF2-40B4-BE49-F238E27FC236}">
                <a16:creationId xmlns:a16="http://schemas.microsoft.com/office/drawing/2014/main" id="{3B351E4C-6FDE-466F-9AC1-39EE1015EF97}"/>
              </a:ext>
            </a:extLst>
          </p:cNvPr>
          <p:cNvSpPr/>
          <p:nvPr/>
        </p:nvSpPr>
        <p:spPr>
          <a:xfrm>
            <a:off x="5890289" y="5031181"/>
            <a:ext cx="408373" cy="424281"/>
          </a:xfrm>
          <a:prstGeom prst="downArrow">
            <a:avLst/>
          </a:prstGeom>
          <a:solidFill>
            <a:schemeClr val="accent4"/>
          </a:solidFill>
          <a:ln>
            <a:noFill/>
          </a:ln>
        </p:spPr>
        <p:txBody>
          <a:bodyPr wrap="square" numCol="2" rtlCol="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graphicFrame>
        <p:nvGraphicFramePr>
          <p:cNvPr id="20" name="Table 19">
            <a:extLst>
              <a:ext uri="{FF2B5EF4-FFF2-40B4-BE49-F238E27FC236}">
                <a16:creationId xmlns:a16="http://schemas.microsoft.com/office/drawing/2014/main" id="{368A12E3-8DC5-4B8F-A5C8-822D537C5390}"/>
              </a:ext>
            </a:extLst>
          </p:cNvPr>
          <p:cNvGraphicFramePr>
            <a:graphicFrameLocks noGrp="1"/>
          </p:cNvGraphicFramePr>
          <p:nvPr>
            <p:extLst>
              <p:ext uri="{D42A27DB-BD31-4B8C-83A1-F6EECF244321}">
                <p14:modId xmlns:p14="http://schemas.microsoft.com/office/powerpoint/2010/main" val="2692868374"/>
              </p:ext>
            </p:extLst>
          </p:nvPr>
        </p:nvGraphicFramePr>
        <p:xfrm>
          <a:off x="644055" y="2660673"/>
          <a:ext cx="11190287" cy="4277352"/>
        </p:xfrm>
        <a:graphic>
          <a:graphicData uri="http://schemas.openxmlformats.org/drawingml/2006/table">
            <a:tbl>
              <a:tblPr/>
              <a:tblGrid>
                <a:gridCol w="1252539">
                  <a:extLst>
                    <a:ext uri="{9D8B030D-6E8A-4147-A177-3AD203B41FA5}">
                      <a16:colId xmlns:a16="http://schemas.microsoft.com/office/drawing/2014/main" val="3269219705"/>
                    </a:ext>
                  </a:extLst>
                </a:gridCol>
                <a:gridCol w="4257675">
                  <a:extLst>
                    <a:ext uri="{9D8B030D-6E8A-4147-A177-3AD203B41FA5}">
                      <a16:colId xmlns:a16="http://schemas.microsoft.com/office/drawing/2014/main" val="679210137"/>
                    </a:ext>
                  </a:extLst>
                </a:gridCol>
                <a:gridCol w="5680073">
                  <a:extLst>
                    <a:ext uri="{9D8B030D-6E8A-4147-A177-3AD203B41FA5}">
                      <a16:colId xmlns:a16="http://schemas.microsoft.com/office/drawing/2014/main" val="174102408"/>
                    </a:ext>
                  </a:extLst>
                </a:gridCol>
              </a:tblGrid>
              <a:tr h="54584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auto"/>
                      <a:r>
                        <a:rPr lang="en-US" sz="1600" b="0" i="0">
                          <a:solidFill>
                            <a:srgbClr val="000000"/>
                          </a:solidFill>
                          <a:effectLst/>
                          <a:latin typeface="+mn-lt"/>
                        </a:rPr>
                        <a:t>​</a:t>
                      </a:r>
                      <a:br>
                        <a:rPr lang="en-US" sz="1600" b="0" i="0">
                          <a:solidFill>
                            <a:srgbClr val="000000"/>
                          </a:solidFill>
                          <a:effectLst/>
                          <a:latin typeface="+mn-lt"/>
                        </a:rPr>
                      </a:br>
                      <a:r>
                        <a:rPr lang="en-US" sz="1600" b="0" i="0">
                          <a:solidFill>
                            <a:srgbClr val="000000"/>
                          </a:solidFill>
                          <a:effectLst/>
                          <a:latin typeface="+mn-lt"/>
                        </a:rPr>
                        <a:t>​</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ase"/>
                      <a:r>
                        <a:rPr lang="en-US" sz="1600" b="1" i="1" u="none" strike="noStrike" dirty="0">
                          <a:solidFill>
                            <a:srgbClr val="000000"/>
                          </a:solidFill>
                          <a:effectLst/>
                          <a:latin typeface="+mn-lt"/>
                        </a:rPr>
                        <a:t>5</a:t>
                      </a:r>
                      <a:r>
                        <a:rPr lang="ru-RU" sz="1600" b="1" i="1" u="none" strike="noStrike" dirty="0">
                          <a:solidFill>
                            <a:srgbClr val="000000"/>
                          </a:solidFill>
                          <a:effectLst/>
                          <a:latin typeface="+mn-lt"/>
                        </a:rPr>
                        <a:t>-летний стратегический план</a:t>
                      </a:r>
                      <a:endParaRPr lang="en-US" sz="1600" b="0" i="1" dirty="0">
                        <a:solidFill>
                          <a:srgbClr val="000000"/>
                        </a:solidFill>
                        <a:effectLst/>
                        <a:latin typeface="+mn-lt"/>
                      </a:endParaRP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ase"/>
                      <a:r>
                        <a:rPr lang="ru-RU" sz="1600" b="1" i="1" u="none" strike="noStrike" dirty="0">
                          <a:solidFill>
                            <a:srgbClr val="000000"/>
                          </a:solidFill>
                          <a:effectLst/>
                          <a:latin typeface="+mn-lt"/>
                        </a:rPr>
                        <a:t>Операционный план на </a:t>
                      </a:r>
                      <a:r>
                        <a:rPr lang="en-US" sz="1600" b="1" i="1" u="none" strike="noStrike" dirty="0">
                          <a:solidFill>
                            <a:srgbClr val="000000"/>
                          </a:solidFill>
                          <a:effectLst/>
                          <a:latin typeface="+mn-lt"/>
                        </a:rPr>
                        <a:t>12-24 </a:t>
                      </a:r>
                      <a:r>
                        <a:rPr lang="ru-RU" sz="1600" b="1" i="1" u="none" strike="noStrike" dirty="0">
                          <a:solidFill>
                            <a:srgbClr val="000000"/>
                          </a:solidFill>
                          <a:effectLst/>
                          <a:latin typeface="+mn-lt"/>
                        </a:rPr>
                        <a:t>месяца</a:t>
                      </a:r>
                      <a:r>
                        <a:rPr lang="en-US" sz="1600" b="0" i="1" dirty="0">
                          <a:solidFill>
                            <a:srgbClr val="000000"/>
                          </a:solidFill>
                          <a:effectLst/>
                          <a:latin typeface="+mn-lt"/>
                        </a:rPr>
                        <a:t>​</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extLst>
                  <a:ext uri="{0D108BD9-81ED-4DB2-BD59-A6C34878D82A}">
                    <a16:rowId xmlns:a16="http://schemas.microsoft.com/office/drawing/2014/main" val="3997185388"/>
                  </a:ext>
                </a:extLst>
              </a:tr>
              <a:tr h="121765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ase"/>
                      <a:r>
                        <a:rPr lang="ru-RU" sz="1600" b="1" i="1" u="none" strike="noStrike" dirty="0">
                          <a:solidFill>
                            <a:srgbClr val="000000"/>
                          </a:solidFill>
                          <a:effectLst/>
                          <a:latin typeface="+mn-lt"/>
                        </a:rPr>
                        <a:t>Временной горизонт</a:t>
                      </a:r>
                      <a:endParaRPr lang="en-US" sz="1600" b="0" i="1" dirty="0">
                        <a:solidFill>
                          <a:srgbClr val="000000"/>
                        </a:solidFill>
                        <a:effectLst/>
                        <a:latin typeface="+mn-lt"/>
                      </a:endParaRP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285750" indent="-285750" algn="l" fontAlgn="base">
                        <a:buFont typeface="Arial" panose="020B0604020202020204" pitchFamily="34" charset="0"/>
                        <a:buChar char="•"/>
                      </a:pPr>
                      <a:r>
                        <a:rPr lang="ru-RU" sz="1600" b="0" i="0" u="none" strike="noStrike" dirty="0">
                          <a:solidFill>
                            <a:srgbClr val="000000"/>
                          </a:solidFill>
                          <a:effectLst/>
                          <a:latin typeface="+mn-lt"/>
                        </a:rPr>
                        <a:t>Описывает </a:t>
                      </a:r>
                      <a:r>
                        <a:rPr lang="ru-RU" sz="1600" b="1" i="0" u="none" strike="noStrike" dirty="0">
                          <a:solidFill>
                            <a:srgbClr val="000000"/>
                          </a:solidFill>
                          <a:effectLst/>
                          <a:latin typeface="+mn-lt"/>
                        </a:rPr>
                        <a:t>ключевые цели или конечные результаты</a:t>
                      </a:r>
                    </a:p>
                    <a:p>
                      <a:pPr marL="285750" indent="-285750" algn="l" fontAlgn="base">
                        <a:buFont typeface="Arial" panose="020B0604020202020204" pitchFamily="34" charset="0"/>
                        <a:buChar char="•"/>
                      </a:pPr>
                      <a:r>
                        <a:rPr lang="ru-RU" sz="1600" b="0" i="0" u="none" strike="noStrike" dirty="0">
                          <a:solidFill>
                            <a:srgbClr val="000000"/>
                          </a:solidFill>
                          <a:effectLst/>
                          <a:latin typeface="+mn-lt"/>
                        </a:rPr>
                        <a:t>​Стал возможен благодаря </a:t>
                      </a:r>
                      <a:r>
                        <a:rPr lang="ru-RU" sz="1600" b="1" i="0" u="none" strike="noStrike" dirty="0">
                          <a:solidFill>
                            <a:srgbClr val="000000"/>
                          </a:solidFill>
                          <a:effectLst/>
                          <a:latin typeface="+mn-lt"/>
                        </a:rPr>
                        <a:t>разработке годовых операционных планов</a:t>
                      </a:r>
                      <a:r>
                        <a:rPr lang="ru-RU" sz="1600" b="0" i="0" u="none" strike="noStrike" dirty="0">
                          <a:solidFill>
                            <a:srgbClr val="000000"/>
                          </a:solidFill>
                          <a:effectLst/>
                          <a:latin typeface="+mn-lt"/>
                        </a:rPr>
                        <a:t> ​</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285750" indent="-285750" algn="l" fontAlgn="base">
                        <a:buFont typeface="Arial" panose="020B0604020202020204" pitchFamily="34" charset="0"/>
                        <a:buChar char="•"/>
                      </a:pPr>
                      <a:r>
                        <a:rPr lang="ru-RU" sz="1600" b="1" i="0" u="none" strike="noStrike" dirty="0">
                          <a:solidFill>
                            <a:srgbClr val="000000"/>
                          </a:solidFill>
                          <a:effectLst/>
                          <a:latin typeface="+mn-lt"/>
                        </a:rPr>
                        <a:t>Описывает основные промежуточные результаты</a:t>
                      </a:r>
                      <a:r>
                        <a:rPr lang="ru-RU" sz="1600" b="0" i="0" u="none" strike="noStrike" dirty="0">
                          <a:solidFill>
                            <a:srgbClr val="000000"/>
                          </a:solidFill>
                          <a:effectLst/>
                          <a:latin typeface="+mn-lt"/>
                        </a:rPr>
                        <a:t> и мероприятия</a:t>
                      </a:r>
                    </a:p>
                    <a:p>
                      <a:pPr marL="285750" indent="-285750" algn="l" fontAlgn="base">
                        <a:buFont typeface="Arial" panose="020B0604020202020204" pitchFamily="34" charset="0"/>
                        <a:buChar char="•"/>
                      </a:pPr>
                      <a:r>
                        <a:rPr lang="ru-RU" sz="1600" b="0" i="0" u="none" strike="noStrike" dirty="0">
                          <a:solidFill>
                            <a:srgbClr val="000000"/>
                          </a:solidFill>
                          <a:effectLst/>
                          <a:latin typeface="+mn-lt"/>
                        </a:rPr>
                        <a:t>​Делает стратегические планы реализуемыми, сосредоточив внимание на </a:t>
                      </a:r>
                      <a:r>
                        <a:rPr lang="ru-RU" sz="1600" b="1" i="0" u="none" strike="noStrike" dirty="0">
                          <a:solidFill>
                            <a:srgbClr val="000000"/>
                          </a:solidFill>
                          <a:effectLst/>
                          <a:latin typeface="+mn-lt"/>
                        </a:rPr>
                        <a:t>краткосрочных приоритетных действиях</a:t>
                      </a:r>
                      <a:r>
                        <a:rPr lang="ru-RU" sz="1600" b="0" i="0" u="none" strike="noStrike" dirty="0">
                          <a:solidFill>
                            <a:srgbClr val="000000"/>
                          </a:solidFill>
                          <a:effectLst/>
                          <a:latin typeface="+mn-lt"/>
                        </a:rPr>
                        <a:t>, которые способствуют достижению </a:t>
                      </a:r>
                      <a:r>
                        <a:rPr lang="ru-RU" sz="1600" b="1" i="0" u="none" strike="noStrike" dirty="0">
                          <a:solidFill>
                            <a:srgbClr val="000000"/>
                          </a:solidFill>
                          <a:effectLst/>
                          <a:latin typeface="+mn-lt"/>
                        </a:rPr>
                        <a:t>целевых конечных результатов</a:t>
                      </a:r>
                      <a:r>
                        <a:rPr lang="ru-RU" sz="1600" b="0" i="0" u="none" strike="noStrike" dirty="0">
                          <a:solidFill>
                            <a:srgbClr val="000000"/>
                          </a:solidFill>
                          <a:effectLst/>
                          <a:latin typeface="+mn-lt"/>
                        </a:rPr>
                        <a:t> в стратегическом плане​</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88570355"/>
                  </a:ext>
                </a:extLst>
              </a:tr>
              <a:tr h="156762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ase"/>
                      <a:r>
                        <a:rPr lang="ru-RU" sz="1600" b="1" i="1" u="none" strike="noStrike" dirty="0">
                          <a:solidFill>
                            <a:srgbClr val="000000"/>
                          </a:solidFill>
                          <a:effectLst/>
                          <a:latin typeface="+mn-lt"/>
                        </a:rPr>
                        <a:t>Польза </a:t>
                      </a:r>
                      <a:r>
                        <a:rPr lang="en-US" sz="1600" b="0" i="1" dirty="0">
                          <a:solidFill>
                            <a:srgbClr val="000000"/>
                          </a:solidFill>
                          <a:effectLst/>
                          <a:latin typeface="+mn-lt"/>
                        </a:rPr>
                        <a:t>​</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93CCDD">
                        <a:lumMod val="20000"/>
                        <a:lumOff val="8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285750" indent="-285750" algn="l" fontAlgn="base">
                        <a:buFont typeface="Arial" panose="020B0604020202020204" pitchFamily="34" charset="0"/>
                        <a:buChar char="•"/>
                      </a:pPr>
                      <a:r>
                        <a:rPr lang="ru-RU" sz="1600" b="0" i="0" u="none" strike="noStrike" dirty="0">
                          <a:solidFill>
                            <a:srgbClr val="000000"/>
                          </a:solidFill>
                          <a:effectLst/>
                          <a:latin typeface="+mn-lt"/>
                        </a:rPr>
                        <a:t>Поддерживает </a:t>
                      </a:r>
                      <a:r>
                        <a:rPr lang="ru-RU" sz="1600" b="0" i="0" u="none" strike="noStrike" dirty="0" err="1">
                          <a:solidFill>
                            <a:srgbClr val="000000"/>
                          </a:solidFill>
                          <a:effectLst/>
                          <a:latin typeface="+mn-lt"/>
                        </a:rPr>
                        <a:t>адвокацию</a:t>
                      </a:r>
                      <a:r>
                        <a:rPr lang="ru-RU" sz="1600" b="0" i="0" u="none" strike="noStrike" dirty="0">
                          <a:solidFill>
                            <a:srgbClr val="000000"/>
                          </a:solidFill>
                          <a:effectLst/>
                          <a:latin typeface="+mn-lt"/>
                        </a:rPr>
                        <a:t> </a:t>
                      </a:r>
                      <a:r>
                        <a:rPr lang="ru-RU" sz="1600" b="1" i="0" u="none" strike="noStrike" dirty="0">
                          <a:solidFill>
                            <a:srgbClr val="000000"/>
                          </a:solidFill>
                          <a:effectLst/>
                          <a:latin typeface="+mn-lt"/>
                        </a:rPr>
                        <a:t>финансирования как внутри страны, так и через партнеров,</a:t>
                      </a:r>
                      <a:r>
                        <a:rPr lang="ru-RU" sz="1600" b="0" i="0" u="none" strike="noStrike" dirty="0">
                          <a:solidFill>
                            <a:srgbClr val="000000"/>
                          </a:solidFill>
                          <a:effectLst/>
                          <a:latin typeface="+mn-lt"/>
                        </a:rPr>
                        <a:t> определяя долгосрочные потребности в финансировании.</a:t>
                      </a:r>
                    </a:p>
                    <a:p>
                      <a:pPr marL="285750" indent="-285750" algn="l" fontAlgn="base">
                        <a:buFont typeface="Arial" panose="020B0604020202020204" pitchFamily="34" charset="0"/>
                        <a:buChar char="•"/>
                      </a:pPr>
                      <a:r>
                        <a:rPr lang="ru-RU" sz="1600" b="0" i="0" u="none" strike="noStrike" dirty="0">
                          <a:solidFill>
                            <a:srgbClr val="000000"/>
                          </a:solidFill>
                          <a:effectLst/>
                          <a:latin typeface="+mn-lt"/>
                        </a:rPr>
                        <a:t>Формирует </a:t>
                      </a:r>
                      <a:r>
                        <a:rPr lang="ru-RU" sz="1600" b="1" i="0" u="none" strike="noStrike" dirty="0">
                          <a:solidFill>
                            <a:srgbClr val="000000"/>
                          </a:solidFill>
                          <a:effectLst/>
                          <a:latin typeface="+mn-lt"/>
                        </a:rPr>
                        <a:t>заинтересованность на высоком уровне</a:t>
                      </a:r>
                      <a:r>
                        <a:rPr lang="ru-RU" sz="1600" b="0" i="0" u="none" strike="noStrike" dirty="0">
                          <a:solidFill>
                            <a:srgbClr val="000000"/>
                          </a:solidFill>
                          <a:effectLst/>
                          <a:latin typeface="+mn-lt"/>
                        </a:rPr>
                        <a:t> </a:t>
                      </a:r>
                    </a:p>
                    <a:p>
                      <a:pPr marL="285750" indent="-285750" algn="l" fontAlgn="base">
                        <a:buFont typeface="Arial" panose="020B0604020202020204" pitchFamily="34" charset="0"/>
                        <a:buChar char="•"/>
                      </a:pPr>
                      <a:r>
                        <a:rPr lang="ru-RU" sz="1600" b="0" i="0" u="none" strike="noStrike" dirty="0">
                          <a:solidFill>
                            <a:srgbClr val="000000"/>
                          </a:solidFill>
                          <a:effectLst/>
                          <a:latin typeface="+mn-lt"/>
                        </a:rPr>
                        <a:t>​Помогает </a:t>
                      </a:r>
                      <a:r>
                        <a:rPr lang="ru-RU" sz="1600" b="1" i="0" u="none" strike="noStrike" dirty="0">
                          <a:solidFill>
                            <a:srgbClr val="000000"/>
                          </a:solidFill>
                          <a:effectLst/>
                          <a:latin typeface="+mn-lt"/>
                        </a:rPr>
                        <a:t>поддерживать долгосрочное многоотраслевое согласование,</a:t>
                      </a:r>
                      <a:r>
                        <a:rPr lang="ru-RU" sz="1600" b="0" i="0" u="none" strike="noStrike" dirty="0">
                          <a:solidFill>
                            <a:srgbClr val="000000"/>
                          </a:solidFill>
                          <a:effectLst/>
                          <a:latin typeface="+mn-lt"/>
                        </a:rPr>
                        <a:t> выступая в качестве стратегической дорожной карты​</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285750" indent="-285750" algn="l" fontAlgn="base">
                        <a:buFont typeface="Arial" panose="020B0604020202020204" pitchFamily="34" charset="0"/>
                        <a:buChar char="•"/>
                      </a:pPr>
                      <a:r>
                        <a:rPr lang="ru-RU" sz="1600" b="0" i="0" u="none" strike="noStrike" dirty="0">
                          <a:solidFill>
                            <a:srgbClr val="000000"/>
                          </a:solidFill>
                          <a:effectLst/>
                          <a:latin typeface="+mn-lt"/>
                        </a:rPr>
                        <a:t>Позволяет </a:t>
                      </a:r>
                      <a:r>
                        <a:rPr lang="ru-RU" sz="1600" b="1" i="0" u="none" strike="noStrike" dirty="0">
                          <a:solidFill>
                            <a:srgbClr val="000000"/>
                          </a:solidFill>
                          <a:effectLst/>
                          <a:latin typeface="+mn-lt"/>
                        </a:rPr>
                        <a:t>отслеживать внедрение</a:t>
                      </a:r>
                      <a:r>
                        <a:rPr lang="ru-RU" sz="1600" b="0" i="0" u="none" strike="noStrike" dirty="0">
                          <a:solidFill>
                            <a:srgbClr val="000000"/>
                          </a:solidFill>
                          <a:effectLst/>
                          <a:latin typeface="+mn-lt"/>
                        </a:rPr>
                        <a:t> в более управляемые сроки ​</a:t>
                      </a:r>
                    </a:p>
                    <a:p>
                      <a:pPr marL="285750" indent="-285750" algn="l" fontAlgn="base">
                        <a:buFont typeface="Arial" panose="020B0604020202020204" pitchFamily="34" charset="0"/>
                        <a:buChar char="•"/>
                      </a:pPr>
                      <a:r>
                        <a:rPr lang="ru-RU" sz="1600" b="0" i="0" u="none" strike="noStrike" dirty="0">
                          <a:solidFill>
                            <a:srgbClr val="000000"/>
                          </a:solidFill>
                          <a:effectLst/>
                          <a:latin typeface="+mn-lt"/>
                        </a:rPr>
                        <a:t>Обеспечивает </a:t>
                      </a:r>
                      <a:r>
                        <a:rPr lang="ru-RU" sz="1600" b="1" i="0" u="none" strike="noStrike" dirty="0">
                          <a:solidFill>
                            <a:srgbClr val="000000"/>
                          </a:solidFill>
                          <a:effectLst/>
                          <a:latin typeface="+mn-lt"/>
                        </a:rPr>
                        <a:t>ответственность за реализацию</a:t>
                      </a:r>
                    </a:p>
                    <a:p>
                      <a:pPr marL="285750" indent="-285750" algn="l" fontAlgn="base">
                        <a:buFont typeface="Arial" panose="020B0604020202020204" pitchFamily="34" charset="0"/>
                        <a:buChar char="•"/>
                      </a:pPr>
                      <a:r>
                        <a:rPr lang="ru-RU" sz="1600" b="1" i="0" u="none" strike="noStrike" dirty="0">
                          <a:solidFill>
                            <a:srgbClr val="000000"/>
                          </a:solidFill>
                          <a:effectLst/>
                          <a:latin typeface="+mn-lt"/>
                        </a:rPr>
                        <a:t>Облегчает четкие и конкретные действия</a:t>
                      </a:r>
                      <a:r>
                        <a:rPr lang="ru-RU" sz="1600" b="0" i="0" u="none" strike="noStrike" dirty="0">
                          <a:solidFill>
                            <a:srgbClr val="000000"/>
                          </a:solidFill>
                          <a:effectLst/>
                          <a:latin typeface="+mn-lt"/>
                        </a:rPr>
                        <a:t>, основанные как на стратегическом плане, так и на более «</a:t>
                      </a:r>
                      <a:r>
                        <a:rPr lang="ru-RU" sz="1600" b="1" i="0" u="none" strike="noStrike" dirty="0">
                          <a:solidFill>
                            <a:srgbClr val="000000"/>
                          </a:solidFill>
                          <a:effectLst/>
                          <a:latin typeface="+mn-lt"/>
                        </a:rPr>
                        <a:t>своевременных</a:t>
                      </a:r>
                      <a:r>
                        <a:rPr lang="ru-RU" sz="1600" b="0" i="0" u="none" strike="noStrike" dirty="0">
                          <a:solidFill>
                            <a:srgbClr val="000000"/>
                          </a:solidFill>
                          <a:effectLst/>
                          <a:latin typeface="+mn-lt"/>
                        </a:rPr>
                        <a:t>» </a:t>
                      </a:r>
                      <a:r>
                        <a:rPr lang="ru-RU" sz="1600" b="1" i="0" u="none" strike="noStrike" dirty="0">
                          <a:solidFill>
                            <a:srgbClr val="000000"/>
                          </a:solidFill>
                          <a:effectLst/>
                          <a:latin typeface="+mn-lt"/>
                        </a:rPr>
                        <a:t>оценках</a:t>
                      </a:r>
                      <a:r>
                        <a:rPr lang="ru-RU" sz="1600" b="0" i="0" u="none" strike="noStrike" dirty="0">
                          <a:solidFill>
                            <a:srgbClr val="000000"/>
                          </a:solidFill>
                          <a:effectLst/>
                          <a:latin typeface="+mn-lt"/>
                        </a:rPr>
                        <a:t> (например, AAR, IAR и SPAR) и приоритетах на основе рисков (например, STAR)​</a:t>
                      </a:r>
                    </a:p>
                  </a:txBody>
                  <a:tcPr marL="36957" marR="36957" marT="18478" marB="18478" anchor="ctr">
                    <a:lnL w="190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ysDot"/>
                      <a:round/>
                      <a:headEnd type="none" w="med" len="med"/>
                      <a:tailEnd type="none" w="med" len="med"/>
                    </a:lnT>
                    <a:lnB w="19050" cap="flat" cmpd="sng" algn="ctr">
                      <a:solidFill>
                        <a:srgbClr val="000000"/>
                      </a:solidFill>
                      <a:prstDash val="sys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5281809"/>
                  </a:ext>
                </a:extLst>
              </a:tr>
            </a:tbl>
          </a:graphicData>
        </a:graphic>
      </p:graphicFrame>
      <p:sp>
        <p:nvSpPr>
          <p:cNvPr id="21" name="Rectangle 20">
            <a:extLst>
              <a:ext uri="{FF2B5EF4-FFF2-40B4-BE49-F238E27FC236}">
                <a16:creationId xmlns:a16="http://schemas.microsoft.com/office/drawing/2014/main" id="{A2D2EA59-E17C-498C-8DB7-208DDFD937EF}"/>
              </a:ext>
            </a:extLst>
          </p:cNvPr>
          <p:cNvSpPr/>
          <p:nvPr/>
        </p:nvSpPr>
        <p:spPr>
          <a:xfrm>
            <a:off x="3534894" y="2354089"/>
            <a:ext cx="6157746" cy="306584"/>
          </a:xfrm>
          <a:prstGeom prst="rect">
            <a:avLst/>
          </a:prstGeom>
          <a:noFill/>
          <a:ln w="19050" cap="sq" cmpd="sng" algn="ctr">
            <a:solidFill>
              <a:srgbClr val="000000"/>
            </a:solidFill>
            <a:prstDash val="sysDot"/>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2000" b="1" i="0" u="none" strike="noStrike" kern="0" cap="none" spc="0" normalizeH="0" baseline="0" noProof="0" dirty="0">
                <a:ln>
                  <a:noFill/>
                </a:ln>
                <a:solidFill>
                  <a:srgbClr val="000000"/>
                </a:solidFill>
                <a:effectLst/>
                <a:uLnTx/>
                <a:uFillTx/>
                <a:latin typeface="Calibri"/>
                <a:ea typeface="+mn-ea"/>
                <a:cs typeface="+mn-cs"/>
              </a:rPr>
              <a:t>Различия в стратегическом и операционном планах</a:t>
            </a:r>
            <a:endParaRPr kumimoji="0" lang="en-US" sz="2000" b="1" i="0" u="none" strike="noStrike" kern="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9128338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DEB949-C916-45EF-8468-A4BF330993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5" progId="TCLayout.ActiveDocument.1">
                  <p:embed/>
                </p:oleObj>
              </mc:Choice>
              <mc:Fallback>
                <p:oleObj name="think-cell Slide" r:id="rId13" imgW="592" imgH="595" progId="TCLayout.ActiveDocument.1">
                  <p:embed/>
                  <p:pic>
                    <p:nvPicPr>
                      <p:cNvPr id="6" name="Object 5" hidden="1">
                        <a:extLst>
                          <a:ext uri="{FF2B5EF4-FFF2-40B4-BE49-F238E27FC236}">
                            <a16:creationId xmlns:a16="http://schemas.microsoft.com/office/drawing/2014/main" id="{6ADEB949-C916-45EF-8468-A4BF330993C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079025BD-FC16-4340-85D1-53B741ACEF57}"/>
              </a:ext>
            </a:extLst>
          </p:cNvPr>
          <p:cNvSpPr>
            <a:spLocks noGrp="1"/>
          </p:cNvSpPr>
          <p:nvPr>
            <p:ph type="title"/>
            <p:custDataLst>
              <p:tags r:id="rId2"/>
            </p:custDataLst>
          </p:nvPr>
        </p:nvSpPr>
        <p:spPr>
          <a:xfrm>
            <a:off x="554736" y="135141"/>
            <a:ext cx="11082528" cy="731520"/>
          </a:xfrm>
        </p:spPr>
        <p:txBody>
          <a:bodyPr vert="horz">
            <a:noAutofit/>
          </a:bodyPr>
          <a:lstStyle/>
          <a:p>
            <a:r>
              <a:rPr lang="ru-RU" sz="3000" dirty="0"/>
              <a:t>Связь</a:t>
            </a:r>
            <a:r>
              <a:rPr lang="en-US" sz="3000" dirty="0"/>
              <a:t> </a:t>
            </a:r>
            <a:r>
              <a:rPr lang="ru-RU" sz="3000" dirty="0"/>
              <a:t>STAR (Стратегический инструмент оценки рисков) с существующими механизмами планирования</a:t>
            </a:r>
            <a:endParaRPr lang="en-GB" sz="3000" dirty="0"/>
          </a:p>
        </p:txBody>
      </p:sp>
      <p:cxnSp>
        <p:nvCxnSpPr>
          <p:cNvPr id="12" name="Straight Connector 11">
            <a:extLst>
              <a:ext uri="{FF2B5EF4-FFF2-40B4-BE49-F238E27FC236}">
                <a16:creationId xmlns:a16="http://schemas.microsoft.com/office/drawing/2014/main" id="{0F0D8735-2F04-46D8-9D4C-9C42240AA432}"/>
              </a:ext>
            </a:extLst>
          </p:cNvPr>
          <p:cNvCxnSpPr>
            <a:cxnSpLocks/>
          </p:cNvCxnSpPr>
          <p:nvPr>
            <p:custDataLst>
              <p:tags r:id="rId3"/>
            </p:custDataLst>
          </p:nvPr>
        </p:nvCxnSpPr>
        <p:spPr>
          <a:xfrm>
            <a:off x="309904" y="2174676"/>
            <a:ext cx="11215004" cy="0"/>
          </a:xfrm>
          <a:prstGeom prst="line">
            <a:avLst/>
          </a:prstGeom>
          <a:ln w="28575"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E4D8FE2-15EF-428F-97B8-6A583CEF4978}"/>
              </a:ext>
            </a:extLst>
          </p:cNvPr>
          <p:cNvSpPr txBox="1"/>
          <p:nvPr>
            <p:custDataLst>
              <p:tags r:id="rId4"/>
            </p:custDataLst>
          </p:nvPr>
        </p:nvSpPr>
        <p:spPr>
          <a:xfrm>
            <a:off x="85488" y="956958"/>
            <a:ext cx="4847451" cy="338554"/>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ru-RU" sz="2200" b="1" i="0" u="none" strike="noStrike" kern="1200" cap="none" spc="0" normalizeH="0" baseline="0" noProof="0" dirty="0">
                <a:ln>
                  <a:noFill/>
                </a:ln>
                <a:solidFill>
                  <a:srgbClr val="000066"/>
                </a:solidFill>
                <a:effectLst/>
                <a:uLnTx/>
                <a:uFillTx/>
                <a:latin typeface="Arial"/>
                <a:ea typeface="+mn-ea"/>
                <a:cs typeface="Arial" panose="020B0604020202020204" pitchFamily="34" charset="0"/>
              </a:rPr>
              <a:t>Профиль страновых рисков </a:t>
            </a:r>
            <a:r>
              <a:rPr kumimoji="0" lang="en-US" sz="2200" b="1" i="0" u="none" strike="noStrike" kern="1200" cap="none" spc="0" normalizeH="0" baseline="0" noProof="0" dirty="0">
                <a:ln>
                  <a:noFill/>
                </a:ln>
                <a:solidFill>
                  <a:srgbClr val="000066"/>
                </a:solidFill>
                <a:effectLst/>
                <a:uLnTx/>
                <a:uFillTx/>
                <a:latin typeface="Arial"/>
                <a:ea typeface="+mn-ea"/>
                <a:cs typeface="Arial" panose="020B0604020202020204" pitchFamily="34" charset="0"/>
              </a:rPr>
              <a:t>STAR</a:t>
            </a:r>
            <a:endParaRPr kumimoji="0" lang="en-150" sz="2200" b="1" i="0" u="none" strike="noStrike" kern="1200" cap="none" spc="0" normalizeH="0" baseline="0" noProof="0" dirty="0">
              <a:ln>
                <a:noFill/>
              </a:ln>
              <a:solidFill>
                <a:srgbClr val="000066"/>
              </a:solidFill>
              <a:effectLst/>
              <a:uLnTx/>
              <a:uFillTx/>
              <a:latin typeface="Arial"/>
              <a:ea typeface="+mn-ea"/>
              <a:cs typeface="Arial" panose="020B0604020202020204" pitchFamily="34" charset="0"/>
            </a:endParaRPr>
          </a:p>
        </p:txBody>
      </p:sp>
      <p:sp>
        <p:nvSpPr>
          <p:cNvPr id="24" name="TextBox 23">
            <a:extLst>
              <a:ext uri="{FF2B5EF4-FFF2-40B4-BE49-F238E27FC236}">
                <a16:creationId xmlns:a16="http://schemas.microsoft.com/office/drawing/2014/main" id="{61DF08FF-DF51-41E8-AF59-D66CBAC63701}"/>
              </a:ext>
            </a:extLst>
          </p:cNvPr>
          <p:cNvSpPr txBox="1"/>
          <p:nvPr>
            <p:custDataLst>
              <p:tags r:id="rId5"/>
            </p:custDataLst>
          </p:nvPr>
        </p:nvSpPr>
        <p:spPr>
          <a:xfrm>
            <a:off x="5301647" y="972347"/>
            <a:ext cx="6890353" cy="646331"/>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None/>
              <a:tabLst/>
              <a:defRPr/>
            </a:pPr>
            <a:r>
              <a:rPr kumimoji="0" lang="ru-RU" sz="2100" b="1" i="0" u="none" strike="noStrike" kern="1200" cap="none" spc="0" normalizeH="0" baseline="0" noProof="0" dirty="0">
                <a:ln>
                  <a:noFill/>
                </a:ln>
                <a:solidFill>
                  <a:srgbClr val="DA115D"/>
                </a:solidFill>
                <a:effectLst/>
                <a:uLnTx/>
                <a:uFillTx/>
                <a:latin typeface="Arial"/>
                <a:ea typeface="+mn-ea"/>
                <a:cs typeface="Arial" panose="020B0604020202020204" pitchFamily="34" charset="0"/>
              </a:rPr>
              <a:t>Национальный план действий по охране здоровья (NAPHS)</a:t>
            </a:r>
            <a:endParaRPr kumimoji="0" lang="en-150" sz="2100" b="1" i="0" u="none" strike="noStrike" kern="1200" cap="none" spc="0" normalizeH="0" baseline="0" noProof="0" dirty="0">
              <a:ln>
                <a:noFill/>
              </a:ln>
              <a:solidFill>
                <a:srgbClr val="DA115D"/>
              </a:solidFill>
              <a:effectLst/>
              <a:uLnTx/>
              <a:uFillTx/>
              <a:latin typeface="Arial"/>
              <a:ea typeface="+mn-ea"/>
              <a:cs typeface="Arial" panose="020B0604020202020204" pitchFamily="34" charset="0"/>
            </a:endParaRPr>
          </a:p>
        </p:txBody>
      </p:sp>
      <p:pic>
        <p:nvPicPr>
          <p:cNvPr id="56" name="Picture 55">
            <a:extLst>
              <a:ext uri="{FF2B5EF4-FFF2-40B4-BE49-F238E27FC236}">
                <a16:creationId xmlns:a16="http://schemas.microsoft.com/office/drawing/2014/main" id="{B0FB2BBA-CADB-455D-8446-2EC6DDF664F8}"/>
              </a:ext>
            </a:extLst>
          </p:cNvPr>
          <p:cNvPicPr>
            <a:picLocks noChangeAspect="1"/>
          </p:cNvPicPr>
          <p:nvPr/>
        </p:nvPicPr>
        <p:blipFill>
          <a:blip r:embed="rId15"/>
          <a:stretch>
            <a:fillRect/>
          </a:stretch>
        </p:blipFill>
        <p:spPr>
          <a:xfrm>
            <a:off x="448694" y="5000963"/>
            <a:ext cx="1913001" cy="1111555"/>
          </a:xfrm>
          <a:prstGeom prst="rect">
            <a:avLst/>
          </a:prstGeom>
        </p:spPr>
      </p:pic>
      <p:pic>
        <p:nvPicPr>
          <p:cNvPr id="57" name="Picture 56">
            <a:extLst>
              <a:ext uri="{FF2B5EF4-FFF2-40B4-BE49-F238E27FC236}">
                <a16:creationId xmlns:a16="http://schemas.microsoft.com/office/drawing/2014/main" id="{3F0AAB6B-D819-4099-BA98-8D307BC3C2DF}"/>
              </a:ext>
            </a:extLst>
          </p:cNvPr>
          <p:cNvPicPr>
            <a:picLocks noChangeAspect="1"/>
          </p:cNvPicPr>
          <p:nvPr/>
        </p:nvPicPr>
        <p:blipFill>
          <a:blip r:embed="rId16"/>
          <a:stretch>
            <a:fillRect/>
          </a:stretch>
        </p:blipFill>
        <p:spPr>
          <a:xfrm>
            <a:off x="913201" y="2645175"/>
            <a:ext cx="2896989" cy="1885290"/>
          </a:xfrm>
          <a:prstGeom prst="rect">
            <a:avLst/>
          </a:prstGeom>
        </p:spPr>
      </p:pic>
      <p:pic>
        <p:nvPicPr>
          <p:cNvPr id="58" name="Picture 57">
            <a:extLst>
              <a:ext uri="{FF2B5EF4-FFF2-40B4-BE49-F238E27FC236}">
                <a16:creationId xmlns:a16="http://schemas.microsoft.com/office/drawing/2014/main" id="{715F8DFC-211C-4E1A-A765-F645D2317078}"/>
              </a:ext>
            </a:extLst>
          </p:cNvPr>
          <p:cNvPicPr>
            <a:picLocks noChangeAspect="1"/>
          </p:cNvPicPr>
          <p:nvPr/>
        </p:nvPicPr>
        <p:blipFill>
          <a:blip r:embed="rId17"/>
          <a:stretch>
            <a:fillRect/>
          </a:stretch>
        </p:blipFill>
        <p:spPr>
          <a:xfrm>
            <a:off x="2773375" y="5000964"/>
            <a:ext cx="1629481" cy="102970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60" name="TextBox 59">
            <a:extLst>
              <a:ext uri="{FF2B5EF4-FFF2-40B4-BE49-F238E27FC236}">
                <a16:creationId xmlns:a16="http://schemas.microsoft.com/office/drawing/2014/main" id="{DEFBE33F-AF19-40BC-ABAB-56851F1EC845}"/>
              </a:ext>
            </a:extLst>
          </p:cNvPr>
          <p:cNvSpPr txBox="1"/>
          <p:nvPr>
            <p:custDataLst>
              <p:tags r:id="rId6"/>
            </p:custDataLst>
          </p:nvPr>
        </p:nvSpPr>
        <p:spPr>
          <a:xfrm>
            <a:off x="171451" y="1403628"/>
            <a:ext cx="4847452" cy="73866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ru-RU" sz="1200" b="1" i="0" u="none" strike="noStrike" kern="1200" cap="none" spc="0" normalizeH="0" baseline="0" noProof="0" dirty="0">
                <a:ln>
                  <a:noFill/>
                </a:ln>
                <a:solidFill>
                  <a:srgbClr val="000066"/>
                </a:solidFill>
                <a:effectLst/>
                <a:uLnTx/>
                <a:uFillTx/>
                <a:latin typeface="Arial"/>
                <a:ea typeface="+mn-ea"/>
                <a:cs typeface="Arial" panose="020B0604020202020204" pitchFamily="34" charset="0"/>
              </a:rPr>
              <a:t>Многопрофильные эксперты и лидеры собрались вместе, </a:t>
            </a:r>
            <a:r>
              <a:rPr kumimoji="0" lang="ru-RU" sz="1200" i="0" u="none" strike="noStrike" kern="1200" cap="none" spc="0" normalizeH="0" baseline="0" noProof="0" dirty="0">
                <a:ln>
                  <a:noFill/>
                </a:ln>
                <a:solidFill>
                  <a:srgbClr val="000066"/>
                </a:solidFill>
                <a:effectLst/>
                <a:uLnTx/>
                <a:uFillTx/>
                <a:latin typeface="Arial"/>
                <a:ea typeface="+mn-ea"/>
                <a:cs typeface="Arial" panose="020B0604020202020204" pitchFamily="34" charset="0"/>
              </a:rPr>
              <a:t>чтобы проанализировать страновые риски, в том числе потенциал преодоления конкретных опасностей и уязвимость, и обсудить приоритетные действия в процессе участия.</a:t>
            </a:r>
            <a:r>
              <a:rPr kumimoji="0" lang="en-US" sz="1200" i="0" u="none" strike="noStrike" kern="1200" cap="none" spc="0" normalizeH="0" baseline="0" noProof="0" dirty="0">
                <a:ln>
                  <a:noFill/>
                </a:ln>
                <a:solidFill>
                  <a:srgbClr val="000066"/>
                </a:solidFill>
                <a:effectLst/>
                <a:uLnTx/>
                <a:uFillTx/>
                <a:latin typeface="Arial"/>
                <a:ea typeface="+mn-ea"/>
                <a:cs typeface="Arial" panose="020B0604020202020204" pitchFamily="34" charset="0"/>
              </a:rPr>
              <a:t>. </a:t>
            </a:r>
          </a:p>
        </p:txBody>
      </p:sp>
      <p:cxnSp>
        <p:nvCxnSpPr>
          <p:cNvPr id="7" name="Straight Connector 6">
            <a:extLst>
              <a:ext uri="{FF2B5EF4-FFF2-40B4-BE49-F238E27FC236}">
                <a16:creationId xmlns:a16="http://schemas.microsoft.com/office/drawing/2014/main" id="{E51957C0-D31C-43FD-1FCF-A38EC2CFF9AD}"/>
              </a:ext>
            </a:extLst>
          </p:cNvPr>
          <p:cNvCxnSpPr>
            <a:cxnSpLocks/>
          </p:cNvCxnSpPr>
          <p:nvPr>
            <p:custDataLst>
              <p:tags r:id="rId7"/>
            </p:custDataLst>
          </p:nvPr>
        </p:nvCxnSpPr>
        <p:spPr>
          <a:xfrm>
            <a:off x="4932939" y="1999462"/>
            <a:ext cx="0" cy="4349915"/>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ChevronBlue 28">
            <a:extLst>
              <a:ext uri="{FF2B5EF4-FFF2-40B4-BE49-F238E27FC236}">
                <a16:creationId xmlns:a16="http://schemas.microsoft.com/office/drawing/2014/main" id="{61011970-B02E-EF7D-87AC-AD82C2A91136}"/>
              </a:ext>
            </a:extLst>
          </p:cNvPr>
          <p:cNvGrpSpPr>
            <a:grpSpLocks noChangeAspect="1"/>
          </p:cNvGrpSpPr>
          <p:nvPr>
            <p:custDataLst>
              <p:tags r:id="rId8"/>
            </p:custDataLst>
          </p:nvPr>
        </p:nvGrpSpPr>
        <p:grpSpPr>
          <a:xfrm>
            <a:off x="4734825" y="3865799"/>
            <a:ext cx="396228" cy="396228"/>
            <a:chOff x="1016000" y="1016000"/>
            <a:chExt cx="396228" cy="396228"/>
          </a:xfrm>
        </p:grpSpPr>
        <p:sp>
          <p:nvSpPr>
            <p:cNvPr id="4" name="Oval 3">
              <a:extLst>
                <a:ext uri="{FF2B5EF4-FFF2-40B4-BE49-F238E27FC236}">
                  <a16:creationId xmlns:a16="http://schemas.microsoft.com/office/drawing/2014/main" id="{840D44E1-2D18-6B65-5357-AF165C27CF7B}"/>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5" name="Graphic 4">
              <a:extLst>
                <a:ext uri="{FF2B5EF4-FFF2-40B4-BE49-F238E27FC236}">
                  <a16:creationId xmlns:a16="http://schemas.microsoft.com/office/drawing/2014/main" id="{48164930-4C4F-BFB8-DA52-2A79BB578DB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23614" y="1023614"/>
              <a:ext cx="381000" cy="381000"/>
            </a:xfrm>
            <a:prstGeom prst="rect">
              <a:avLst/>
            </a:prstGeom>
          </p:spPr>
        </p:pic>
      </p:grpSp>
      <p:sp>
        <p:nvSpPr>
          <p:cNvPr id="9" name="TextBox 8">
            <a:extLst>
              <a:ext uri="{FF2B5EF4-FFF2-40B4-BE49-F238E27FC236}">
                <a16:creationId xmlns:a16="http://schemas.microsoft.com/office/drawing/2014/main" id="{6B528036-963E-CA56-80C1-6038E541CF0D}"/>
              </a:ext>
            </a:extLst>
          </p:cNvPr>
          <p:cNvSpPr txBox="1"/>
          <p:nvPr>
            <p:custDataLst>
              <p:tags r:id="rId9"/>
            </p:custDataLst>
          </p:nvPr>
        </p:nvSpPr>
        <p:spPr>
          <a:xfrm>
            <a:off x="5502252" y="2397011"/>
            <a:ext cx="6506812"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66"/>
              </a:buClr>
              <a:buSzPct val="100000"/>
              <a:buFont typeface="Segoe UI" panose="020B0502040204020203" pitchFamily="34" charset="0"/>
              <a:buChar char="​"/>
              <a:tabLst/>
              <a:defRPr/>
            </a:pPr>
            <a:r>
              <a:rPr kumimoji="0" lang="ru-RU" sz="1400" b="1" i="0" u="none" strike="noStrike" kern="1200" cap="none" spc="0" normalizeH="0" baseline="0" noProof="0" dirty="0">
                <a:ln>
                  <a:noFill/>
                </a:ln>
                <a:solidFill>
                  <a:srgbClr val="000066"/>
                </a:solidFill>
                <a:effectLst/>
                <a:uLnTx/>
                <a:uFillTx/>
                <a:latin typeface="Arial"/>
                <a:ea typeface="+mn-ea"/>
                <a:cs typeface="Arial" panose="020B0604020202020204" pitchFamily="34" charset="0"/>
              </a:rPr>
              <a:t>STAR можно использовать для определения и приоритезации действий по устранению самых высоких рисков:</a:t>
            </a:r>
            <a:endParaRPr kumimoji="0" lang="en-US" sz="1400" b="0" i="0" u="none" strike="noStrike" kern="1200" cap="none" spc="0" normalizeH="0" baseline="0" noProof="0" dirty="0">
              <a:ln>
                <a:noFill/>
              </a:ln>
              <a:solidFill>
                <a:srgbClr val="000066"/>
              </a:solidFill>
              <a:effectLst/>
              <a:uLnTx/>
              <a:uFillTx/>
              <a:latin typeface="Arial"/>
              <a:ea typeface="+mn-ea"/>
              <a:cs typeface="Arial" panose="020B0604020202020204" pitchFamily="34" charset="0"/>
            </a:endParaRPr>
          </a:p>
        </p:txBody>
      </p:sp>
      <p:grpSp>
        <p:nvGrpSpPr>
          <p:cNvPr id="10" name="ChevronBlue 28">
            <a:extLst>
              <a:ext uri="{FF2B5EF4-FFF2-40B4-BE49-F238E27FC236}">
                <a16:creationId xmlns:a16="http://schemas.microsoft.com/office/drawing/2014/main" id="{8D26932C-4FC4-F451-2405-EF25492378BF}"/>
              </a:ext>
            </a:extLst>
          </p:cNvPr>
          <p:cNvGrpSpPr>
            <a:grpSpLocks noChangeAspect="1"/>
          </p:cNvGrpSpPr>
          <p:nvPr>
            <p:custDataLst>
              <p:tags r:id="rId10"/>
            </p:custDataLst>
          </p:nvPr>
        </p:nvGrpSpPr>
        <p:grpSpPr>
          <a:xfrm>
            <a:off x="4820789" y="1134905"/>
            <a:ext cx="396228" cy="396228"/>
            <a:chOff x="1016000" y="1016000"/>
            <a:chExt cx="396228" cy="396228"/>
          </a:xfrm>
          <a:solidFill>
            <a:srgbClr val="DA115D"/>
          </a:solidFill>
        </p:grpSpPr>
        <p:sp>
          <p:nvSpPr>
            <p:cNvPr id="11" name="Oval 10">
              <a:extLst>
                <a:ext uri="{FF2B5EF4-FFF2-40B4-BE49-F238E27FC236}">
                  <a16:creationId xmlns:a16="http://schemas.microsoft.com/office/drawing/2014/main" id="{4057E2A9-BD72-4724-E0C7-610C6FF34CF7}"/>
                </a:ext>
              </a:extLst>
            </p:cNvPr>
            <p:cNvSpPr/>
            <p:nvPr/>
          </p:nvSpPr>
          <p:spPr>
            <a:xfrm>
              <a:off x="1016000" y="1016000"/>
              <a:ext cx="396228" cy="396228"/>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14" name="Graphic 13">
              <a:extLst>
                <a:ext uri="{FF2B5EF4-FFF2-40B4-BE49-F238E27FC236}">
                  <a16:creationId xmlns:a16="http://schemas.microsoft.com/office/drawing/2014/main" id="{BF5BDA3F-2940-C44C-FE10-82242A13F25B}"/>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23614" y="1023614"/>
              <a:ext cx="381000" cy="381000"/>
            </a:xfrm>
            <a:prstGeom prst="rect">
              <a:avLst/>
            </a:prstGeom>
          </p:spPr>
        </p:pic>
      </p:grpSp>
      <p:sp>
        <p:nvSpPr>
          <p:cNvPr id="15" name="TextBox 14">
            <a:extLst>
              <a:ext uri="{FF2B5EF4-FFF2-40B4-BE49-F238E27FC236}">
                <a16:creationId xmlns:a16="http://schemas.microsoft.com/office/drawing/2014/main" id="{49583EFF-3090-EFAB-8723-003AAA117BD2}"/>
              </a:ext>
            </a:extLst>
          </p:cNvPr>
          <p:cNvSpPr txBox="1"/>
          <p:nvPr/>
        </p:nvSpPr>
        <p:spPr>
          <a:xfrm>
            <a:off x="5308993" y="2927923"/>
            <a:ext cx="6716792" cy="3543485"/>
          </a:xfrm>
          <a:prstGeom prst="rect">
            <a:avLst/>
          </a:prstGeom>
          <a:ln w="6350">
            <a:noFill/>
            <a:miter lim="800000"/>
          </a:ln>
        </p:spPr>
        <p:txBody>
          <a:bodyPr vert="horz" wrap="square" lIns="0" tIns="0" rIns="0" bIns="0" rtlCol="0">
            <a:noAutofit/>
          </a:bodyPr>
          <a:lstStyle/>
          <a:p>
            <a:pPr marL="179388" marR="0" lvl="0" indent="-179388" algn="just" defTabSz="914400" rtl="0" eaLnBrk="1" fontAlgn="auto" latinLnBrk="0" hangingPunct="1">
              <a:lnSpc>
                <a:spcPct val="115000"/>
              </a:lnSpc>
              <a:spcBef>
                <a:spcPts val="200"/>
              </a:spcBef>
              <a:spcAft>
                <a:spcPts val="0"/>
              </a:spcAft>
              <a:buClrTx/>
              <a:buSzTx/>
              <a:buFontTx/>
              <a:buChar char="-"/>
              <a:tabLst/>
              <a:defRPr/>
            </a:pP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Изучить соответствующие контрольные списки готовности (</a:t>
            </a:r>
            <a:r>
              <a:rPr kumimoji="0" lang="ru-RU" sz="1300" b="1"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все опасности и конкретные опасности</a:t>
            </a: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 и убедиться, что критически важные приоритеты, которые еще не отражены в NAPHS, включены в </a:t>
            </a:r>
            <a:r>
              <a:rPr kumimoji="0" lang="ru-RU" sz="1300" b="1"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операционный план на 1-2 года.</a:t>
            </a:r>
          </a:p>
          <a:p>
            <a:pPr marL="179388" marR="0" lvl="0" indent="-179388" algn="just" defTabSz="914400" rtl="0" eaLnBrk="1" fontAlgn="auto" latinLnBrk="0" hangingPunct="1">
              <a:lnSpc>
                <a:spcPct val="115000"/>
              </a:lnSpc>
              <a:spcBef>
                <a:spcPts val="200"/>
              </a:spcBef>
              <a:spcAft>
                <a:spcPts val="0"/>
              </a:spcAft>
              <a:buClrTx/>
              <a:buSzTx/>
              <a:buFontTx/>
              <a:buChar char="-"/>
              <a:tabLst/>
              <a:defRPr/>
            </a:pP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Провести приоритезацию действий по реализации:</a:t>
            </a:r>
            <a:endParaRPr kumimoji="0" lang="en-US"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endParaRPr>
          </a:p>
          <a:p>
            <a:pPr marL="450850" marR="0" lvl="0" indent="-271463" algn="just" defTabSz="914400" rtl="0" eaLnBrk="1" fontAlgn="auto" latinLnBrk="0" hangingPunct="1">
              <a:lnSpc>
                <a:spcPct val="115000"/>
              </a:lnSpc>
              <a:spcBef>
                <a:spcPts val="20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Действия по созданию или усилению </a:t>
            </a:r>
            <a:r>
              <a:rPr kumimoji="0" lang="ru-RU" sz="1300" b="1"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среднесрочных</a:t>
            </a: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 возможностей для поддержания постоянной готовности, функций подготовки. </a:t>
            </a:r>
            <a:endParaRPr kumimoji="0" lang="en-US"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Times New Roman" panose="02020603050405020304" pitchFamily="18" charset="0"/>
            </a:endParaRPr>
          </a:p>
          <a:p>
            <a:pPr marL="450850" marR="0" lvl="0" indent="-271463" algn="just" defTabSz="914400" rtl="0" eaLnBrk="1" fontAlgn="auto" latinLnBrk="0" hangingPunct="1">
              <a:lnSpc>
                <a:spcPct val="115000"/>
              </a:lnSpc>
              <a:spcBef>
                <a:spcPts val="20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Действия, которые могут снизить как самые </a:t>
            </a:r>
            <a:r>
              <a:rPr kumimoji="0" lang="ru-RU" sz="1300" b="1"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высокие риски </a:t>
            </a: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острые риски), так и критические системные пробелы (самый низкий уровень потенциала)</a:t>
            </a:r>
          </a:p>
          <a:p>
            <a:pPr marL="450850" marR="0" lvl="0" indent="-271463" algn="just" defTabSz="914400" rtl="0" eaLnBrk="1" fontAlgn="auto" latinLnBrk="0" hangingPunct="1">
              <a:lnSpc>
                <a:spcPct val="115000"/>
              </a:lnSpc>
              <a:spcBef>
                <a:spcPts val="20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Приоритетные действия включают как </a:t>
            </a:r>
            <a:r>
              <a:rPr kumimoji="0" lang="ru-RU" sz="1300" b="1"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краткосрочные выгоды</a:t>
            </a: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 так и </a:t>
            </a:r>
            <a:r>
              <a:rPr kumimoji="0" lang="ru-RU" sz="1300" b="1"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долгосрочные приоритеты</a:t>
            </a: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a:t>
            </a:r>
          </a:p>
          <a:p>
            <a:pPr marL="450850" marR="0" lvl="0" indent="-271463" algn="just" defTabSz="914400" rtl="0" eaLnBrk="1" fontAlgn="auto" latinLnBrk="0" hangingPunct="1">
              <a:lnSpc>
                <a:spcPct val="115000"/>
              </a:lnSpc>
              <a:spcBef>
                <a:spcPts val="20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Приоритетные действия конкретные, действенные и готовые к реализации </a:t>
            </a:r>
          </a:p>
          <a:p>
            <a:pPr marL="450850" marR="0" lvl="0" indent="-271463" algn="just" defTabSz="914400" rtl="0" eaLnBrk="1" fontAlgn="auto" latinLnBrk="0" hangingPunct="1">
              <a:lnSpc>
                <a:spcPct val="115000"/>
              </a:lnSpc>
              <a:spcBef>
                <a:spcPts val="20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Действия, направленные на </a:t>
            </a:r>
            <a:r>
              <a:rPr kumimoji="0" lang="ru-RU" sz="1300" b="1"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уязвимые географические районы и/или группы населения/сообщества</a:t>
            </a:r>
          </a:p>
          <a:p>
            <a:pPr marL="450850" marR="0" lvl="0" indent="-271463" algn="just" defTabSz="914400" rtl="0" eaLnBrk="1" fontAlgn="auto" latinLnBrk="0" hangingPunct="1">
              <a:lnSpc>
                <a:spcPct val="115000"/>
              </a:lnSpc>
              <a:spcBef>
                <a:spcPts val="20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a:ln>
                  <a:noFill/>
                </a:ln>
                <a:solidFill>
                  <a:srgbClr val="000066"/>
                </a:solidFill>
                <a:effectLst/>
                <a:uLnTx/>
                <a:uFillTx/>
                <a:latin typeface="Arial" panose="020B0604020202020204" pitchFamily="34" charset="0"/>
                <a:ea typeface="Yu Gothic Light" panose="020B0300000000000000" pitchFamily="34" charset="-128"/>
                <a:cs typeface="+mn-cs"/>
              </a:rPr>
              <a:t>Действия, которые продвигают/поддерживают справедливость и инклюзивность </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300" b="0" i="0" u="none" strike="noStrike" kern="1200" cap="none" spc="0" normalizeH="0" baseline="0" noProof="0" dirty="0">
              <a:ln>
                <a:noFill/>
              </a:ln>
              <a:solidFill>
                <a:srgbClr val="000066"/>
              </a:solidFill>
              <a:effectLst/>
              <a:uLnTx/>
              <a:uFillTx/>
              <a:latin typeface="Arial"/>
              <a:ea typeface="+mn-ea"/>
              <a:cs typeface="+mn-cs"/>
            </a:endParaRPr>
          </a:p>
        </p:txBody>
      </p:sp>
      <p:sp>
        <p:nvSpPr>
          <p:cNvPr id="18" name="TextBox 17">
            <a:extLst>
              <a:ext uri="{FF2B5EF4-FFF2-40B4-BE49-F238E27FC236}">
                <a16:creationId xmlns:a16="http://schemas.microsoft.com/office/drawing/2014/main" id="{9A64065F-9270-E40C-B817-FC6287B785E5}"/>
              </a:ext>
            </a:extLst>
          </p:cNvPr>
          <p:cNvSpPr txBox="1"/>
          <p:nvPr/>
        </p:nvSpPr>
        <p:spPr>
          <a:xfrm>
            <a:off x="5131053" y="1610657"/>
            <a:ext cx="7160099" cy="627202"/>
          </a:xfrm>
          <a:prstGeom prst="rect">
            <a:avLst/>
          </a:prstGeom>
          <a:ln w="6350">
            <a:noFill/>
            <a:miter lim="800000"/>
          </a:ln>
        </p:spPr>
        <p:txBody>
          <a:bodyPr vert="horz" wrap="square" lIns="0" tIns="0" rIns="0" bIns="0" rtlCol="0">
            <a:no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000066"/>
                </a:solidFill>
                <a:effectLst/>
                <a:uLnTx/>
                <a:uFillTx/>
                <a:latin typeface="Arial"/>
                <a:ea typeface="+mn-ea"/>
                <a:cs typeface="+mn-cs"/>
              </a:rPr>
              <a:t>NAPHS – это 5-летние стратегические планы по развитию потенциала.</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srgbClr val="000066"/>
                </a:solidFill>
                <a:effectLst/>
                <a:uLnTx/>
                <a:uFillTx/>
                <a:latin typeface="Arial"/>
                <a:ea typeface="+mn-ea"/>
                <a:cs typeface="+mn-cs"/>
              </a:rPr>
              <a:t>Они дополняются операционными планами на 1-2 года.</a:t>
            </a:r>
            <a:endParaRPr kumimoji="0" lang="en-US" sz="1600" b="0" i="0" u="none" strike="noStrike" kern="1200" cap="none" spc="0" normalizeH="0" baseline="0" noProof="0" dirty="0">
              <a:ln>
                <a:noFill/>
              </a:ln>
              <a:solidFill>
                <a:srgbClr val="000066"/>
              </a:solidFill>
              <a:effectLst/>
              <a:uLnTx/>
              <a:uFillTx/>
              <a:latin typeface="Arial"/>
              <a:ea typeface="+mn-ea"/>
              <a:cs typeface="+mn-cs"/>
            </a:endParaRPr>
          </a:p>
        </p:txBody>
      </p:sp>
    </p:spTree>
    <p:extLst>
      <p:ext uri="{BB962C8B-B14F-4D97-AF65-F5344CB8AC3E}">
        <p14:creationId xmlns:p14="http://schemas.microsoft.com/office/powerpoint/2010/main" val="1741507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52C5AC-330D-4BC7-985E-A3F294E95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6" hidden="1">
                        <a:extLst>
                          <a:ext uri="{FF2B5EF4-FFF2-40B4-BE49-F238E27FC236}">
                            <a16:creationId xmlns:a16="http://schemas.microsoft.com/office/drawing/2014/main" id="{0B52C5AC-330D-4BC7-985E-A3F294E95E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A3714109-49BA-4764-B8E3-4E4C07048B62}"/>
              </a:ext>
            </a:extLst>
          </p:cNvPr>
          <p:cNvSpPr txBox="1">
            <a:spLocks/>
          </p:cNvSpPr>
          <p:nvPr/>
        </p:nvSpPr>
        <p:spPr>
          <a:xfrm>
            <a:off x="442915" y="276270"/>
            <a:ext cx="11749085" cy="67709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800" b="0" i="0" u="none" strike="noStrike" kern="1200" cap="none" spc="0" normalizeH="0" baseline="0" noProof="0" dirty="0">
                <a:ln w="6350" cap="flat">
                  <a:noFill/>
                  <a:miter lim="800000"/>
                </a:ln>
                <a:solidFill>
                  <a:schemeClr val="bg1"/>
                </a:solidFill>
                <a:effectLst/>
                <a:uLnTx/>
                <a:uFillTx/>
                <a:latin typeface="Calibri"/>
                <a:ea typeface="+mj-ea"/>
                <a:cs typeface="+mj-cs"/>
              </a:rPr>
              <a:t>Глобальные и региональные вызовы NAPHS</a:t>
            </a:r>
            <a:endParaRPr kumimoji="0" lang="en-US" sz="2800" b="0" i="0" u="none" strike="noStrike" kern="1200" cap="none" spc="0" normalizeH="0" baseline="0" noProof="0" dirty="0">
              <a:ln w="6350" cap="flat">
                <a:noFill/>
                <a:miter lim="800000"/>
              </a:ln>
              <a:solidFill>
                <a:schemeClr val="bg1"/>
              </a:solidFill>
              <a:effectLst/>
              <a:uLnTx/>
              <a:uFillTx/>
              <a:latin typeface="Calibri"/>
              <a:ea typeface="+mj-ea"/>
              <a:cs typeface="+mj-cs"/>
            </a:endParaRPr>
          </a:p>
        </p:txBody>
      </p:sp>
      <p:sp>
        <p:nvSpPr>
          <p:cNvPr id="10" name="Rectangle 9">
            <a:extLst>
              <a:ext uri="{FF2B5EF4-FFF2-40B4-BE49-F238E27FC236}">
                <a16:creationId xmlns:a16="http://schemas.microsoft.com/office/drawing/2014/main" id="{EE1FB7FB-84EE-4ECE-99B8-1B8A0EEB3905}"/>
              </a:ext>
            </a:extLst>
          </p:cNvPr>
          <p:cNvSpPr/>
          <p:nvPr/>
        </p:nvSpPr>
        <p:spPr>
          <a:xfrm>
            <a:off x="0" y="996778"/>
            <a:ext cx="12192000" cy="56430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2000" b="1" i="0" u="none" strike="noStrike" kern="1200" cap="none" spc="0" normalizeH="0" baseline="0" noProof="0" dirty="0">
                <a:ln>
                  <a:noFill/>
                </a:ln>
                <a:solidFill>
                  <a:srgbClr val="FFFFFF"/>
                </a:solidFill>
                <a:effectLst/>
                <a:uLnTx/>
                <a:uFillTx/>
                <a:latin typeface="Calibri"/>
                <a:ea typeface="+mn-ea"/>
                <a:cs typeface="+mn-cs"/>
              </a:rPr>
              <a:t>Несмотря на распространение NAPHS, специалисты-практики на уровне стран столкнулись со следующими вызовами:</a:t>
            </a:r>
            <a:endParaRPr kumimoji="0" lang="en-US" sz="20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7" name="Google Shape;3889;p94">
            <a:extLst>
              <a:ext uri="{FF2B5EF4-FFF2-40B4-BE49-F238E27FC236}">
                <a16:creationId xmlns:a16="http://schemas.microsoft.com/office/drawing/2014/main" id="{59A4FCE9-EF93-4ED3-90BC-5E58FC8C015A}"/>
              </a:ext>
            </a:extLst>
          </p:cNvPr>
          <p:cNvSpPr/>
          <p:nvPr/>
        </p:nvSpPr>
        <p:spPr>
          <a:xfrm>
            <a:off x="1992316" y="2537361"/>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68" name="Google Shape;3890;p94">
            <a:extLst>
              <a:ext uri="{FF2B5EF4-FFF2-40B4-BE49-F238E27FC236}">
                <a16:creationId xmlns:a16="http://schemas.microsoft.com/office/drawing/2014/main" id="{401DFF8A-F9EC-4F8D-AD2C-5FABD420633E}"/>
              </a:ext>
            </a:extLst>
          </p:cNvPr>
          <p:cNvSpPr/>
          <p:nvPr/>
        </p:nvSpPr>
        <p:spPr>
          <a:xfrm>
            <a:off x="2148269" y="2607473"/>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69" name="Google Shape;3891;p94">
            <a:extLst>
              <a:ext uri="{FF2B5EF4-FFF2-40B4-BE49-F238E27FC236}">
                <a16:creationId xmlns:a16="http://schemas.microsoft.com/office/drawing/2014/main" id="{77E61219-E51A-4180-9FEA-6E1DEA96C0AE}"/>
              </a:ext>
            </a:extLst>
          </p:cNvPr>
          <p:cNvSpPr txBox="1"/>
          <p:nvPr/>
        </p:nvSpPr>
        <p:spPr>
          <a:xfrm>
            <a:off x="2000603" y="2730437"/>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2</a:t>
            </a:r>
            <a:endParaRPr kumimoji="0" sz="1600" b="0" i="0" u="none" strike="noStrike" kern="1200" cap="none" spc="0" normalizeH="0" baseline="0" noProof="0">
              <a:ln>
                <a:noFill/>
              </a:ln>
              <a:solidFill>
                <a:srgbClr val="000000"/>
              </a:solidFill>
              <a:effectLst/>
              <a:uLnTx/>
              <a:uFillTx/>
              <a:latin typeface="Calibri"/>
              <a:ea typeface="+mn-ea"/>
              <a:cs typeface="+mn-cs"/>
            </a:endParaRPr>
          </a:p>
        </p:txBody>
      </p:sp>
      <p:grpSp>
        <p:nvGrpSpPr>
          <p:cNvPr id="70" name="Google Shape;3892;p94">
            <a:extLst>
              <a:ext uri="{FF2B5EF4-FFF2-40B4-BE49-F238E27FC236}">
                <a16:creationId xmlns:a16="http://schemas.microsoft.com/office/drawing/2014/main" id="{5FBA008C-C3E0-496C-BA0F-A69411342C19}"/>
              </a:ext>
            </a:extLst>
          </p:cNvPr>
          <p:cNvGrpSpPr/>
          <p:nvPr/>
        </p:nvGrpSpPr>
        <p:grpSpPr>
          <a:xfrm>
            <a:off x="10214532" y="2593296"/>
            <a:ext cx="466404" cy="466334"/>
            <a:chOff x="590920" y="2274258"/>
            <a:chExt cx="720107" cy="720000"/>
          </a:xfrm>
          <a:solidFill>
            <a:schemeClr val="accent4">
              <a:lumMod val="50000"/>
            </a:schemeClr>
          </a:solidFill>
        </p:grpSpPr>
        <p:sp>
          <p:nvSpPr>
            <p:cNvPr id="108" name="Google Shape;3893;p94">
              <a:extLst>
                <a:ext uri="{FF2B5EF4-FFF2-40B4-BE49-F238E27FC236}">
                  <a16:creationId xmlns:a16="http://schemas.microsoft.com/office/drawing/2014/main" id="{C752CFE5-ED96-4412-B891-4E088545854B}"/>
                </a:ext>
              </a:extLst>
            </p:cNvPr>
            <p:cNvSpPr/>
            <p:nvPr/>
          </p:nvSpPr>
          <p:spPr>
            <a:xfrm>
              <a:off x="590920" y="2274258"/>
              <a:ext cx="720107" cy="720000"/>
            </a:xfrm>
            <a:custGeom>
              <a:avLst/>
              <a:gdLst/>
              <a:ahLst/>
              <a:cxnLst/>
              <a:rect l="l" t="t" r="r" b="b"/>
              <a:pathLst>
                <a:path w="6628" h="6627" extrusionOk="0">
                  <a:moveTo>
                    <a:pt x="6628" y="5435"/>
                  </a:moveTo>
                  <a:lnTo>
                    <a:pt x="6628" y="0"/>
                  </a:lnTo>
                  <a:lnTo>
                    <a:pt x="0" y="0"/>
                  </a:lnTo>
                  <a:lnTo>
                    <a:pt x="0" y="5435"/>
                  </a:lnTo>
                  <a:lnTo>
                    <a:pt x="2061" y="5435"/>
                  </a:lnTo>
                  <a:lnTo>
                    <a:pt x="2061" y="6343"/>
                  </a:lnTo>
                  <a:lnTo>
                    <a:pt x="1118" y="6343"/>
                  </a:lnTo>
                  <a:lnTo>
                    <a:pt x="1118" y="6627"/>
                  </a:lnTo>
                  <a:lnTo>
                    <a:pt x="5508" y="6627"/>
                  </a:lnTo>
                  <a:lnTo>
                    <a:pt x="5508" y="6343"/>
                  </a:lnTo>
                  <a:lnTo>
                    <a:pt x="4565" y="6343"/>
                  </a:lnTo>
                  <a:lnTo>
                    <a:pt x="4565" y="5435"/>
                  </a:lnTo>
                  <a:lnTo>
                    <a:pt x="6628" y="5435"/>
                  </a:lnTo>
                  <a:close/>
                  <a:moveTo>
                    <a:pt x="282" y="282"/>
                  </a:moveTo>
                  <a:lnTo>
                    <a:pt x="6344" y="282"/>
                  </a:lnTo>
                  <a:lnTo>
                    <a:pt x="6344" y="5153"/>
                  </a:lnTo>
                  <a:lnTo>
                    <a:pt x="282" y="5153"/>
                  </a:lnTo>
                  <a:lnTo>
                    <a:pt x="282" y="282"/>
                  </a:lnTo>
                  <a:close/>
                  <a:moveTo>
                    <a:pt x="4283" y="6343"/>
                  </a:moveTo>
                  <a:lnTo>
                    <a:pt x="2343" y="6343"/>
                  </a:lnTo>
                  <a:lnTo>
                    <a:pt x="2343" y="5435"/>
                  </a:lnTo>
                  <a:lnTo>
                    <a:pt x="4283" y="5435"/>
                  </a:lnTo>
                  <a:lnTo>
                    <a:pt x="4283" y="6343"/>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9" name="Google Shape;3894;p94">
              <a:extLst>
                <a:ext uri="{FF2B5EF4-FFF2-40B4-BE49-F238E27FC236}">
                  <a16:creationId xmlns:a16="http://schemas.microsoft.com/office/drawing/2014/main" id="{397A533B-7D8A-417B-87E1-85099795AA49}"/>
                </a:ext>
              </a:extLst>
            </p:cNvPr>
            <p:cNvSpPr/>
            <p:nvPr/>
          </p:nvSpPr>
          <p:spPr>
            <a:xfrm>
              <a:off x="699566" y="2428536"/>
              <a:ext cx="191326" cy="315183"/>
            </a:xfrm>
            <a:custGeom>
              <a:avLst/>
              <a:gdLst/>
              <a:ahLst/>
              <a:cxnLst/>
              <a:rect l="l" t="t" r="r" b="b"/>
              <a:pathLst>
                <a:path w="1761" h="2901" extrusionOk="0">
                  <a:moveTo>
                    <a:pt x="1579" y="698"/>
                  </a:moveTo>
                  <a:lnTo>
                    <a:pt x="1579" y="698"/>
                  </a:lnTo>
                  <a:lnTo>
                    <a:pt x="1579" y="662"/>
                  </a:lnTo>
                  <a:lnTo>
                    <a:pt x="1575" y="626"/>
                  </a:lnTo>
                  <a:lnTo>
                    <a:pt x="1571" y="592"/>
                  </a:lnTo>
                  <a:lnTo>
                    <a:pt x="1565" y="558"/>
                  </a:lnTo>
                  <a:lnTo>
                    <a:pt x="1557" y="524"/>
                  </a:lnTo>
                  <a:lnTo>
                    <a:pt x="1549" y="490"/>
                  </a:lnTo>
                  <a:lnTo>
                    <a:pt x="1537" y="458"/>
                  </a:lnTo>
                  <a:lnTo>
                    <a:pt x="1525" y="426"/>
                  </a:lnTo>
                  <a:lnTo>
                    <a:pt x="1511" y="396"/>
                  </a:lnTo>
                  <a:lnTo>
                    <a:pt x="1495" y="366"/>
                  </a:lnTo>
                  <a:lnTo>
                    <a:pt x="1479" y="336"/>
                  </a:lnTo>
                  <a:lnTo>
                    <a:pt x="1461" y="308"/>
                  </a:lnTo>
                  <a:lnTo>
                    <a:pt x="1441" y="280"/>
                  </a:lnTo>
                  <a:lnTo>
                    <a:pt x="1419" y="254"/>
                  </a:lnTo>
                  <a:lnTo>
                    <a:pt x="1397" y="228"/>
                  </a:lnTo>
                  <a:lnTo>
                    <a:pt x="1375" y="204"/>
                  </a:lnTo>
                  <a:lnTo>
                    <a:pt x="1351" y="182"/>
                  </a:lnTo>
                  <a:lnTo>
                    <a:pt x="1325" y="160"/>
                  </a:lnTo>
                  <a:lnTo>
                    <a:pt x="1299" y="138"/>
                  </a:lnTo>
                  <a:lnTo>
                    <a:pt x="1271" y="118"/>
                  </a:lnTo>
                  <a:lnTo>
                    <a:pt x="1243" y="100"/>
                  </a:lnTo>
                  <a:lnTo>
                    <a:pt x="1213" y="84"/>
                  </a:lnTo>
                  <a:lnTo>
                    <a:pt x="1183" y="68"/>
                  </a:lnTo>
                  <a:lnTo>
                    <a:pt x="1153" y="54"/>
                  </a:lnTo>
                  <a:lnTo>
                    <a:pt x="1121" y="42"/>
                  </a:lnTo>
                  <a:lnTo>
                    <a:pt x="1089" y="30"/>
                  </a:lnTo>
                  <a:lnTo>
                    <a:pt x="1055" y="22"/>
                  </a:lnTo>
                  <a:lnTo>
                    <a:pt x="1021" y="14"/>
                  </a:lnTo>
                  <a:lnTo>
                    <a:pt x="987" y="8"/>
                  </a:lnTo>
                  <a:lnTo>
                    <a:pt x="953" y="4"/>
                  </a:lnTo>
                  <a:lnTo>
                    <a:pt x="917" y="0"/>
                  </a:lnTo>
                  <a:lnTo>
                    <a:pt x="881" y="0"/>
                  </a:lnTo>
                  <a:lnTo>
                    <a:pt x="881" y="0"/>
                  </a:lnTo>
                  <a:lnTo>
                    <a:pt x="845" y="0"/>
                  </a:lnTo>
                  <a:lnTo>
                    <a:pt x="809" y="4"/>
                  </a:lnTo>
                  <a:lnTo>
                    <a:pt x="775" y="8"/>
                  </a:lnTo>
                  <a:lnTo>
                    <a:pt x="741" y="14"/>
                  </a:lnTo>
                  <a:lnTo>
                    <a:pt x="707" y="22"/>
                  </a:lnTo>
                  <a:lnTo>
                    <a:pt x="673" y="30"/>
                  </a:lnTo>
                  <a:lnTo>
                    <a:pt x="640" y="42"/>
                  </a:lnTo>
                  <a:lnTo>
                    <a:pt x="608" y="54"/>
                  </a:lnTo>
                  <a:lnTo>
                    <a:pt x="578" y="68"/>
                  </a:lnTo>
                  <a:lnTo>
                    <a:pt x="548" y="84"/>
                  </a:lnTo>
                  <a:lnTo>
                    <a:pt x="518" y="100"/>
                  </a:lnTo>
                  <a:lnTo>
                    <a:pt x="490" y="118"/>
                  </a:lnTo>
                  <a:lnTo>
                    <a:pt x="462" y="138"/>
                  </a:lnTo>
                  <a:lnTo>
                    <a:pt x="436" y="160"/>
                  </a:lnTo>
                  <a:lnTo>
                    <a:pt x="410" y="182"/>
                  </a:lnTo>
                  <a:lnTo>
                    <a:pt x="386" y="204"/>
                  </a:lnTo>
                  <a:lnTo>
                    <a:pt x="364" y="228"/>
                  </a:lnTo>
                  <a:lnTo>
                    <a:pt x="342" y="254"/>
                  </a:lnTo>
                  <a:lnTo>
                    <a:pt x="320" y="280"/>
                  </a:lnTo>
                  <a:lnTo>
                    <a:pt x="302" y="308"/>
                  </a:lnTo>
                  <a:lnTo>
                    <a:pt x="282" y="336"/>
                  </a:lnTo>
                  <a:lnTo>
                    <a:pt x="266" y="366"/>
                  </a:lnTo>
                  <a:lnTo>
                    <a:pt x="250" y="396"/>
                  </a:lnTo>
                  <a:lnTo>
                    <a:pt x="236" y="426"/>
                  </a:lnTo>
                  <a:lnTo>
                    <a:pt x="224" y="458"/>
                  </a:lnTo>
                  <a:lnTo>
                    <a:pt x="214" y="490"/>
                  </a:lnTo>
                  <a:lnTo>
                    <a:pt x="204" y="524"/>
                  </a:lnTo>
                  <a:lnTo>
                    <a:pt x="196" y="558"/>
                  </a:lnTo>
                  <a:lnTo>
                    <a:pt x="190" y="592"/>
                  </a:lnTo>
                  <a:lnTo>
                    <a:pt x="186" y="626"/>
                  </a:lnTo>
                  <a:lnTo>
                    <a:pt x="182" y="662"/>
                  </a:lnTo>
                  <a:lnTo>
                    <a:pt x="182" y="698"/>
                  </a:lnTo>
                  <a:lnTo>
                    <a:pt x="182" y="948"/>
                  </a:lnTo>
                  <a:lnTo>
                    <a:pt x="0" y="948"/>
                  </a:lnTo>
                  <a:lnTo>
                    <a:pt x="0" y="2901"/>
                  </a:lnTo>
                  <a:lnTo>
                    <a:pt x="1761" y="2901"/>
                  </a:lnTo>
                  <a:lnTo>
                    <a:pt x="1761" y="948"/>
                  </a:lnTo>
                  <a:lnTo>
                    <a:pt x="1585" y="948"/>
                  </a:lnTo>
                  <a:lnTo>
                    <a:pt x="1579" y="698"/>
                  </a:lnTo>
                  <a:close/>
                  <a:moveTo>
                    <a:pt x="464" y="698"/>
                  </a:moveTo>
                  <a:lnTo>
                    <a:pt x="464" y="698"/>
                  </a:lnTo>
                  <a:lnTo>
                    <a:pt x="466" y="656"/>
                  </a:lnTo>
                  <a:lnTo>
                    <a:pt x="472" y="614"/>
                  </a:lnTo>
                  <a:lnTo>
                    <a:pt x="482" y="574"/>
                  </a:lnTo>
                  <a:lnTo>
                    <a:pt x="496" y="536"/>
                  </a:lnTo>
                  <a:lnTo>
                    <a:pt x="514" y="500"/>
                  </a:lnTo>
                  <a:lnTo>
                    <a:pt x="536" y="466"/>
                  </a:lnTo>
                  <a:lnTo>
                    <a:pt x="560" y="434"/>
                  </a:lnTo>
                  <a:lnTo>
                    <a:pt x="586" y="404"/>
                  </a:lnTo>
                  <a:lnTo>
                    <a:pt x="616" y="378"/>
                  </a:lnTo>
                  <a:lnTo>
                    <a:pt x="648" y="354"/>
                  </a:lnTo>
                  <a:lnTo>
                    <a:pt x="683" y="332"/>
                  </a:lnTo>
                  <a:lnTo>
                    <a:pt x="719" y="314"/>
                  </a:lnTo>
                  <a:lnTo>
                    <a:pt x="757" y="300"/>
                  </a:lnTo>
                  <a:lnTo>
                    <a:pt x="797" y="290"/>
                  </a:lnTo>
                  <a:lnTo>
                    <a:pt x="839" y="284"/>
                  </a:lnTo>
                  <a:lnTo>
                    <a:pt x="881" y="282"/>
                  </a:lnTo>
                  <a:lnTo>
                    <a:pt x="881" y="282"/>
                  </a:lnTo>
                  <a:lnTo>
                    <a:pt x="923" y="284"/>
                  </a:lnTo>
                  <a:lnTo>
                    <a:pt x="965" y="290"/>
                  </a:lnTo>
                  <a:lnTo>
                    <a:pt x="1005" y="300"/>
                  </a:lnTo>
                  <a:lnTo>
                    <a:pt x="1043" y="314"/>
                  </a:lnTo>
                  <a:lnTo>
                    <a:pt x="1079" y="332"/>
                  </a:lnTo>
                  <a:lnTo>
                    <a:pt x="1113" y="354"/>
                  </a:lnTo>
                  <a:lnTo>
                    <a:pt x="1145" y="378"/>
                  </a:lnTo>
                  <a:lnTo>
                    <a:pt x="1175" y="404"/>
                  </a:lnTo>
                  <a:lnTo>
                    <a:pt x="1201" y="434"/>
                  </a:lnTo>
                  <a:lnTo>
                    <a:pt x="1225" y="466"/>
                  </a:lnTo>
                  <a:lnTo>
                    <a:pt x="1247" y="502"/>
                  </a:lnTo>
                  <a:lnTo>
                    <a:pt x="1265" y="538"/>
                  </a:lnTo>
                  <a:lnTo>
                    <a:pt x="1279" y="576"/>
                  </a:lnTo>
                  <a:lnTo>
                    <a:pt x="1289" y="616"/>
                  </a:lnTo>
                  <a:lnTo>
                    <a:pt x="1295" y="658"/>
                  </a:lnTo>
                  <a:lnTo>
                    <a:pt x="1297" y="702"/>
                  </a:lnTo>
                  <a:lnTo>
                    <a:pt x="1303" y="948"/>
                  </a:lnTo>
                  <a:lnTo>
                    <a:pt x="464" y="948"/>
                  </a:lnTo>
                  <a:lnTo>
                    <a:pt x="464" y="698"/>
                  </a:lnTo>
                  <a:close/>
                  <a:moveTo>
                    <a:pt x="1479" y="2619"/>
                  </a:moveTo>
                  <a:lnTo>
                    <a:pt x="282" y="2619"/>
                  </a:lnTo>
                  <a:lnTo>
                    <a:pt x="282" y="1230"/>
                  </a:lnTo>
                  <a:lnTo>
                    <a:pt x="1479" y="1230"/>
                  </a:lnTo>
                  <a:lnTo>
                    <a:pt x="1479" y="2619"/>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0" name="Google Shape;3895;p94">
              <a:extLst>
                <a:ext uri="{FF2B5EF4-FFF2-40B4-BE49-F238E27FC236}">
                  <a16:creationId xmlns:a16="http://schemas.microsoft.com/office/drawing/2014/main" id="{D854E4E3-F6E0-4A0F-9E38-783EFD127E90}"/>
                </a:ext>
              </a:extLst>
            </p:cNvPr>
            <p:cNvSpPr/>
            <p:nvPr/>
          </p:nvSpPr>
          <p:spPr>
            <a:xfrm>
              <a:off x="750413" y="2577816"/>
              <a:ext cx="89633" cy="120054"/>
            </a:xfrm>
            <a:custGeom>
              <a:avLst/>
              <a:gdLst/>
              <a:ahLst/>
              <a:cxnLst/>
              <a:rect l="l" t="t" r="r" b="b"/>
              <a:pathLst>
                <a:path w="825" h="1105" extrusionOk="0">
                  <a:moveTo>
                    <a:pt x="271" y="797"/>
                  </a:moveTo>
                  <a:lnTo>
                    <a:pt x="271" y="1105"/>
                  </a:lnTo>
                  <a:lnTo>
                    <a:pt x="555" y="1105"/>
                  </a:lnTo>
                  <a:lnTo>
                    <a:pt x="555" y="797"/>
                  </a:lnTo>
                  <a:lnTo>
                    <a:pt x="555" y="797"/>
                  </a:lnTo>
                  <a:lnTo>
                    <a:pt x="583" y="785"/>
                  </a:lnTo>
                  <a:lnTo>
                    <a:pt x="611" y="771"/>
                  </a:lnTo>
                  <a:lnTo>
                    <a:pt x="637" y="755"/>
                  </a:lnTo>
                  <a:lnTo>
                    <a:pt x="663" y="739"/>
                  </a:lnTo>
                  <a:lnTo>
                    <a:pt x="687" y="719"/>
                  </a:lnTo>
                  <a:lnTo>
                    <a:pt x="709" y="697"/>
                  </a:lnTo>
                  <a:lnTo>
                    <a:pt x="729" y="675"/>
                  </a:lnTo>
                  <a:lnTo>
                    <a:pt x="749" y="649"/>
                  </a:lnTo>
                  <a:lnTo>
                    <a:pt x="765" y="625"/>
                  </a:lnTo>
                  <a:lnTo>
                    <a:pt x="781" y="597"/>
                  </a:lnTo>
                  <a:lnTo>
                    <a:pt x="793" y="569"/>
                  </a:lnTo>
                  <a:lnTo>
                    <a:pt x="805" y="539"/>
                  </a:lnTo>
                  <a:lnTo>
                    <a:pt x="813" y="508"/>
                  </a:lnTo>
                  <a:lnTo>
                    <a:pt x="819" y="476"/>
                  </a:lnTo>
                  <a:lnTo>
                    <a:pt x="823" y="444"/>
                  </a:lnTo>
                  <a:lnTo>
                    <a:pt x="825" y="412"/>
                  </a:lnTo>
                  <a:lnTo>
                    <a:pt x="825" y="412"/>
                  </a:lnTo>
                  <a:lnTo>
                    <a:pt x="823" y="370"/>
                  </a:lnTo>
                  <a:lnTo>
                    <a:pt x="817" y="328"/>
                  </a:lnTo>
                  <a:lnTo>
                    <a:pt x="807" y="290"/>
                  </a:lnTo>
                  <a:lnTo>
                    <a:pt x="793" y="252"/>
                  </a:lnTo>
                  <a:lnTo>
                    <a:pt x="775" y="216"/>
                  </a:lnTo>
                  <a:lnTo>
                    <a:pt x="755" y="182"/>
                  </a:lnTo>
                  <a:lnTo>
                    <a:pt x="731" y="150"/>
                  </a:lnTo>
                  <a:lnTo>
                    <a:pt x="705" y="120"/>
                  </a:lnTo>
                  <a:lnTo>
                    <a:pt x="675" y="94"/>
                  </a:lnTo>
                  <a:lnTo>
                    <a:pt x="643" y="70"/>
                  </a:lnTo>
                  <a:lnTo>
                    <a:pt x="609" y="50"/>
                  </a:lnTo>
                  <a:lnTo>
                    <a:pt x="573" y="32"/>
                  </a:lnTo>
                  <a:lnTo>
                    <a:pt x="535" y="18"/>
                  </a:lnTo>
                  <a:lnTo>
                    <a:pt x="495" y="8"/>
                  </a:lnTo>
                  <a:lnTo>
                    <a:pt x="455" y="2"/>
                  </a:lnTo>
                  <a:lnTo>
                    <a:pt x="413" y="0"/>
                  </a:lnTo>
                  <a:lnTo>
                    <a:pt x="413" y="0"/>
                  </a:lnTo>
                  <a:lnTo>
                    <a:pt x="371" y="2"/>
                  </a:lnTo>
                  <a:lnTo>
                    <a:pt x="331" y="8"/>
                  </a:lnTo>
                  <a:lnTo>
                    <a:pt x="291" y="18"/>
                  </a:lnTo>
                  <a:lnTo>
                    <a:pt x="253" y="32"/>
                  </a:lnTo>
                  <a:lnTo>
                    <a:pt x="217" y="50"/>
                  </a:lnTo>
                  <a:lnTo>
                    <a:pt x="182" y="70"/>
                  </a:lnTo>
                  <a:lnTo>
                    <a:pt x="150" y="94"/>
                  </a:lnTo>
                  <a:lnTo>
                    <a:pt x="122" y="120"/>
                  </a:lnTo>
                  <a:lnTo>
                    <a:pt x="94" y="150"/>
                  </a:lnTo>
                  <a:lnTo>
                    <a:pt x="70" y="182"/>
                  </a:lnTo>
                  <a:lnTo>
                    <a:pt x="50" y="216"/>
                  </a:lnTo>
                  <a:lnTo>
                    <a:pt x="32" y="252"/>
                  </a:lnTo>
                  <a:lnTo>
                    <a:pt x="18" y="290"/>
                  </a:lnTo>
                  <a:lnTo>
                    <a:pt x="8" y="328"/>
                  </a:lnTo>
                  <a:lnTo>
                    <a:pt x="2" y="370"/>
                  </a:lnTo>
                  <a:lnTo>
                    <a:pt x="0" y="412"/>
                  </a:lnTo>
                  <a:lnTo>
                    <a:pt x="0" y="412"/>
                  </a:lnTo>
                  <a:lnTo>
                    <a:pt x="2" y="444"/>
                  </a:lnTo>
                  <a:lnTo>
                    <a:pt x="6" y="476"/>
                  </a:lnTo>
                  <a:lnTo>
                    <a:pt x="12" y="508"/>
                  </a:lnTo>
                  <a:lnTo>
                    <a:pt x="20" y="539"/>
                  </a:lnTo>
                  <a:lnTo>
                    <a:pt x="32" y="569"/>
                  </a:lnTo>
                  <a:lnTo>
                    <a:pt x="44" y="597"/>
                  </a:lnTo>
                  <a:lnTo>
                    <a:pt x="60" y="625"/>
                  </a:lnTo>
                  <a:lnTo>
                    <a:pt x="76" y="649"/>
                  </a:lnTo>
                  <a:lnTo>
                    <a:pt x="96" y="675"/>
                  </a:lnTo>
                  <a:lnTo>
                    <a:pt x="116" y="697"/>
                  </a:lnTo>
                  <a:lnTo>
                    <a:pt x="138" y="719"/>
                  </a:lnTo>
                  <a:lnTo>
                    <a:pt x="162" y="739"/>
                  </a:lnTo>
                  <a:lnTo>
                    <a:pt x="188" y="755"/>
                  </a:lnTo>
                  <a:lnTo>
                    <a:pt x="215" y="771"/>
                  </a:lnTo>
                  <a:lnTo>
                    <a:pt x="243" y="785"/>
                  </a:lnTo>
                  <a:lnTo>
                    <a:pt x="271" y="797"/>
                  </a:lnTo>
                  <a:lnTo>
                    <a:pt x="271" y="797"/>
                  </a:lnTo>
                  <a:close/>
                  <a:moveTo>
                    <a:pt x="413" y="282"/>
                  </a:moveTo>
                  <a:lnTo>
                    <a:pt x="413" y="282"/>
                  </a:lnTo>
                  <a:lnTo>
                    <a:pt x="427" y="284"/>
                  </a:lnTo>
                  <a:lnTo>
                    <a:pt x="439" y="286"/>
                  </a:lnTo>
                  <a:lnTo>
                    <a:pt x="451" y="288"/>
                  </a:lnTo>
                  <a:lnTo>
                    <a:pt x="463" y="292"/>
                  </a:lnTo>
                  <a:lnTo>
                    <a:pt x="475" y="298"/>
                  </a:lnTo>
                  <a:lnTo>
                    <a:pt x="485" y="304"/>
                  </a:lnTo>
                  <a:lnTo>
                    <a:pt x="505" y="320"/>
                  </a:lnTo>
                  <a:lnTo>
                    <a:pt x="521" y="340"/>
                  </a:lnTo>
                  <a:lnTo>
                    <a:pt x="527" y="350"/>
                  </a:lnTo>
                  <a:lnTo>
                    <a:pt x="533" y="362"/>
                  </a:lnTo>
                  <a:lnTo>
                    <a:pt x="537" y="374"/>
                  </a:lnTo>
                  <a:lnTo>
                    <a:pt x="539" y="386"/>
                  </a:lnTo>
                  <a:lnTo>
                    <a:pt x="541" y="398"/>
                  </a:lnTo>
                  <a:lnTo>
                    <a:pt x="543" y="412"/>
                  </a:lnTo>
                  <a:lnTo>
                    <a:pt x="543" y="412"/>
                  </a:lnTo>
                  <a:lnTo>
                    <a:pt x="541" y="424"/>
                  </a:lnTo>
                  <a:lnTo>
                    <a:pt x="539" y="438"/>
                  </a:lnTo>
                  <a:lnTo>
                    <a:pt x="537" y="450"/>
                  </a:lnTo>
                  <a:lnTo>
                    <a:pt x="533" y="462"/>
                  </a:lnTo>
                  <a:lnTo>
                    <a:pt x="527" y="474"/>
                  </a:lnTo>
                  <a:lnTo>
                    <a:pt x="521" y="484"/>
                  </a:lnTo>
                  <a:lnTo>
                    <a:pt x="505" y="502"/>
                  </a:lnTo>
                  <a:lnTo>
                    <a:pt x="485" y="518"/>
                  </a:lnTo>
                  <a:lnTo>
                    <a:pt x="475" y="527"/>
                  </a:lnTo>
                  <a:lnTo>
                    <a:pt x="463" y="531"/>
                  </a:lnTo>
                  <a:lnTo>
                    <a:pt x="451" y="535"/>
                  </a:lnTo>
                  <a:lnTo>
                    <a:pt x="439" y="539"/>
                  </a:lnTo>
                  <a:lnTo>
                    <a:pt x="427" y="541"/>
                  </a:lnTo>
                  <a:lnTo>
                    <a:pt x="413" y="541"/>
                  </a:lnTo>
                  <a:lnTo>
                    <a:pt x="413" y="541"/>
                  </a:lnTo>
                  <a:lnTo>
                    <a:pt x="399" y="541"/>
                  </a:lnTo>
                  <a:lnTo>
                    <a:pt x="387" y="539"/>
                  </a:lnTo>
                  <a:lnTo>
                    <a:pt x="375" y="535"/>
                  </a:lnTo>
                  <a:lnTo>
                    <a:pt x="363" y="531"/>
                  </a:lnTo>
                  <a:lnTo>
                    <a:pt x="351" y="527"/>
                  </a:lnTo>
                  <a:lnTo>
                    <a:pt x="341" y="518"/>
                  </a:lnTo>
                  <a:lnTo>
                    <a:pt x="321" y="502"/>
                  </a:lnTo>
                  <a:lnTo>
                    <a:pt x="307" y="484"/>
                  </a:lnTo>
                  <a:lnTo>
                    <a:pt x="299" y="474"/>
                  </a:lnTo>
                  <a:lnTo>
                    <a:pt x="295" y="462"/>
                  </a:lnTo>
                  <a:lnTo>
                    <a:pt x="289" y="450"/>
                  </a:lnTo>
                  <a:lnTo>
                    <a:pt x="287" y="438"/>
                  </a:lnTo>
                  <a:lnTo>
                    <a:pt x="285" y="424"/>
                  </a:lnTo>
                  <a:lnTo>
                    <a:pt x="283" y="412"/>
                  </a:lnTo>
                  <a:lnTo>
                    <a:pt x="283" y="412"/>
                  </a:lnTo>
                  <a:lnTo>
                    <a:pt x="285" y="398"/>
                  </a:lnTo>
                  <a:lnTo>
                    <a:pt x="287" y="386"/>
                  </a:lnTo>
                  <a:lnTo>
                    <a:pt x="289" y="374"/>
                  </a:lnTo>
                  <a:lnTo>
                    <a:pt x="295" y="362"/>
                  </a:lnTo>
                  <a:lnTo>
                    <a:pt x="299" y="350"/>
                  </a:lnTo>
                  <a:lnTo>
                    <a:pt x="307" y="340"/>
                  </a:lnTo>
                  <a:lnTo>
                    <a:pt x="321" y="320"/>
                  </a:lnTo>
                  <a:lnTo>
                    <a:pt x="341" y="304"/>
                  </a:lnTo>
                  <a:lnTo>
                    <a:pt x="351" y="298"/>
                  </a:lnTo>
                  <a:lnTo>
                    <a:pt x="363" y="292"/>
                  </a:lnTo>
                  <a:lnTo>
                    <a:pt x="375" y="288"/>
                  </a:lnTo>
                  <a:lnTo>
                    <a:pt x="387" y="286"/>
                  </a:lnTo>
                  <a:lnTo>
                    <a:pt x="399" y="284"/>
                  </a:lnTo>
                  <a:lnTo>
                    <a:pt x="413" y="282"/>
                  </a:lnTo>
                  <a:lnTo>
                    <a:pt x="413" y="282"/>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1" name="Google Shape;3896;p94">
              <a:extLst>
                <a:ext uri="{FF2B5EF4-FFF2-40B4-BE49-F238E27FC236}">
                  <a16:creationId xmlns:a16="http://schemas.microsoft.com/office/drawing/2014/main" id="{0FE7C72A-FF02-4D41-B98C-768EEC457CE3}"/>
                </a:ext>
              </a:extLst>
            </p:cNvPr>
            <p:cNvSpPr/>
            <p:nvPr/>
          </p:nvSpPr>
          <p:spPr>
            <a:xfrm>
              <a:off x="928049" y="2466780"/>
              <a:ext cx="226962" cy="186763"/>
            </a:xfrm>
            <a:custGeom>
              <a:avLst/>
              <a:gdLst/>
              <a:ahLst/>
              <a:cxnLst/>
              <a:rect l="l" t="t" r="r" b="b"/>
              <a:pathLst>
                <a:path w="2089" h="1719" extrusionOk="0">
                  <a:moveTo>
                    <a:pt x="1818" y="796"/>
                  </a:moveTo>
                  <a:lnTo>
                    <a:pt x="1818" y="796"/>
                  </a:lnTo>
                  <a:lnTo>
                    <a:pt x="1846" y="784"/>
                  </a:lnTo>
                  <a:lnTo>
                    <a:pt x="1875" y="770"/>
                  </a:lnTo>
                  <a:lnTo>
                    <a:pt x="1903" y="754"/>
                  </a:lnTo>
                  <a:lnTo>
                    <a:pt x="1927" y="738"/>
                  </a:lnTo>
                  <a:lnTo>
                    <a:pt x="1951" y="718"/>
                  </a:lnTo>
                  <a:lnTo>
                    <a:pt x="1973" y="696"/>
                  </a:lnTo>
                  <a:lnTo>
                    <a:pt x="1995" y="674"/>
                  </a:lnTo>
                  <a:lnTo>
                    <a:pt x="2013" y="648"/>
                  </a:lnTo>
                  <a:lnTo>
                    <a:pt x="2031" y="624"/>
                  </a:lnTo>
                  <a:lnTo>
                    <a:pt x="2045" y="596"/>
                  </a:lnTo>
                  <a:lnTo>
                    <a:pt x="2059" y="568"/>
                  </a:lnTo>
                  <a:lnTo>
                    <a:pt x="2069" y="538"/>
                  </a:lnTo>
                  <a:lnTo>
                    <a:pt x="2077" y="508"/>
                  </a:lnTo>
                  <a:lnTo>
                    <a:pt x="2085" y="476"/>
                  </a:lnTo>
                  <a:lnTo>
                    <a:pt x="2087" y="444"/>
                  </a:lnTo>
                  <a:lnTo>
                    <a:pt x="2089" y="412"/>
                  </a:lnTo>
                  <a:lnTo>
                    <a:pt x="2089" y="412"/>
                  </a:lnTo>
                  <a:lnTo>
                    <a:pt x="2087" y="370"/>
                  </a:lnTo>
                  <a:lnTo>
                    <a:pt x="2081" y="328"/>
                  </a:lnTo>
                  <a:lnTo>
                    <a:pt x="2071" y="290"/>
                  </a:lnTo>
                  <a:lnTo>
                    <a:pt x="2057" y="252"/>
                  </a:lnTo>
                  <a:lnTo>
                    <a:pt x="2039" y="216"/>
                  </a:lnTo>
                  <a:lnTo>
                    <a:pt x="2019" y="182"/>
                  </a:lnTo>
                  <a:lnTo>
                    <a:pt x="1995" y="150"/>
                  </a:lnTo>
                  <a:lnTo>
                    <a:pt x="1969" y="120"/>
                  </a:lnTo>
                  <a:lnTo>
                    <a:pt x="1939" y="94"/>
                  </a:lnTo>
                  <a:lnTo>
                    <a:pt x="1907" y="70"/>
                  </a:lnTo>
                  <a:lnTo>
                    <a:pt x="1873" y="50"/>
                  </a:lnTo>
                  <a:lnTo>
                    <a:pt x="1836" y="32"/>
                  </a:lnTo>
                  <a:lnTo>
                    <a:pt x="1798" y="18"/>
                  </a:lnTo>
                  <a:lnTo>
                    <a:pt x="1760" y="8"/>
                  </a:lnTo>
                  <a:lnTo>
                    <a:pt x="1718" y="2"/>
                  </a:lnTo>
                  <a:lnTo>
                    <a:pt x="1676" y="0"/>
                  </a:lnTo>
                  <a:lnTo>
                    <a:pt x="1676" y="0"/>
                  </a:lnTo>
                  <a:lnTo>
                    <a:pt x="1634" y="2"/>
                  </a:lnTo>
                  <a:lnTo>
                    <a:pt x="1594" y="8"/>
                  </a:lnTo>
                  <a:lnTo>
                    <a:pt x="1554" y="18"/>
                  </a:lnTo>
                  <a:lnTo>
                    <a:pt x="1516" y="32"/>
                  </a:lnTo>
                  <a:lnTo>
                    <a:pt x="1480" y="50"/>
                  </a:lnTo>
                  <a:lnTo>
                    <a:pt x="1446" y="70"/>
                  </a:lnTo>
                  <a:lnTo>
                    <a:pt x="1414" y="94"/>
                  </a:lnTo>
                  <a:lnTo>
                    <a:pt x="1386" y="120"/>
                  </a:lnTo>
                  <a:lnTo>
                    <a:pt x="1358" y="150"/>
                  </a:lnTo>
                  <a:lnTo>
                    <a:pt x="1336" y="182"/>
                  </a:lnTo>
                  <a:lnTo>
                    <a:pt x="1314" y="216"/>
                  </a:lnTo>
                  <a:lnTo>
                    <a:pt x="1298" y="252"/>
                  </a:lnTo>
                  <a:lnTo>
                    <a:pt x="1284" y="290"/>
                  </a:lnTo>
                  <a:lnTo>
                    <a:pt x="1274" y="328"/>
                  </a:lnTo>
                  <a:lnTo>
                    <a:pt x="1266" y="370"/>
                  </a:lnTo>
                  <a:lnTo>
                    <a:pt x="1264" y="412"/>
                  </a:lnTo>
                  <a:lnTo>
                    <a:pt x="1264" y="412"/>
                  </a:lnTo>
                  <a:lnTo>
                    <a:pt x="1266" y="444"/>
                  </a:lnTo>
                  <a:lnTo>
                    <a:pt x="1270" y="476"/>
                  </a:lnTo>
                  <a:lnTo>
                    <a:pt x="1276" y="508"/>
                  </a:lnTo>
                  <a:lnTo>
                    <a:pt x="1284" y="538"/>
                  </a:lnTo>
                  <a:lnTo>
                    <a:pt x="1296" y="568"/>
                  </a:lnTo>
                  <a:lnTo>
                    <a:pt x="1308" y="596"/>
                  </a:lnTo>
                  <a:lnTo>
                    <a:pt x="1324" y="624"/>
                  </a:lnTo>
                  <a:lnTo>
                    <a:pt x="1342" y="648"/>
                  </a:lnTo>
                  <a:lnTo>
                    <a:pt x="1360" y="674"/>
                  </a:lnTo>
                  <a:lnTo>
                    <a:pt x="1380" y="696"/>
                  </a:lnTo>
                  <a:lnTo>
                    <a:pt x="1402" y="718"/>
                  </a:lnTo>
                  <a:lnTo>
                    <a:pt x="1426" y="738"/>
                  </a:lnTo>
                  <a:lnTo>
                    <a:pt x="1452" y="754"/>
                  </a:lnTo>
                  <a:lnTo>
                    <a:pt x="1478" y="770"/>
                  </a:lnTo>
                  <a:lnTo>
                    <a:pt x="1506" y="784"/>
                  </a:lnTo>
                  <a:lnTo>
                    <a:pt x="1536" y="796"/>
                  </a:lnTo>
                  <a:lnTo>
                    <a:pt x="1536" y="1436"/>
                  </a:lnTo>
                  <a:lnTo>
                    <a:pt x="0" y="1436"/>
                  </a:lnTo>
                  <a:lnTo>
                    <a:pt x="0" y="1719"/>
                  </a:lnTo>
                  <a:lnTo>
                    <a:pt x="1818" y="1719"/>
                  </a:lnTo>
                  <a:lnTo>
                    <a:pt x="1818" y="796"/>
                  </a:lnTo>
                  <a:close/>
                  <a:moveTo>
                    <a:pt x="1676" y="282"/>
                  </a:moveTo>
                  <a:lnTo>
                    <a:pt x="1676" y="282"/>
                  </a:lnTo>
                  <a:lnTo>
                    <a:pt x="1690" y="284"/>
                  </a:lnTo>
                  <a:lnTo>
                    <a:pt x="1702" y="286"/>
                  </a:lnTo>
                  <a:lnTo>
                    <a:pt x="1714" y="288"/>
                  </a:lnTo>
                  <a:lnTo>
                    <a:pt x="1726" y="292"/>
                  </a:lnTo>
                  <a:lnTo>
                    <a:pt x="1738" y="298"/>
                  </a:lnTo>
                  <a:lnTo>
                    <a:pt x="1748" y="304"/>
                  </a:lnTo>
                  <a:lnTo>
                    <a:pt x="1768" y="320"/>
                  </a:lnTo>
                  <a:lnTo>
                    <a:pt x="1784" y="340"/>
                  </a:lnTo>
                  <a:lnTo>
                    <a:pt x="1790" y="350"/>
                  </a:lnTo>
                  <a:lnTo>
                    <a:pt x="1796" y="362"/>
                  </a:lnTo>
                  <a:lnTo>
                    <a:pt x="1800" y="374"/>
                  </a:lnTo>
                  <a:lnTo>
                    <a:pt x="1804" y="386"/>
                  </a:lnTo>
                  <a:lnTo>
                    <a:pt x="1806" y="398"/>
                  </a:lnTo>
                  <a:lnTo>
                    <a:pt x="1806" y="412"/>
                  </a:lnTo>
                  <a:lnTo>
                    <a:pt x="1806" y="412"/>
                  </a:lnTo>
                  <a:lnTo>
                    <a:pt x="1806" y="424"/>
                  </a:lnTo>
                  <a:lnTo>
                    <a:pt x="1804" y="438"/>
                  </a:lnTo>
                  <a:lnTo>
                    <a:pt x="1800" y="450"/>
                  </a:lnTo>
                  <a:lnTo>
                    <a:pt x="1796" y="462"/>
                  </a:lnTo>
                  <a:lnTo>
                    <a:pt x="1790" y="474"/>
                  </a:lnTo>
                  <a:lnTo>
                    <a:pt x="1784" y="484"/>
                  </a:lnTo>
                  <a:lnTo>
                    <a:pt x="1768" y="502"/>
                  </a:lnTo>
                  <a:lnTo>
                    <a:pt x="1748" y="518"/>
                  </a:lnTo>
                  <a:lnTo>
                    <a:pt x="1738" y="526"/>
                  </a:lnTo>
                  <a:lnTo>
                    <a:pt x="1726" y="530"/>
                  </a:lnTo>
                  <a:lnTo>
                    <a:pt x="1714" y="534"/>
                  </a:lnTo>
                  <a:lnTo>
                    <a:pt x="1702" y="538"/>
                  </a:lnTo>
                  <a:lnTo>
                    <a:pt x="1690" y="540"/>
                  </a:lnTo>
                  <a:lnTo>
                    <a:pt x="1676" y="540"/>
                  </a:lnTo>
                  <a:lnTo>
                    <a:pt x="1676" y="540"/>
                  </a:lnTo>
                  <a:lnTo>
                    <a:pt x="1664" y="540"/>
                  </a:lnTo>
                  <a:lnTo>
                    <a:pt x="1650" y="538"/>
                  </a:lnTo>
                  <a:lnTo>
                    <a:pt x="1638" y="534"/>
                  </a:lnTo>
                  <a:lnTo>
                    <a:pt x="1626" y="530"/>
                  </a:lnTo>
                  <a:lnTo>
                    <a:pt x="1616" y="526"/>
                  </a:lnTo>
                  <a:lnTo>
                    <a:pt x="1604" y="518"/>
                  </a:lnTo>
                  <a:lnTo>
                    <a:pt x="1586" y="502"/>
                  </a:lnTo>
                  <a:lnTo>
                    <a:pt x="1570" y="484"/>
                  </a:lnTo>
                  <a:lnTo>
                    <a:pt x="1564" y="474"/>
                  </a:lnTo>
                  <a:lnTo>
                    <a:pt x="1558" y="462"/>
                  </a:lnTo>
                  <a:lnTo>
                    <a:pt x="1554" y="450"/>
                  </a:lnTo>
                  <a:lnTo>
                    <a:pt x="1550" y="438"/>
                  </a:lnTo>
                  <a:lnTo>
                    <a:pt x="1548" y="424"/>
                  </a:lnTo>
                  <a:lnTo>
                    <a:pt x="1548" y="412"/>
                  </a:lnTo>
                  <a:lnTo>
                    <a:pt x="1548" y="412"/>
                  </a:lnTo>
                  <a:lnTo>
                    <a:pt x="1548" y="398"/>
                  </a:lnTo>
                  <a:lnTo>
                    <a:pt x="1550" y="386"/>
                  </a:lnTo>
                  <a:lnTo>
                    <a:pt x="1554" y="374"/>
                  </a:lnTo>
                  <a:lnTo>
                    <a:pt x="1558" y="362"/>
                  </a:lnTo>
                  <a:lnTo>
                    <a:pt x="1564" y="350"/>
                  </a:lnTo>
                  <a:lnTo>
                    <a:pt x="1570" y="340"/>
                  </a:lnTo>
                  <a:lnTo>
                    <a:pt x="1586" y="320"/>
                  </a:lnTo>
                  <a:lnTo>
                    <a:pt x="1604" y="304"/>
                  </a:lnTo>
                  <a:lnTo>
                    <a:pt x="1616" y="298"/>
                  </a:lnTo>
                  <a:lnTo>
                    <a:pt x="1626" y="292"/>
                  </a:lnTo>
                  <a:lnTo>
                    <a:pt x="1638" y="288"/>
                  </a:lnTo>
                  <a:lnTo>
                    <a:pt x="1650" y="286"/>
                  </a:lnTo>
                  <a:lnTo>
                    <a:pt x="1664" y="284"/>
                  </a:lnTo>
                  <a:lnTo>
                    <a:pt x="1676" y="282"/>
                  </a:lnTo>
                  <a:lnTo>
                    <a:pt x="1676" y="282"/>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2" name="Google Shape;3897;p94">
              <a:extLst>
                <a:ext uri="{FF2B5EF4-FFF2-40B4-BE49-F238E27FC236}">
                  <a16:creationId xmlns:a16="http://schemas.microsoft.com/office/drawing/2014/main" id="{297395E5-EAD9-4DC8-97CC-3A75CB6894DF}"/>
                </a:ext>
              </a:extLst>
            </p:cNvPr>
            <p:cNvSpPr/>
            <p:nvPr/>
          </p:nvSpPr>
          <p:spPr>
            <a:xfrm>
              <a:off x="928049" y="2570863"/>
              <a:ext cx="311054" cy="164382"/>
            </a:xfrm>
            <a:custGeom>
              <a:avLst/>
              <a:gdLst/>
              <a:ahLst/>
              <a:cxnLst/>
              <a:rect l="l" t="t" r="r" b="b"/>
              <a:pathLst>
                <a:path w="2863" h="1513" extrusionOk="0">
                  <a:moveTo>
                    <a:pt x="2451" y="0"/>
                  </a:moveTo>
                  <a:lnTo>
                    <a:pt x="2451" y="0"/>
                  </a:lnTo>
                  <a:lnTo>
                    <a:pt x="2409" y="2"/>
                  </a:lnTo>
                  <a:lnTo>
                    <a:pt x="2369" y="8"/>
                  </a:lnTo>
                  <a:lnTo>
                    <a:pt x="2329" y="18"/>
                  </a:lnTo>
                  <a:lnTo>
                    <a:pt x="2291" y="32"/>
                  </a:lnTo>
                  <a:lnTo>
                    <a:pt x="2255" y="50"/>
                  </a:lnTo>
                  <a:lnTo>
                    <a:pt x="2221" y="70"/>
                  </a:lnTo>
                  <a:lnTo>
                    <a:pt x="2191" y="94"/>
                  </a:lnTo>
                  <a:lnTo>
                    <a:pt x="2161" y="120"/>
                  </a:lnTo>
                  <a:lnTo>
                    <a:pt x="2135" y="150"/>
                  </a:lnTo>
                  <a:lnTo>
                    <a:pt x="2111" y="182"/>
                  </a:lnTo>
                  <a:lnTo>
                    <a:pt x="2091" y="216"/>
                  </a:lnTo>
                  <a:lnTo>
                    <a:pt x="2073" y="252"/>
                  </a:lnTo>
                  <a:lnTo>
                    <a:pt x="2059" y="290"/>
                  </a:lnTo>
                  <a:lnTo>
                    <a:pt x="2049" y="328"/>
                  </a:lnTo>
                  <a:lnTo>
                    <a:pt x="2043" y="370"/>
                  </a:lnTo>
                  <a:lnTo>
                    <a:pt x="2041" y="412"/>
                  </a:lnTo>
                  <a:lnTo>
                    <a:pt x="2041" y="412"/>
                  </a:lnTo>
                  <a:lnTo>
                    <a:pt x="2041" y="442"/>
                  </a:lnTo>
                  <a:lnTo>
                    <a:pt x="2045" y="474"/>
                  </a:lnTo>
                  <a:lnTo>
                    <a:pt x="2051" y="504"/>
                  </a:lnTo>
                  <a:lnTo>
                    <a:pt x="2059" y="532"/>
                  </a:lnTo>
                  <a:lnTo>
                    <a:pt x="2069" y="560"/>
                  </a:lnTo>
                  <a:lnTo>
                    <a:pt x="2081" y="589"/>
                  </a:lnTo>
                  <a:lnTo>
                    <a:pt x="2093" y="615"/>
                  </a:lnTo>
                  <a:lnTo>
                    <a:pt x="2109" y="641"/>
                  </a:lnTo>
                  <a:lnTo>
                    <a:pt x="2127" y="663"/>
                  </a:lnTo>
                  <a:lnTo>
                    <a:pt x="2145" y="687"/>
                  </a:lnTo>
                  <a:lnTo>
                    <a:pt x="2165" y="707"/>
                  </a:lnTo>
                  <a:lnTo>
                    <a:pt x="2187" y="727"/>
                  </a:lnTo>
                  <a:lnTo>
                    <a:pt x="2211" y="745"/>
                  </a:lnTo>
                  <a:lnTo>
                    <a:pt x="2235" y="761"/>
                  </a:lnTo>
                  <a:lnTo>
                    <a:pt x="2261" y="777"/>
                  </a:lnTo>
                  <a:lnTo>
                    <a:pt x="2287" y="789"/>
                  </a:lnTo>
                  <a:lnTo>
                    <a:pt x="2287" y="1229"/>
                  </a:lnTo>
                  <a:lnTo>
                    <a:pt x="0" y="1229"/>
                  </a:lnTo>
                  <a:lnTo>
                    <a:pt x="0" y="1513"/>
                  </a:lnTo>
                  <a:lnTo>
                    <a:pt x="2569" y="1513"/>
                  </a:lnTo>
                  <a:lnTo>
                    <a:pt x="2569" y="805"/>
                  </a:lnTo>
                  <a:lnTo>
                    <a:pt x="2569" y="805"/>
                  </a:lnTo>
                  <a:lnTo>
                    <a:pt x="2601" y="795"/>
                  </a:lnTo>
                  <a:lnTo>
                    <a:pt x="2631" y="781"/>
                  </a:lnTo>
                  <a:lnTo>
                    <a:pt x="2659" y="767"/>
                  </a:lnTo>
                  <a:lnTo>
                    <a:pt x="2687" y="749"/>
                  </a:lnTo>
                  <a:lnTo>
                    <a:pt x="2713" y="729"/>
                  </a:lnTo>
                  <a:lnTo>
                    <a:pt x="2737" y="707"/>
                  </a:lnTo>
                  <a:lnTo>
                    <a:pt x="2759" y="685"/>
                  </a:lnTo>
                  <a:lnTo>
                    <a:pt x="2781" y="659"/>
                  </a:lnTo>
                  <a:lnTo>
                    <a:pt x="2799" y="633"/>
                  </a:lnTo>
                  <a:lnTo>
                    <a:pt x="2815" y="605"/>
                  </a:lnTo>
                  <a:lnTo>
                    <a:pt x="2829" y="574"/>
                  </a:lnTo>
                  <a:lnTo>
                    <a:pt x="2841" y="544"/>
                  </a:lnTo>
                  <a:lnTo>
                    <a:pt x="2851" y="512"/>
                  </a:lnTo>
                  <a:lnTo>
                    <a:pt x="2859" y="480"/>
                  </a:lnTo>
                  <a:lnTo>
                    <a:pt x="2863" y="446"/>
                  </a:lnTo>
                  <a:lnTo>
                    <a:pt x="2863" y="412"/>
                  </a:lnTo>
                  <a:lnTo>
                    <a:pt x="2863" y="412"/>
                  </a:lnTo>
                  <a:lnTo>
                    <a:pt x="2861" y="370"/>
                  </a:lnTo>
                  <a:lnTo>
                    <a:pt x="2855" y="328"/>
                  </a:lnTo>
                  <a:lnTo>
                    <a:pt x="2845" y="290"/>
                  </a:lnTo>
                  <a:lnTo>
                    <a:pt x="2831" y="252"/>
                  </a:lnTo>
                  <a:lnTo>
                    <a:pt x="2813" y="216"/>
                  </a:lnTo>
                  <a:lnTo>
                    <a:pt x="2793" y="182"/>
                  </a:lnTo>
                  <a:lnTo>
                    <a:pt x="2769" y="150"/>
                  </a:lnTo>
                  <a:lnTo>
                    <a:pt x="2743" y="120"/>
                  </a:lnTo>
                  <a:lnTo>
                    <a:pt x="2713" y="94"/>
                  </a:lnTo>
                  <a:lnTo>
                    <a:pt x="2683" y="70"/>
                  </a:lnTo>
                  <a:lnTo>
                    <a:pt x="2649" y="50"/>
                  </a:lnTo>
                  <a:lnTo>
                    <a:pt x="2613" y="32"/>
                  </a:lnTo>
                  <a:lnTo>
                    <a:pt x="2575" y="18"/>
                  </a:lnTo>
                  <a:lnTo>
                    <a:pt x="2535" y="8"/>
                  </a:lnTo>
                  <a:lnTo>
                    <a:pt x="2495" y="2"/>
                  </a:lnTo>
                  <a:lnTo>
                    <a:pt x="2451" y="0"/>
                  </a:lnTo>
                  <a:lnTo>
                    <a:pt x="2451" y="0"/>
                  </a:lnTo>
                  <a:close/>
                  <a:moveTo>
                    <a:pt x="2451" y="540"/>
                  </a:moveTo>
                  <a:lnTo>
                    <a:pt x="2451" y="540"/>
                  </a:lnTo>
                  <a:lnTo>
                    <a:pt x="2439" y="540"/>
                  </a:lnTo>
                  <a:lnTo>
                    <a:pt x="2425" y="538"/>
                  </a:lnTo>
                  <a:lnTo>
                    <a:pt x="2413" y="536"/>
                  </a:lnTo>
                  <a:lnTo>
                    <a:pt x="2401" y="530"/>
                  </a:lnTo>
                  <a:lnTo>
                    <a:pt x="2391" y="526"/>
                  </a:lnTo>
                  <a:lnTo>
                    <a:pt x="2379" y="518"/>
                  </a:lnTo>
                  <a:lnTo>
                    <a:pt x="2361" y="504"/>
                  </a:lnTo>
                  <a:lnTo>
                    <a:pt x="2345" y="484"/>
                  </a:lnTo>
                  <a:lnTo>
                    <a:pt x="2339" y="474"/>
                  </a:lnTo>
                  <a:lnTo>
                    <a:pt x="2333" y="462"/>
                  </a:lnTo>
                  <a:lnTo>
                    <a:pt x="2329" y="450"/>
                  </a:lnTo>
                  <a:lnTo>
                    <a:pt x="2325" y="438"/>
                  </a:lnTo>
                  <a:lnTo>
                    <a:pt x="2323" y="424"/>
                  </a:lnTo>
                  <a:lnTo>
                    <a:pt x="2323" y="412"/>
                  </a:lnTo>
                  <a:lnTo>
                    <a:pt x="2323" y="412"/>
                  </a:lnTo>
                  <a:lnTo>
                    <a:pt x="2323" y="398"/>
                  </a:lnTo>
                  <a:lnTo>
                    <a:pt x="2325" y="386"/>
                  </a:lnTo>
                  <a:lnTo>
                    <a:pt x="2329" y="374"/>
                  </a:lnTo>
                  <a:lnTo>
                    <a:pt x="2333" y="362"/>
                  </a:lnTo>
                  <a:lnTo>
                    <a:pt x="2339" y="350"/>
                  </a:lnTo>
                  <a:lnTo>
                    <a:pt x="2345" y="340"/>
                  </a:lnTo>
                  <a:lnTo>
                    <a:pt x="2361" y="320"/>
                  </a:lnTo>
                  <a:lnTo>
                    <a:pt x="2379" y="304"/>
                  </a:lnTo>
                  <a:lnTo>
                    <a:pt x="2391" y="298"/>
                  </a:lnTo>
                  <a:lnTo>
                    <a:pt x="2401" y="292"/>
                  </a:lnTo>
                  <a:lnTo>
                    <a:pt x="2413" y="288"/>
                  </a:lnTo>
                  <a:lnTo>
                    <a:pt x="2425" y="286"/>
                  </a:lnTo>
                  <a:lnTo>
                    <a:pt x="2439" y="284"/>
                  </a:lnTo>
                  <a:lnTo>
                    <a:pt x="2451" y="282"/>
                  </a:lnTo>
                  <a:lnTo>
                    <a:pt x="2451" y="282"/>
                  </a:lnTo>
                  <a:lnTo>
                    <a:pt x="2465" y="284"/>
                  </a:lnTo>
                  <a:lnTo>
                    <a:pt x="2477" y="286"/>
                  </a:lnTo>
                  <a:lnTo>
                    <a:pt x="2491" y="288"/>
                  </a:lnTo>
                  <a:lnTo>
                    <a:pt x="2503" y="292"/>
                  </a:lnTo>
                  <a:lnTo>
                    <a:pt x="2513" y="298"/>
                  </a:lnTo>
                  <a:lnTo>
                    <a:pt x="2525" y="304"/>
                  </a:lnTo>
                  <a:lnTo>
                    <a:pt x="2543" y="320"/>
                  </a:lnTo>
                  <a:lnTo>
                    <a:pt x="2559" y="340"/>
                  </a:lnTo>
                  <a:lnTo>
                    <a:pt x="2565" y="350"/>
                  </a:lnTo>
                  <a:lnTo>
                    <a:pt x="2571" y="362"/>
                  </a:lnTo>
                  <a:lnTo>
                    <a:pt x="2575" y="374"/>
                  </a:lnTo>
                  <a:lnTo>
                    <a:pt x="2579" y="386"/>
                  </a:lnTo>
                  <a:lnTo>
                    <a:pt x="2581" y="398"/>
                  </a:lnTo>
                  <a:lnTo>
                    <a:pt x="2581" y="412"/>
                  </a:lnTo>
                  <a:lnTo>
                    <a:pt x="2581" y="412"/>
                  </a:lnTo>
                  <a:lnTo>
                    <a:pt x="2581" y="424"/>
                  </a:lnTo>
                  <a:lnTo>
                    <a:pt x="2579" y="438"/>
                  </a:lnTo>
                  <a:lnTo>
                    <a:pt x="2575" y="450"/>
                  </a:lnTo>
                  <a:lnTo>
                    <a:pt x="2571" y="462"/>
                  </a:lnTo>
                  <a:lnTo>
                    <a:pt x="2565" y="474"/>
                  </a:lnTo>
                  <a:lnTo>
                    <a:pt x="2559" y="484"/>
                  </a:lnTo>
                  <a:lnTo>
                    <a:pt x="2543" y="504"/>
                  </a:lnTo>
                  <a:lnTo>
                    <a:pt x="2525" y="518"/>
                  </a:lnTo>
                  <a:lnTo>
                    <a:pt x="2513" y="526"/>
                  </a:lnTo>
                  <a:lnTo>
                    <a:pt x="2503" y="530"/>
                  </a:lnTo>
                  <a:lnTo>
                    <a:pt x="2491" y="536"/>
                  </a:lnTo>
                  <a:lnTo>
                    <a:pt x="2477" y="538"/>
                  </a:lnTo>
                  <a:lnTo>
                    <a:pt x="2465" y="540"/>
                  </a:lnTo>
                  <a:lnTo>
                    <a:pt x="2451" y="540"/>
                  </a:lnTo>
                  <a:lnTo>
                    <a:pt x="2451" y="540"/>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72" name="Google Shape;3899;p94">
            <a:extLst>
              <a:ext uri="{FF2B5EF4-FFF2-40B4-BE49-F238E27FC236}">
                <a16:creationId xmlns:a16="http://schemas.microsoft.com/office/drawing/2014/main" id="{77538BEF-5E06-4F85-98E5-55501257069E}"/>
              </a:ext>
            </a:extLst>
          </p:cNvPr>
          <p:cNvSpPr/>
          <p:nvPr/>
        </p:nvSpPr>
        <p:spPr>
          <a:xfrm>
            <a:off x="2720317" y="1702353"/>
            <a:ext cx="7314943"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Качество планов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было </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переменным</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 и не всегда было </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реалистичным</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 из-за </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отсутствия реализации</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 (нет плана реализации/операционного плана)</a:t>
            </a:r>
            <a:endParaRPr kumimoji="0" lang="en-US" b="0" i="0" u="none" strike="noStrike" kern="1200" cap="none" spc="0" normalizeH="0" baseline="0" noProof="0" dirty="0">
              <a:ln>
                <a:noFill/>
              </a:ln>
              <a:solidFill>
                <a:srgbClr val="000000"/>
              </a:solidFill>
              <a:effectLst/>
              <a:uLnTx/>
              <a:uFillTx/>
              <a:latin typeface="Calibri"/>
              <a:ea typeface="Arial"/>
              <a:cs typeface="Arial"/>
              <a:sym typeface="Arial"/>
            </a:endParaRPr>
          </a:p>
        </p:txBody>
      </p:sp>
      <p:sp>
        <p:nvSpPr>
          <p:cNvPr id="73" name="Google Shape;3900;p94">
            <a:extLst>
              <a:ext uri="{FF2B5EF4-FFF2-40B4-BE49-F238E27FC236}">
                <a16:creationId xmlns:a16="http://schemas.microsoft.com/office/drawing/2014/main" id="{74725E63-D372-4678-8A51-4D5C893EEB51}"/>
              </a:ext>
            </a:extLst>
          </p:cNvPr>
          <p:cNvSpPr/>
          <p:nvPr/>
        </p:nvSpPr>
        <p:spPr>
          <a:xfrm>
            <a:off x="1992316" y="1740367"/>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74" name="Google Shape;3901;p94">
            <a:extLst>
              <a:ext uri="{FF2B5EF4-FFF2-40B4-BE49-F238E27FC236}">
                <a16:creationId xmlns:a16="http://schemas.microsoft.com/office/drawing/2014/main" id="{CED87A68-FDDA-4726-A72A-7393566D8907}"/>
              </a:ext>
            </a:extLst>
          </p:cNvPr>
          <p:cNvSpPr/>
          <p:nvPr/>
        </p:nvSpPr>
        <p:spPr>
          <a:xfrm>
            <a:off x="2148269" y="1810479"/>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75" name="Google Shape;3902;p94">
            <a:extLst>
              <a:ext uri="{FF2B5EF4-FFF2-40B4-BE49-F238E27FC236}">
                <a16:creationId xmlns:a16="http://schemas.microsoft.com/office/drawing/2014/main" id="{05D843F5-E7B4-4D29-A5E5-EC02AD8DDE04}"/>
              </a:ext>
            </a:extLst>
          </p:cNvPr>
          <p:cNvSpPr txBox="1"/>
          <p:nvPr/>
        </p:nvSpPr>
        <p:spPr>
          <a:xfrm>
            <a:off x="2000603" y="1933443"/>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1</a:t>
            </a:r>
            <a:endParaRPr kumimoji="0" sz="1600" b="0" i="0" u="none" strike="noStrike" kern="1200" cap="none" spc="0" normalizeH="0" baseline="0" noProof="0">
              <a:ln>
                <a:noFill/>
              </a:ln>
              <a:solidFill>
                <a:srgbClr val="000000"/>
              </a:solidFill>
              <a:effectLst/>
              <a:uLnTx/>
              <a:uFillTx/>
              <a:latin typeface="Calibri"/>
              <a:ea typeface="+mn-ea"/>
              <a:cs typeface="+mn-cs"/>
            </a:endParaRPr>
          </a:p>
        </p:txBody>
      </p:sp>
      <p:grpSp>
        <p:nvGrpSpPr>
          <p:cNvPr id="76" name="Google Shape;3903;p94">
            <a:extLst>
              <a:ext uri="{FF2B5EF4-FFF2-40B4-BE49-F238E27FC236}">
                <a16:creationId xmlns:a16="http://schemas.microsoft.com/office/drawing/2014/main" id="{9A216894-F07D-44F6-BD16-FE547D0909DA}"/>
              </a:ext>
            </a:extLst>
          </p:cNvPr>
          <p:cNvGrpSpPr/>
          <p:nvPr/>
        </p:nvGrpSpPr>
        <p:grpSpPr>
          <a:xfrm>
            <a:off x="10214532" y="1862483"/>
            <a:ext cx="466404" cy="466334"/>
            <a:chOff x="4325112" y="2272755"/>
            <a:chExt cx="720108" cy="720000"/>
          </a:xfrm>
          <a:solidFill>
            <a:schemeClr val="accent4">
              <a:lumMod val="50000"/>
            </a:schemeClr>
          </a:solidFill>
        </p:grpSpPr>
        <p:sp>
          <p:nvSpPr>
            <p:cNvPr id="105" name="Google Shape;3904;p94">
              <a:extLst>
                <a:ext uri="{FF2B5EF4-FFF2-40B4-BE49-F238E27FC236}">
                  <a16:creationId xmlns:a16="http://schemas.microsoft.com/office/drawing/2014/main" id="{8F269FFF-547C-4BC2-A4A2-2413C7004356}"/>
                </a:ext>
              </a:extLst>
            </p:cNvPr>
            <p:cNvSpPr/>
            <p:nvPr/>
          </p:nvSpPr>
          <p:spPr>
            <a:xfrm>
              <a:off x="4325112" y="2272755"/>
              <a:ext cx="720108" cy="720000"/>
            </a:xfrm>
            <a:custGeom>
              <a:avLst/>
              <a:gdLst/>
              <a:ahLst/>
              <a:cxnLst/>
              <a:rect l="l" t="t" r="r" b="b"/>
              <a:pathLst>
                <a:path w="6696" h="6695" extrusionOk="0">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6" name="Google Shape;3905;p94">
              <a:extLst>
                <a:ext uri="{FF2B5EF4-FFF2-40B4-BE49-F238E27FC236}">
                  <a16:creationId xmlns:a16="http://schemas.microsoft.com/office/drawing/2014/main" id="{EB1911F1-F43D-4746-ABB7-11654738DAD2}"/>
                </a:ext>
              </a:extLst>
            </p:cNvPr>
            <p:cNvSpPr/>
            <p:nvPr/>
          </p:nvSpPr>
          <p:spPr>
            <a:xfrm>
              <a:off x="4402113" y="2345454"/>
              <a:ext cx="570408" cy="570300"/>
            </a:xfrm>
            <a:custGeom>
              <a:avLst/>
              <a:gdLst/>
              <a:ahLst/>
              <a:cxnLst/>
              <a:rect l="l" t="t" r="r" b="b"/>
              <a:pathLst>
                <a:path w="5304" h="5303" extrusionOk="0">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7" name="Google Shape;3906;p94">
              <a:extLst>
                <a:ext uri="{FF2B5EF4-FFF2-40B4-BE49-F238E27FC236}">
                  <a16:creationId xmlns:a16="http://schemas.microsoft.com/office/drawing/2014/main" id="{8699BF2B-4776-492B-8B83-27CDD436051F}"/>
                </a:ext>
              </a:extLst>
            </p:cNvPr>
            <p:cNvSpPr/>
            <p:nvPr/>
          </p:nvSpPr>
          <p:spPr>
            <a:xfrm>
              <a:off x="4671185" y="2414927"/>
              <a:ext cx="154432" cy="208848"/>
            </a:xfrm>
            <a:custGeom>
              <a:avLst/>
              <a:gdLst/>
              <a:ahLst/>
              <a:cxnLst/>
              <a:rect l="l" t="t" r="r" b="b"/>
              <a:pathLst>
                <a:path w="1436" h="1942" extrusionOk="0">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79" name="Google Shape;3909;p94">
            <a:extLst>
              <a:ext uri="{FF2B5EF4-FFF2-40B4-BE49-F238E27FC236}">
                <a16:creationId xmlns:a16="http://schemas.microsoft.com/office/drawing/2014/main" id="{F07F64DA-C7FF-4713-AA3A-005C99067771}"/>
              </a:ext>
            </a:extLst>
          </p:cNvPr>
          <p:cNvSpPr/>
          <p:nvPr/>
        </p:nvSpPr>
        <p:spPr>
          <a:xfrm>
            <a:off x="1992316" y="3334354"/>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mn-ea"/>
              <a:cs typeface="+mn-cs"/>
              <a:sym typeface="Georgia"/>
            </a:endParaRPr>
          </a:p>
        </p:txBody>
      </p:sp>
      <p:sp>
        <p:nvSpPr>
          <p:cNvPr id="80" name="Google Shape;3910;p94">
            <a:extLst>
              <a:ext uri="{FF2B5EF4-FFF2-40B4-BE49-F238E27FC236}">
                <a16:creationId xmlns:a16="http://schemas.microsoft.com/office/drawing/2014/main" id="{F8A10ACF-0F8B-4037-BAA6-A614929B2A83}"/>
              </a:ext>
            </a:extLst>
          </p:cNvPr>
          <p:cNvSpPr/>
          <p:nvPr/>
        </p:nvSpPr>
        <p:spPr>
          <a:xfrm>
            <a:off x="2148269" y="3404466"/>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81" name="Google Shape;3911;p94">
            <a:extLst>
              <a:ext uri="{FF2B5EF4-FFF2-40B4-BE49-F238E27FC236}">
                <a16:creationId xmlns:a16="http://schemas.microsoft.com/office/drawing/2014/main" id="{FF65178D-464F-47F9-9A59-A69E769A16CA}"/>
              </a:ext>
            </a:extLst>
          </p:cNvPr>
          <p:cNvSpPr txBox="1"/>
          <p:nvPr/>
        </p:nvSpPr>
        <p:spPr>
          <a:xfrm>
            <a:off x="2000603" y="3527430"/>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3</a:t>
            </a:r>
            <a:endParaRPr kumimoji="0" sz="2000" b="0" i="0" u="none" strike="noStrike" kern="1200" cap="none" spc="0" normalizeH="0" baseline="0" noProof="0">
              <a:ln>
                <a:noFill/>
              </a:ln>
              <a:solidFill>
                <a:srgbClr val="000000"/>
              </a:solidFill>
              <a:effectLst/>
              <a:uLnTx/>
              <a:uFillTx/>
              <a:latin typeface="Calibri"/>
              <a:ea typeface="+mn-ea"/>
              <a:cs typeface="+mn-cs"/>
            </a:endParaRPr>
          </a:p>
        </p:txBody>
      </p:sp>
      <p:grpSp>
        <p:nvGrpSpPr>
          <p:cNvPr id="82" name="Google Shape;3912;p94">
            <a:extLst>
              <a:ext uri="{FF2B5EF4-FFF2-40B4-BE49-F238E27FC236}">
                <a16:creationId xmlns:a16="http://schemas.microsoft.com/office/drawing/2014/main" id="{A43243E0-D3EB-41D3-810F-456BDCA21C10}"/>
              </a:ext>
            </a:extLst>
          </p:cNvPr>
          <p:cNvGrpSpPr/>
          <p:nvPr/>
        </p:nvGrpSpPr>
        <p:grpSpPr>
          <a:xfrm>
            <a:off x="10214532" y="3357123"/>
            <a:ext cx="466404" cy="466334"/>
            <a:chOff x="986" y="0"/>
            <a:chExt cx="6673" cy="6672"/>
          </a:xfrm>
          <a:solidFill>
            <a:schemeClr val="accent4">
              <a:lumMod val="50000"/>
            </a:schemeClr>
          </a:solidFill>
        </p:grpSpPr>
        <p:sp>
          <p:nvSpPr>
            <p:cNvPr id="103" name="Google Shape;3913;p94">
              <a:extLst>
                <a:ext uri="{FF2B5EF4-FFF2-40B4-BE49-F238E27FC236}">
                  <a16:creationId xmlns:a16="http://schemas.microsoft.com/office/drawing/2014/main" id="{1BD2F032-6FBB-4562-91F7-0EF68B10B0E9}"/>
                </a:ext>
              </a:extLst>
            </p:cNvPr>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6"/>
                  </a:moveTo>
                  <a:lnTo>
                    <a:pt x="284" y="6386"/>
                  </a:lnTo>
                  <a:lnTo>
                    <a:pt x="284" y="286"/>
                  </a:lnTo>
                  <a:lnTo>
                    <a:pt x="6389" y="286"/>
                  </a:lnTo>
                  <a:lnTo>
                    <a:pt x="6389" y="6386"/>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4" name="Google Shape;3914;p94">
              <a:extLst>
                <a:ext uri="{FF2B5EF4-FFF2-40B4-BE49-F238E27FC236}">
                  <a16:creationId xmlns:a16="http://schemas.microsoft.com/office/drawing/2014/main" id="{8DBFE704-50A7-400B-A977-06F937616958}"/>
                </a:ext>
              </a:extLst>
            </p:cNvPr>
            <p:cNvSpPr/>
            <p:nvPr/>
          </p:nvSpPr>
          <p:spPr>
            <a:xfrm>
              <a:off x="1700" y="674"/>
              <a:ext cx="5287" cy="5284"/>
            </a:xfrm>
            <a:custGeom>
              <a:avLst/>
              <a:gdLst/>
              <a:ahLst/>
              <a:cxnLst/>
              <a:rect l="l" t="t" r="r" b="b"/>
              <a:pathLst>
                <a:path w="5287" h="5284" extrusionOk="0">
                  <a:moveTo>
                    <a:pt x="202" y="5284"/>
                  </a:moveTo>
                  <a:lnTo>
                    <a:pt x="1846" y="3641"/>
                  </a:lnTo>
                  <a:lnTo>
                    <a:pt x="1846" y="3641"/>
                  </a:lnTo>
                  <a:lnTo>
                    <a:pt x="1918" y="3701"/>
                  </a:lnTo>
                  <a:lnTo>
                    <a:pt x="1992" y="3757"/>
                  </a:lnTo>
                  <a:lnTo>
                    <a:pt x="2068" y="3811"/>
                  </a:lnTo>
                  <a:lnTo>
                    <a:pt x="2148" y="3859"/>
                  </a:lnTo>
                  <a:lnTo>
                    <a:pt x="2228" y="3905"/>
                  </a:lnTo>
                  <a:lnTo>
                    <a:pt x="2310" y="3947"/>
                  </a:lnTo>
                  <a:lnTo>
                    <a:pt x="2394" y="3985"/>
                  </a:lnTo>
                  <a:lnTo>
                    <a:pt x="2480" y="4019"/>
                  </a:lnTo>
                  <a:lnTo>
                    <a:pt x="2566" y="4051"/>
                  </a:lnTo>
                  <a:lnTo>
                    <a:pt x="2657" y="4077"/>
                  </a:lnTo>
                  <a:lnTo>
                    <a:pt x="2745" y="4099"/>
                  </a:lnTo>
                  <a:lnTo>
                    <a:pt x="2837" y="4119"/>
                  </a:lnTo>
                  <a:lnTo>
                    <a:pt x="2929" y="4133"/>
                  </a:lnTo>
                  <a:lnTo>
                    <a:pt x="3021" y="4143"/>
                  </a:lnTo>
                  <a:lnTo>
                    <a:pt x="3115" y="4149"/>
                  </a:lnTo>
                  <a:lnTo>
                    <a:pt x="3211" y="4151"/>
                  </a:lnTo>
                  <a:lnTo>
                    <a:pt x="3211" y="4151"/>
                  </a:lnTo>
                  <a:lnTo>
                    <a:pt x="3263" y="4151"/>
                  </a:lnTo>
                  <a:lnTo>
                    <a:pt x="3315" y="4149"/>
                  </a:lnTo>
                  <a:lnTo>
                    <a:pt x="3365" y="4145"/>
                  </a:lnTo>
                  <a:lnTo>
                    <a:pt x="3417" y="4141"/>
                  </a:lnTo>
                  <a:lnTo>
                    <a:pt x="3467" y="4135"/>
                  </a:lnTo>
                  <a:lnTo>
                    <a:pt x="3519" y="4129"/>
                  </a:lnTo>
                  <a:lnTo>
                    <a:pt x="3569" y="4121"/>
                  </a:lnTo>
                  <a:lnTo>
                    <a:pt x="3619" y="4111"/>
                  </a:lnTo>
                  <a:lnTo>
                    <a:pt x="3669" y="4101"/>
                  </a:lnTo>
                  <a:lnTo>
                    <a:pt x="3717" y="4089"/>
                  </a:lnTo>
                  <a:lnTo>
                    <a:pt x="3767" y="4077"/>
                  </a:lnTo>
                  <a:lnTo>
                    <a:pt x="3815" y="4063"/>
                  </a:lnTo>
                  <a:lnTo>
                    <a:pt x="3863" y="4047"/>
                  </a:lnTo>
                  <a:lnTo>
                    <a:pt x="3911" y="4031"/>
                  </a:lnTo>
                  <a:lnTo>
                    <a:pt x="3959" y="4013"/>
                  </a:lnTo>
                  <a:lnTo>
                    <a:pt x="4005" y="3995"/>
                  </a:lnTo>
                  <a:lnTo>
                    <a:pt x="4053" y="3975"/>
                  </a:lnTo>
                  <a:lnTo>
                    <a:pt x="4099" y="3953"/>
                  </a:lnTo>
                  <a:lnTo>
                    <a:pt x="4143" y="3931"/>
                  </a:lnTo>
                  <a:lnTo>
                    <a:pt x="4189" y="3909"/>
                  </a:lnTo>
                  <a:lnTo>
                    <a:pt x="4233" y="3883"/>
                  </a:lnTo>
                  <a:lnTo>
                    <a:pt x="4277" y="3859"/>
                  </a:lnTo>
                  <a:lnTo>
                    <a:pt x="4319" y="3831"/>
                  </a:lnTo>
                  <a:lnTo>
                    <a:pt x="4363" y="3803"/>
                  </a:lnTo>
                  <a:lnTo>
                    <a:pt x="4405" y="3775"/>
                  </a:lnTo>
                  <a:lnTo>
                    <a:pt x="4445" y="3745"/>
                  </a:lnTo>
                  <a:lnTo>
                    <a:pt x="4487" y="3715"/>
                  </a:lnTo>
                  <a:lnTo>
                    <a:pt x="4527" y="3683"/>
                  </a:lnTo>
                  <a:lnTo>
                    <a:pt x="4565" y="3649"/>
                  </a:lnTo>
                  <a:lnTo>
                    <a:pt x="4603" y="3615"/>
                  </a:lnTo>
                  <a:lnTo>
                    <a:pt x="4641" y="3579"/>
                  </a:lnTo>
                  <a:lnTo>
                    <a:pt x="4679" y="3543"/>
                  </a:lnTo>
                  <a:lnTo>
                    <a:pt x="4679" y="3543"/>
                  </a:lnTo>
                  <a:lnTo>
                    <a:pt x="4717" y="3505"/>
                  </a:lnTo>
                  <a:lnTo>
                    <a:pt x="4753" y="3465"/>
                  </a:lnTo>
                  <a:lnTo>
                    <a:pt x="4787" y="3427"/>
                  </a:lnTo>
                  <a:lnTo>
                    <a:pt x="4821" y="3385"/>
                  </a:lnTo>
                  <a:lnTo>
                    <a:pt x="4853" y="3345"/>
                  </a:lnTo>
                  <a:lnTo>
                    <a:pt x="4885" y="3303"/>
                  </a:lnTo>
                  <a:lnTo>
                    <a:pt x="4915" y="3261"/>
                  </a:lnTo>
                  <a:lnTo>
                    <a:pt x="4945" y="3217"/>
                  </a:lnTo>
                  <a:lnTo>
                    <a:pt x="4973" y="3175"/>
                  </a:lnTo>
                  <a:lnTo>
                    <a:pt x="4999" y="3131"/>
                  </a:lnTo>
                  <a:lnTo>
                    <a:pt x="5025" y="3085"/>
                  </a:lnTo>
                  <a:lnTo>
                    <a:pt x="5049" y="3041"/>
                  </a:lnTo>
                  <a:lnTo>
                    <a:pt x="5073" y="2995"/>
                  </a:lnTo>
                  <a:lnTo>
                    <a:pt x="5095" y="2949"/>
                  </a:lnTo>
                  <a:lnTo>
                    <a:pt x="5115" y="2903"/>
                  </a:lnTo>
                  <a:lnTo>
                    <a:pt x="5135" y="2857"/>
                  </a:lnTo>
                  <a:lnTo>
                    <a:pt x="5153" y="2809"/>
                  </a:lnTo>
                  <a:lnTo>
                    <a:pt x="5169" y="2763"/>
                  </a:lnTo>
                  <a:lnTo>
                    <a:pt x="5185" y="2715"/>
                  </a:lnTo>
                  <a:lnTo>
                    <a:pt x="5201" y="2667"/>
                  </a:lnTo>
                  <a:lnTo>
                    <a:pt x="5215" y="2619"/>
                  </a:lnTo>
                  <a:lnTo>
                    <a:pt x="5227" y="2569"/>
                  </a:lnTo>
                  <a:lnTo>
                    <a:pt x="5239" y="2521"/>
                  </a:lnTo>
                  <a:lnTo>
                    <a:pt x="5249" y="2471"/>
                  </a:lnTo>
                  <a:lnTo>
                    <a:pt x="5265" y="2373"/>
                  </a:lnTo>
                  <a:lnTo>
                    <a:pt x="5277" y="2275"/>
                  </a:lnTo>
                  <a:lnTo>
                    <a:pt x="5283" y="2175"/>
                  </a:lnTo>
                  <a:lnTo>
                    <a:pt x="5287" y="2075"/>
                  </a:lnTo>
                  <a:lnTo>
                    <a:pt x="5283" y="1975"/>
                  </a:lnTo>
                  <a:lnTo>
                    <a:pt x="5277" y="1875"/>
                  </a:lnTo>
                  <a:lnTo>
                    <a:pt x="5265" y="1777"/>
                  </a:lnTo>
                  <a:lnTo>
                    <a:pt x="5249" y="1679"/>
                  </a:lnTo>
                  <a:lnTo>
                    <a:pt x="5239" y="1629"/>
                  </a:lnTo>
                  <a:lnTo>
                    <a:pt x="5227" y="1581"/>
                  </a:lnTo>
                  <a:lnTo>
                    <a:pt x="5215" y="1531"/>
                  </a:lnTo>
                  <a:lnTo>
                    <a:pt x="5201" y="1483"/>
                  </a:lnTo>
                  <a:lnTo>
                    <a:pt x="5185" y="1435"/>
                  </a:lnTo>
                  <a:lnTo>
                    <a:pt x="5169" y="1387"/>
                  </a:lnTo>
                  <a:lnTo>
                    <a:pt x="5153" y="1341"/>
                  </a:lnTo>
                  <a:lnTo>
                    <a:pt x="5135" y="1293"/>
                  </a:lnTo>
                  <a:lnTo>
                    <a:pt x="5115" y="1247"/>
                  </a:lnTo>
                  <a:lnTo>
                    <a:pt x="5095" y="1201"/>
                  </a:lnTo>
                  <a:lnTo>
                    <a:pt x="5073" y="1155"/>
                  </a:lnTo>
                  <a:lnTo>
                    <a:pt x="5049" y="1109"/>
                  </a:lnTo>
                  <a:lnTo>
                    <a:pt x="5025" y="1063"/>
                  </a:lnTo>
                  <a:lnTo>
                    <a:pt x="4999" y="1019"/>
                  </a:lnTo>
                  <a:lnTo>
                    <a:pt x="4973" y="976"/>
                  </a:lnTo>
                  <a:lnTo>
                    <a:pt x="4945" y="934"/>
                  </a:lnTo>
                  <a:lnTo>
                    <a:pt x="4915" y="890"/>
                  </a:lnTo>
                  <a:lnTo>
                    <a:pt x="4885" y="848"/>
                  </a:lnTo>
                  <a:lnTo>
                    <a:pt x="4853" y="806"/>
                  </a:lnTo>
                  <a:lnTo>
                    <a:pt x="4821" y="766"/>
                  </a:lnTo>
                  <a:lnTo>
                    <a:pt x="4787" y="724"/>
                  </a:lnTo>
                  <a:lnTo>
                    <a:pt x="4753" y="684"/>
                  </a:lnTo>
                  <a:lnTo>
                    <a:pt x="4717" y="646"/>
                  </a:lnTo>
                  <a:lnTo>
                    <a:pt x="4679" y="608"/>
                  </a:lnTo>
                  <a:lnTo>
                    <a:pt x="4679" y="608"/>
                  </a:lnTo>
                  <a:lnTo>
                    <a:pt x="4641" y="572"/>
                  </a:lnTo>
                  <a:lnTo>
                    <a:pt x="4603" y="536"/>
                  </a:lnTo>
                  <a:lnTo>
                    <a:pt x="4565" y="502"/>
                  </a:lnTo>
                  <a:lnTo>
                    <a:pt x="4527" y="468"/>
                  </a:lnTo>
                  <a:lnTo>
                    <a:pt x="4487" y="436"/>
                  </a:lnTo>
                  <a:lnTo>
                    <a:pt x="4445" y="406"/>
                  </a:lnTo>
                  <a:lnTo>
                    <a:pt x="4405" y="376"/>
                  </a:lnTo>
                  <a:lnTo>
                    <a:pt x="4363" y="348"/>
                  </a:lnTo>
                  <a:lnTo>
                    <a:pt x="4319" y="320"/>
                  </a:lnTo>
                  <a:lnTo>
                    <a:pt x="4277" y="292"/>
                  </a:lnTo>
                  <a:lnTo>
                    <a:pt x="4233" y="268"/>
                  </a:lnTo>
                  <a:lnTo>
                    <a:pt x="4189" y="242"/>
                  </a:lnTo>
                  <a:lnTo>
                    <a:pt x="4143" y="220"/>
                  </a:lnTo>
                  <a:lnTo>
                    <a:pt x="4099" y="198"/>
                  </a:lnTo>
                  <a:lnTo>
                    <a:pt x="4053" y="176"/>
                  </a:lnTo>
                  <a:lnTo>
                    <a:pt x="4005" y="156"/>
                  </a:lnTo>
                  <a:lnTo>
                    <a:pt x="3959" y="138"/>
                  </a:lnTo>
                  <a:lnTo>
                    <a:pt x="3911" y="120"/>
                  </a:lnTo>
                  <a:lnTo>
                    <a:pt x="3863" y="104"/>
                  </a:lnTo>
                  <a:lnTo>
                    <a:pt x="3815" y="88"/>
                  </a:lnTo>
                  <a:lnTo>
                    <a:pt x="3767" y="74"/>
                  </a:lnTo>
                  <a:lnTo>
                    <a:pt x="3717" y="62"/>
                  </a:lnTo>
                  <a:lnTo>
                    <a:pt x="3669" y="50"/>
                  </a:lnTo>
                  <a:lnTo>
                    <a:pt x="3619" y="40"/>
                  </a:lnTo>
                  <a:lnTo>
                    <a:pt x="3569" y="30"/>
                  </a:lnTo>
                  <a:lnTo>
                    <a:pt x="3519" y="22"/>
                  </a:lnTo>
                  <a:lnTo>
                    <a:pt x="3467" y="16"/>
                  </a:lnTo>
                  <a:lnTo>
                    <a:pt x="3417" y="10"/>
                  </a:lnTo>
                  <a:lnTo>
                    <a:pt x="3365" y="6"/>
                  </a:lnTo>
                  <a:lnTo>
                    <a:pt x="3315" y="2"/>
                  </a:lnTo>
                  <a:lnTo>
                    <a:pt x="3263" y="0"/>
                  </a:lnTo>
                  <a:lnTo>
                    <a:pt x="3211" y="0"/>
                  </a:lnTo>
                  <a:lnTo>
                    <a:pt x="3211" y="0"/>
                  </a:lnTo>
                  <a:lnTo>
                    <a:pt x="3159" y="0"/>
                  </a:lnTo>
                  <a:lnTo>
                    <a:pt x="3107" y="2"/>
                  </a:lnTo>
                  <a:lnTo>
                    <a:pt x="3055" y="6"/>
                  </a:lnTo>
                  <a:lnTo>
                    <a:pt x="3005" y="10"/>
                  </a:lnTo>
                  <a:lnTo>
                    <a:pt x="2953" y="16"/>
                  </a:lnTo>
                  <a:lnTo>
                    <a:pt x="2903" y="22"/>
                  </a:lnTo>
                  <a:lnTo>
                    <a:pt x="2853" y="30"/>
                  </a:lnTo>
                  <a:lnTo>
                    <a:pt x="2803" y="40"/>
                  </a:lnTo>
                  <a:lnTo>
                    <a:pt x="2753" y="50"/>
                  </a:lnTo>
                  <a:lnTo>
                    <a:pt x="2703" y="62"/>
                  </a:lnTo>
                  <a:lnTo>
                    <a:pt x="2655" y="74"/>
                  </a:lnTo>
                  <a:lnTo>
                    <a:pt x="2604" y="88"/>
                  </a:lnTo>
                  <a:lnTo>
                    <a:pt x="2556" y="104"/>
                  </a:lnTo>
                  <a:lnTo>
                    <a:pt x="2508" y="120"/>
                  </a:lnTo>
                  <a:lnTo>
                    <a:pt x="2462" y="138"/>
                  </a:lnTo>
                  <a:lnTo>
                    <a:pt x="2414" y="156"/>
                  </a:lnTo>
                  <a:lnTo>
                    <a:pt x="2368" y="176"/>
                  </a:lnTo>
                  <a:lnTo>
                    <a:pt x="2322" y="198"/>
                  </a:lnTo>
                  <a:lnTo>
                    <a:pt x="2276" y="220"/>
                  </a:lnTo>
                  <a:lnTo>
                    <a:pt x="2232" y="242"/>
                  </a:lnTo>
                  <a:lnTo>
                    <a:pt x="2188" y="268"/>
                  </a:lnTo>
                  <a:lnTo>
                    <a:pt x="2144" y="292"/>
                  </a:lnTo>
                  <a:lnTo>
                    <a:pt x="2100" y="320"/>
                  </a:lnTo>
                  <a:lnTo>
                    <a:pt x="2058" y="348"/>
                  </a:lnTo>
                  <a:lnTo>
                    <a:pt x="2016" y="376"/>
                  </a:lnTo>
                  <a:lnTo>
                    <a:pt x="1974" y="406"/>
                  </a:lnTo>
                  <a:lnTo>
                    <a:pt x="1934" y="436"/>
                  </a:lnTo>
                  <a:lnTo>
                    <a:pt x="1894" y="468"/>
                  </a:lnTo>
                  <a:lnTo>
                    <a:pt x="1854" y="502"/>
                  </a:lnTo>
                  <a:lnTo>
                    <a:pt x="1816" y="536"/>
                  </a:lnTo>
                  <a:lnTo>
                    <a:pt x="1778" y="572"/>
                  </a:lnTo>
                  <a:lnTo>
                    <a:pt x="1742" y="608"/>
                  </a:lnTo>
                  <a:lnTo>
                    <a:pt x="1742" y="608"/>
                  </a:lnTo>
                  <a:lnTo>
                    <a:pt x="1706" y="644"/>
                  </a:lnTo>
                  <a:lnTo>
                    <a:pt x="1670" y="682"/>
                  </a:lnTo>
                  <a:lnTo>
                    <a:pt x="1638" y="720"/>
                  </a:lnTo>
                  <a:lnTo>
                    <a:pt x="1604" y="758"/>
                  </a:lnTo>
                  <a:lnTo>
                    <a:pt x="1574" y="798"/>
                  </a:lnTo>
                  <a:lnTo>
                    <a:pt x="1542" y="838"/>
                  </a:lnTo>
                  <a:lnTo>
                    <a:pt x="1514" y="878"/>
                  </a:lnTo>
                  <a:lnTo>
                    <a:pt x="1486" y="918"/>
                  </a:lnTo>
                  <a:lnTo>
                    <a:pt x="1432" y="1001"/>
                  </a:lnTo>
                  <a:lnTo>
                    <a:pt x="1384" y="1087"/>
                  </a:lnTo>
                  <a:lnTo>
                    <a:pt x="1338" y="1173"/>
                  </a:lnTo>
                  <a:lnTo>
                    <a:pt x="1298" y="1261"/>
                  </a:lnTo>
                  <a:lnTo>
                    <a:pt x="1264" y="1351"/>
                  </a:lnTo>
                  <a:lnTo>
                    <a:pt x="1232" y="1443"/>
                  </a:lnTo>
                  <a:lnTo>
                    <a:pt x="1204" y="1535"/>
                  </a:lnTo>
                  <a:lnTo>
                    <a:pt x="1182" y="1629"/>
                  </a:lnTo>
                  <a:lnTo>
                    <a:pt x="1164" y="1723"/>
                  </a:lnTo>
                  <a:lnTo>
                    <a:pt x="1150" y="1817"/>
                  </a:lnTo>
                  <a:lnTo>
                    <a:pt x="1140" y="1913"/>
                  </a:lnTo>
                  <a:lnTo>
                    <a:pt x="1136" y="2009"/>
                  </a:lnTo>
                  <a:lnTo>
                    <a:pt x="1134" y="2103"/>
                  </a:lnTo>
                  <a:lnTo>
                    <a:pt x="1138" y="2199"/>
                  </a:lnTo>
                  <a:lnTo>
                    <a:pt x="1146" y="2295"/>
                  </a:lnTo>
                  <a:lnTo>
                    <a:pt x="1158" y="2389"/>
                  </a:lnTo>
                  <a:lnTo>
                    <a:pt x="1174" y="2483"/>
                  </a:lnTo>
                  <a:lnTo>
                    <a:pt x="1196" y="2577"/>
                  </a:lnTo>
                  <a:lnTo>
                    <a:pt x="1220" y="2669"/>
                  </a:lnTo>
                  <a:lnTo>
                    <a:pt x="1250" y="2761"/>
                  </a:lnTo>
                  <a:lnTo>
                    <a:pt x="1284" y="2853"/>
                  </a:lnTo>
                  <a:lnTo>
                    <a:pt x="1322" y="2941"/>
                  </a:lnTo>
                  <a:lnTo>
                    <a:pt x="1366" y="3029"/>
                  </a:lnTo>
                  <a:lnTo>
                    <a:pt x="1412" y="3115"/>
                  </a:lnTo>
                  <a:lnTo>
                    <a:pt x="1464" y="3199"/>
                  </a:lnTo>
                  <a:lnTo>
                    <a:pt x="1520" y="3281"/>
                  </a:lnTo>
                  <a:lnTo>
                    <a:pt x="1550" y="3321"/>
                  </a:lnTo>
                  <a:lnTo>
                    <a:pt x="1580" y="3361"/>
                  </a:lnTo>
                  <a:lnTo>
                    <a:pt x="1612" y="3401"/>
                  </a:lnTo>
                  <a:lnTo>
                    <a:pt x="1644" y="3439"/>
                  </a:lnTo>
                  <a:lnTo>
                    <a:pt x="0" y="5082"/>
                  </a:lnTo>
                  <a:lnTo>
                    <a:pt x="202" y="5284"/>
                  </a:lnTo>
                  <a:close/>
                  <a:moveTo>
                    <a:pt x="4477" y="3343"/>
                  </a:moveTo>
                  <a:lnTo>
                    <a:pt x="4477" y="3343"/>
                  </a:lnTo>
                  <a:lnTo>
                    <a:pt x="4413" y="3403"/>
                  </a:lnTo>
                  <a:lnTo>
                    <a:pt x="4345" y="3461"/>
                  </a:lnTo>
                  <a:lnTo>
                    <a:pt x="4277" y="3517"/>
                  </a:lnTo>
                  <a:lnTo>
                    <a:pt x="4205" y="3567"/>
                  </a:lnTo>
                  <a:lnTo>
                    <a:pt x="4131" y="3613"/>
                  </a:lnTo>
                  <a:lnTo>
                    <a:pt x="4055" y="3657"/>
                  </a:lnTo>
                  <a:lnTo>
                    <a:pt x="3977" y="3697"/>
                  </a:lnTo>
                  <a:lnTo>
                    <a:pt x="3897" y="3731"/>
                  </a:lnTo>
                  <a:lnTo>
                    <a:pt x="3815" y="3763"/>
                  </a:lnTo>
                  <a:lnTo>
                    <a:pt x="3733" y="3791"/>
                  </a:lnTo>
                  <a:lnTo>
                    <a:pt x="3649" y="3813"/>
                  </a:lnTo>
                  <a:lnTo>
                    <a:pt x="3563" y="3833"/>
                  </a:lnTo>
                  <a:lnTo>
                    <a:pt x="3477" y="3847"/>
                  </a:lnTo>
                  <a:lnTo>
                    <a:pt x="3389" y="3859"/>
                  </a:lnTo>
                  <a:lnTo>
                    <a:pt x="3301" y="3865"/>
                  </a:lnTo>
                  <a:lnTo>
                    <a:pt x="3211" y="3867"/>
                  </a:lnTo>
                  <a:lnTo>
                    <a:pt x="3211" y="3867"/>
                  </a:lnTo>
                  <a:lnTo>
                    <a:pt x="3121" y="3865"/>
                  </a:lnTo>
                  <a:lnTo>
                    <a:pt x="3033" y="3859"/>
                  </a:lnTo>
                  <a:lnTo>
                    <a:pt x="2945" y="3847"/>
                  </a:lnTo>
                  <a:lnTo>
                    <a:pt x="2859" y="3833"/>
                  </a:lnTo>
                  <a:lnTo>
                    <a:pt x="2773" y="3813"/>
                  </a:lnTo>
                  <a:lnTo>
                    <a:pt x="2689" y="3791"/>
                  </a:lnTo>
                  <a:lnTo>
                    <a:pt x="2604" y="3763"/>
                  </a:lnTo>
                  <a:lnTo>
                    <a:pt x="2524" y="3731"/>
                  </a:lnTo>
                  <a:lnTo>
                    <a:pt x="2444" y="3697"/>
                  </a:lnTo>
                  <a:lnTo>
                    <a:pt x="2366" y="3657"/>
                  </a:lnTo>
                  <a:lnTo>
                    <a:pt x="2290" y="3613"/>
                  </a:lnTo>
                  <a:lnTo>
                    <a:pt x="2216" y="3567"/>
                  </a:lnTo>
                  <a:lnTo>
                    <a:pt x="2144" y="3517"/>
                  </a:lnTo>
                  <a:lnTo>
                    <a:pt x="2074" y="3461"/>
                  </a:lnTo>
                  <a:lnTo>
                    <a:pt x="2008" y="3403"/>
                  </a:lnTo>
                  <a:lnTo>
                    <a:pt x="1942" y="3343"/>
                  </a:lnTo>
                  <a:lnTo>
                    <a:pt x="1942" y="3343"/>
                  </a:lnTo>
                  <a:lnTo>
                    <a:pt x="1910" y="3307"/>
                  </a:lnTo>
                  <a:lnTo>
                    <a:pt x="1876" y="3273"/>
                  </a:lnTo>
                  <a:lnTo>
                    <a:pt x="1846" y="3237"/>
                  </a:lnTo>
                  <a:lnTo>
                    <a:pt x="1816" y="3201"/>
                  </a:lnTo>
                  <a:lnTo>
                    <a:pt x="1788" y="3165"/>
                  </a:lnTo>
                  <a:lnTo>
                    <a:pt x="1760" y="3127"/>
                  </a:lnTo>
                  <a:lnTo>
                    <a:pt x="1706" y="3051"/>
                  </a:lnTo>
                  <a:lnTo>
                    <a:pt x="1962" y="3051"/>
                  </a:lnTo>
                  <a:lnTo>
                    <a:pt x="2707" y="3051"/>
                  </a:lnTo>
                  <a:lnTo>
                    <a:pt x="2993" y="3051"/>
                  </a:lnTo>
                  <a:lnTo>
                    <a:pt x="3453" y="3051"/>
                  </a:lnTo>
                  <a:lnTo>
                    <a:pt x="3737" y="3051"/>
                  </a:lnTo>
                  <a:lnTo>
                    <a:pt x="4483" y="3051"/>
                  </a:lnTo>
                  <a:lnTo>
                    <a:pt x="4713" y="3051"/>
                  </a:lnTo>
                  <a:lnTo>
                    <a:pt x="4713" y="3051"/>
                  </a:lnTo>
                  <a:lnTo>
                    <a:pt x="4661" y="3127"/>
                  </a:lnTo>
                  <a:lnTo>
                    <a:pt x="4633" y="3165"/>
                  </a:lnTo>
                  <a:lnTo>
                    <a:pt x="4605" y="3201"/>
                  </a:lnTo>
                  <a:lnTo>
                    <a:pt x="4575" y="3237"/>
                  </a:lnTo>
                  <a:lnTo>
                    <a:pt x="4543" y="3273"/>
                  </a:lnTo>
                  <a:lnTo>
                    <a:pt x="4511" y="3307"/>
                  </a:lnTo>
                  <a:lnTo>
                    <a:pt x="4477" y="3343"/>
                  </a:lnTo>
                  <a:lnTo>
                    <a:pt x="4477" y="3343"/>
                  </a:lnTo>
                  <a:close/>
                  <a:moveTo>
                    <a:pt x="2993" y="1481"/>
                  </a:moveTo>
                  <a:lnTo>
                    <a:pt x="2993" y="1201"/>
                  </a:lnTo>
                  <a:lnTo>
                    <a:pt x="3453" y="1201"/>
                  </a:lnTo>
                  <a:lnTo>
                    <a:pt x="3453" y="1867"/>
                  </a:lnTo>
                  <a:lnTo>
                    <a:pt x="3453" y="2765"/>
                  </a:lnTo>
                  <a:lnTo>
                    <a:pt x="2993" y="2765"/>
                  </a:lnTo>
                  <a:lnTo>
                    <a:pt x="2993" y="1481"/>
                  </a:lnTo>
                  <a:close/>
                  <a:moveTo>
                    <a:pt x="4197" y="2765"/>
                  </a:moveTo>
                  <a:lnTo>
                    <a:pt x="3737" y="2765"/>
                  </a:lnTo>
                  <a:lnTo>
                    <a:pt x="3737" y="2151"/>
                  </a:lnTo>
                  <a:lnTo>
                    <a:pt x="4197" y="2151"/>
                  </a:lnTo>
                  <a:lnTo>
                    <a:pt x="4197" y="2765"/>
                  </a:lnTo>
                  <a:close/>
                  <a:moveTo>
                    <a:pt x="2707" y="2765"/>
                  </a:moveTo>
                  <a:lnTo>
                    <a:pt x="2246" y="2765"/>
                  </a:lnTo>
                  <a:lnTo>
                    <a:pt x="2246" y="1765"/>
                  </a:lnTo>
                  <a:lnTo>
                    <a:pt x="2707" y="1765"/>
                  </a:lnTo>
                  <a:lnTo>
                    <a:pt x="2707" y="2765"/>
                  </a:lnTo>
                  <a:close/>
                  <a:moveTo>
                    <a:pt x="1942" y="808"/>
                  </a:moveTo>
                  <a:lnTo>
                    <a:pt x="1942" y="808"/>
                  </a:lnTo>
                  <a:lnTo>
                    <a:pt x="2008" y="748"/>
                  </a:lnTo>
                  <a:lnTo>
                    <a:pt x="2074" y="690"/>
                  </a:lnTo>
                  <a:lnTo>
                    <a:pt x="2144" y="634"/>
                  </a:lnTo>
                  <a:lnTo>
                    <a:pt x="2216" y="584"/>
                  </a:lnTo>
                  <a:lnTo>
                    <a:pt x="2290" y="538"/>
                  </a:lnTo>
                  <a:lnTo>
                    <a:pt x="2366" y="494"/>
                  </a:lnTo>
                  <a:lnTo>
                    <a:pt x="2444" y="454"/>
                  </a:lnTo>
                  <a:lnTo>
                    <a:pt x="2524" y="420"/>
                  </a:lnTo>
                  <a:lnTo>
                    <a:pt x="2604" y="388"/>
                  </a:lnTo>
                  <a:lnTo>
                    <a:pt x="2689" y="360"/>
                  </a:lnTo>
                  <a:lnTo>
                    <a:pt x="2773" y="338"/>
                  </a:lnTo>
                  <a:lnTo>
                    <a:pt x="2859" y="318"/>
                  </a:lnTo>
                  <a:lnTo>
                    <a:pt x="2945" y="304"/>
                  </a:lnTo>
                  <a:lnTo>
                    <a:pt x="3033" y="292"/>
                  </a:lnTo>
                  <a:lnTo>
                    <a:pt x="3121" y="286"/>
                  </a:lnTo>
                  <a:lnTo>
                    <a:pt x="3211" y="284"/>
                  </a:lnTo>
                  <a:lnTo>
                    <a:pt x="3211" y="284"/>
                  </a:lnTo>
                  <a:lnTo>
                    <a:pt x="3301" y="286"/>
                  </a:lnTo>
                  <a:lnTo>
                    <a:pt x="3389" y="292"/>
                  </a:lnTo>
                  <a:lnTo>
                    <a:pt x="3477" y="304"/>
                  </a:lnTo>
                  <a:lnTo>
                    <a:pt x="3563" y="318"/>
                  </a:lnTo>
                  <a:lnTo>
                    <a:pt x="3649" y="338"/>
                  </a:lnTo>
                  <a:lnTo>
                    <a:pt x="3733" y="360"/>
                  </a:lnTo>
                  <a:lnTo>
                    <a:pt x="3815" y="388"/>
                  </a:lnTo>
                  <a:lnTo>
                    <a:pt x="3897" y="420"/>
                  </a:lnTo>
                  <a:lnTo>
                    <a:pt x="3977" y="454"/>
                  </a:lnTo>
                  <a:lnTo>
                    <a:pt x="4055" y="494"/>
                  </a:lnTo>
                  <a:lnTo>
                    <a:pt x="4131" y="538"/>
                  </a:lnTo>
                  <a:lnTo>
                    <a:pt x="4205" y="584"/>
                  </a:lnTo>
                  <a:lnTo>
                    <a:pt x="4277" y="634"/>
                  </a:lnTo>
                  <a:lnTo>
                    <a:pt x="4345" y="690"/>
                  </a:lnTo>
                  <a:lnTo>
                    <a:pt x="4413" y="748"/>
                  </a:lnTo>
                  <a:lnTo>
                    <a:pt x="4477" y="808"/>
                  </a:lnTo>
                  <a:lnTo>
                    <a:pt x="4477" y="808"/>
                  </a:lnTo>
                  <a:lnTo>
                    <a:pt x="4527" y="860"/>
                  </a:lnTo>
                  <a:lnTo>
                    <a:pt x="4573" y="910"/>
                  </a:lnTo>
                  <a:lnTo>
                    <a:pt x="4615" y="964"/>
                  </a:lnTo>
                  <a:lnTo>
                    <a:pt x="4657" y="1017"/>
                  </a:lnTo>
                  <a:lnTo>
                    <a:pt x="4697" y="1073"/>
                  </a:lnTo>
                  <a:lnTo>
                    <a:pt x="4733" y="1129"/>
                  </a:lnTo>
                  <a:lnTo>
                    <a:pt x="4767" y="1187"/>
                  </a:lnTo>
                  <a:lnTo>
                    <a:pt x="4799" y="1245"/>
                  </a:lnTo>
                  <a:lnTo>
                    <a:pt x="4829" y="1305"/>
                  </a:lnTo>
                  <a:lnTo>
                    <a:pt x="4855" y="1365"/>
                  </a:lnTo>
                  <a:lnTo>
                    <a:pt x="4881" y="1427"/>
                  </a:lnTo>
                  <a:lnTo>
                    <a:pt x="4903" y="1489"/>
                  </a:lnTo>
                  <a:lnTo>
                    <a:pt x="4923" y="1551"/>
                  </a:lnTo>
                  <a:lnTo>
                    <a:pt x="4941" y="1613"/>
                  </a:lnTo>
                  <a:lnTo>
                    <a:pt x="4957" y="1677"/>
                  </a:lnTo>
                  <a:lnTo>
                    <a:pt x="4971" y="1741"/>
                  </a:lnTo>
                  <a:lnTo>
                    <a:pt x="4981" y="1805"/>
                  </a:lnTo>
                  <a:lnTo>
                    <a:pt x="4989" y="1869"/>
                  </a:lnTo>
                  <a:lnTo>
                    <a:pt x="4995" y="1935"/>
                  </a:lnTo>
                  <a:lnTo>
                    <a:pt x="4999" y="1999"/>
                  </a:lnTo>
                  <a:lnTo>
                    <a:pt x="5001" y="2065"/>
                  </a:lnTo>
                  <a:lnTo>
                    <a:pt x="5001" y="2129"/>
                  </a:lnTo>
                  <a:lnTo>
                    <a:pt x="4997" y="2195"/>
                  </a:lnTo>
                  <a:lnTo>
                    <a:pt x="4991" y="2259"/>
                  </a:lnTo>
                  <a:lnTo>
                    <a:pt x="4983" y="2325"/>
                  </a:lnTo>
                  <a:lnTo>
                    <a:pt x="4973" y="2389"/>
                  </a:lnTo>
                  <a:lnTo>
                    <a:pt x="4961" y="2453"/>
                  </a:lnTo>
                  <a:lnTo>
                    <a:pt x="4947" y="2517"/>
                  </a:lnTo>
                  <a:lnTo>
                    <a:pt x="4929" y="2579"/>
                  </a:lnTo>
                  <a:lnTo>
                    <a:pt x="4909" y="2643"/>
                  </a:lnTo>
                  <a:lnTo>
                    <a:pt x="4887" y="2705"/>
                  </a:lnTo>
                  <a:lnTo>
                    <a:pt x="4863" y="2765"/>
                  </a:lnTo>
                  <a:lnTo>
                    <a:pt x="4483" y="2765"/>
                  </a:lnTo>
                  <a:lnTo>
                    <a:pt x="4483" y="1867"/>
                  </a:lnTo>
                  <a:lnTo>
                    <a:pt x="3737" y="1867"/>
                  </a:lnTo>
                  <a:lnTo>
                    <a:pt x="3737" y="916"/>
                  </a:lnTo>
                  <a:lnTo>
                    <a:pt x="2707" y="916"/>
                  </a:lnTo>
                  <a:lnTo>
                    <a:pt x="2707" y="1481"/>
                  </a:lnTo>
                  <a:lnTo>
                    <a:pt x="1962" y="1481"/>
                  </a:lnTo>
                  <a:lnTo>
                    <a:pt x="1962" y="2765"/>
                  </a:lnTo>
                  <a:lnTo>
                    <a:pt x="1558" y="2765"/>
                  </a:lnTo>
                  <a:lnTo>
                    <a:pt x="1558" y="2765"/>
                  </a:lnTo>
                  <a:lnTo>
                    <a:pt x="1532" y="2705"/>
                  </a:lnTo>
                  <a:lnTo>
                    <a:pt x="1510" y="2643"/>
                  </a:lnTo>
                  <a:lnTo>
                    <a:pt x="1492" y="2579"/>
                  </a:lnTo>
                  <a:lnTo>
                    <a:pt x="1474" y="2517"/>
                  </a:lnTo>
                  <a:lnTo>
                    <a:pt x="1460" y="2453"/>
                  </a:lnTo>
                  <a:lnTo>
                    <a:pt x="1446" y="2389"/>
                  </a:lnTo>
                  <a:lnTo>
                    <a:pt x="1436" y="2325"/>
                  </a:lnTo>
                  <a:lnTo>
                    <a:pt x="1428" y="2259"/>
                  </a:lnTo>
                  <a:lnTo>
                    <a:pt x="1424" y="2195"/>
                  </a:lnTo>
                  <a:lnTo>
                    <a:pt x="1420" y="2129"/>
                  </a:lnTo>
                  <a:lnTo>
                    <a:pt x="1420" y="2065"/>
                  </a:lnTo>
                  <a:lnTo>
                    <a:pt x="1420" y="1999"/>
                  </a:lnTo>
                  <a:lnTo>
                    <a:pt x="1424" y="1935"/>
                  </a:lnTo>
                  <a:lnTo>
                    <a:pt x="1430" y="1869"/>
                  </a:lnTo>
                  <a:lnTo>
                    <a:pt x="1440" y="1805"/>
                  </a:lnTo>
                  <a:lnTo>
                    <a:pt x="1450" y="1741"/>
                  </a:lnTo>
                  <a:lnTo>
                    <a:pt x="1464" y="1677"/>
                  </a:lnTo>
                  <a:lnTo>
                    <a:pt x="1478" y="1613"/>
                  </a:lnTo>
                  <a:lnTo>
                    <a:pt x="1496" y="1551"/>
                  </a:lnTo>
                  <a:lnTo>
                    <a:pt x="1516" y="1489"/>
                  </a:lnTo>
                  <a:lnTo>
                    <a:pt x="1540" y="1427"/>
                  </a:lnTo>
                  <a:lnTo>
                    <a:pt x="1564" y="1365"/>
                  </a:lnTo>
                  <a:lnTo>
                    <a:pt x="1592" y="1305"/>
                  </a:lnTo>
                  <a:lnTo>
                    <a:pt x="1622" y="1245"/>
                  </a:lnTo>
                  <a:lnTo>
                    <a:pt x="1654" y="1187"/>
                  </a:lnTo>
                  <a:lnTo>
                    <a:pt x="1688" y="1129"/>
                  </a:lnTo>
                  <a:lnTo>
                    <a:pt x="1724" y="1073"/>
                  </a:lnTo>
                  <a:lnTo>
                    <a:pt x="1764" y="1017"/>
                  </a:lnTo>
                  <a:lnTo>
                    <a:pt x="1804" y="964"/>
                  </a:lnTo>
                  <a:lnTo>
                    <a:pt x="1848" y="910"/>
                  </a:lnTo>
                  <a:lnTo>
                    <a:pt x="1894" y="860"/>
                  </a:lnTo>
                  <a:lnTo>
                    <a:pt x="1942" y="808"/>
                  </a:lnTo>
                  <a:lnTo>
                    <a:pt x="1942" y="808"/>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85" name="Google Shape;3917;p94">
            <a:extLst>
              <a:ext uri="{FF2B5EF4-FFF2-40B4-BE49-F238E27FC236}">
                <a16:creationId xmlns:a16="http://schemas.microsoft.com/office/drawing/2014/main" id="{C89647D8-DF87-4328-A48E-41C8AD5BBAB1}"/>
              </a:ext>
            </a:extLst>
          </p:cNvPr>
          <p:cNvSpPr/>
          <p:nvPr/>
        </p:nvSpPr>
        <p:spPr>
          <a:xfrm>
            <a:off x="1992316" y="4131345"/>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mn-ea"/>
              <a:cs typeface="+mn-cs"/>
              <a:sym typeface="Georgia"/>
            </a:endParaRPr>
          </a:p>
        </p:txBody>
      </p:sp>
      <p:sp>
        <p:nvSpPr>
          <p:cNvPr id="86" name="Google Shape;3918;p94">
            <a:extLst>
              <a:ext uri="{FF2B5EF4-FFF2-40B4-BE49-F238E27FC236}">
                <a16:creationId xmlns:a16="http://schemas.microsoft.com/office/drawing/2014/main" id="{4B638486-9F79-4843-9570-90DE93710DE8}"/>
              </a:ext>
            </a:extLst>
          </p:cNvPr>
          <p:cNvSpPr/>
          <p:nvPr/>
        </p:nvSpPr>
        <p:spPr>
          <a:xfrm>
            <a:off x="2148269" y="4201457"/>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87" name="Google Shape;3919;p94">
            <a:extLst>
              <a:ext uri="{FF2B5EF4-FFF2-40B4-BE49-F238E27FC236}">
                <a16:creationId xmlns:a16="http://schemas.microsoft.com/office/drawing/2014/main" id="{0147964C-4030-45CF-80B1-9E8688618BE7}"/>
              </a:ext>
            </a:extLst>
          </p:cNvPr>
          <p:cNvSpPr txBox="1"/>
          <p:nvPr/>
        </p:nvSpPr>
        <p:spPr>
          <a:xfrm>
            <a:off x="2000603" y="4324421"/>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4</a:t>
            </a:r>
            <a:endParaRPr kumimoji="0" sz="1600" b="0" i="0" u="none" strike="noStrike" kern="1200" cap="none" spc="0" normalizeH="0" baseline="0" noProof="0">
              <a:ln>
                <a:noFill/>
              </a:ln>
              <a:solidFill>
                <a:srgbClr val="000000"/>
              </a:solidFill>
              <a:effectLst/>
              <a:uLnTx/>
              <a:uFillTx/>
              <a:latin typeface="Calibri"/>
              <a:ea typeface="+mn-ea"/>
              <a:cs typeface="+mn-cs"/>
            </a:endParaRPr>
          </a:p>
        </p:txBody>
      </p:sp>
      <p:grpSp>
        <p:nvGrpSpPr>
          <p:cNvPr id="88" name="Google Shape;3920;p94">
            <a:extLst>
              <a:ext uri="{FF2B5EF4-FFF2-40B4-BE49-F238E27FC236}">
                <a16:creationId xmlns:a16="http://schemas.microsoft.com/office/drawing/2014/main" id="{6864EE21-75A7-4EC2-A2FB-A525EFE780A7}"/>
              </a:ext>
            </a:extLst>
          </p:cNvPr>
          <p:cNvGrpSpPr/>
          <p:nvPr/>
        </p:nvGrpSpPr>
        <p:grpSpPr>
          <a:xfrm>
            <a:off x="10199684" y="4177905"/>
            <a:ext cx="466404" cy="466334"/>
            <a:chOff x="986" y="0"/>
            <a:chExt cx="6673" cy="6672"/>
          </a:xfrm>
          <a:solidFill>
            <a:schemeClr val="accent4">
              <a:lumMod val="50000"/>
            </a:schemeClr>
          </a:solidFill>
        </p:grpSpPr>
        <p:sp>
          <p:nvSpPr>
            <p:cNvPr id="101" name="Google Shape;3921;p94">
              <a:extLst>
                <a:ext uri="{FF2B5EF4-FFF2-40B4-BE49-F238E27FC236}">
                  <a16:creationId xmlns:a16="http://schemas.microsoft.com/office/drawing/2014/main" id="{E20BD688-B090-426A-8881-CA0E7A66D6DE}"/>
                </a:ext>
              </a:extLst>
            </p:cNvPr>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9" y="6388"/>
                  </a:moveTo>
                  <a:lnTo>
                    <a:pt x="284" y="6388"/>
                  </a:lnTo>
                  <a:lnTo>
                    <a:pt x="284" y="284"/>
                  </a:lnTo>
                  <a:lnTo>
                    <a:pt x="6389" y="284"/>
                  </a:lnTo>
                  <a:lnTo>
                    <a:pt x="6389" y="6388"/>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02" name="Google Shape;3922;p94">
              <a:extLst>
                <a:ext uri="{FF2B5EF4-FFF2-40B4-BE49-F238E27FC236}">
                  <a16:creationId xmlns:a16="http://schemas.microsoft.com/office/drawing/2014/main" id="{D06D7BB9-23E3-4861-ADB0-AA535AF9F57C}"/>
                </a:ext>
              </a:extLst>
            </p:cNvPr>
            <p:cNvSpPr/>
            <p:nvPr/>
          </p:nvSpPr>
          <p:spPr>
            <a:xfrm>
              <a:off x="1882" y="896"/>
              <a:ext cx="4879" cy="4878"/>
            </a:xfrm>
            <a:custGeom>
              <a:avLst/>
              <a:gdLst/>
              <a:ahLst/>
              <a:cxnLst/>
              <a:rect l="l" t="t" r="r" b="b"/>
              <a:pathLst>
                <a:path w="4879" h="4878" extrusionOk="0">
                  <a:moveTo>
                    <a:pt x="2441" y="4878"/>
                  </a:moveTo>
                  <a:lnTo>
                    <a:pt x="2441" y="4878"/>
                  </a:lnTo>
                  <a:lnTo>
                    <a:pt x="2503" y="4878"/>
                  </a:lnTo>
                  <a:lnTo>
                    <a:pt x="2565" y="4876"/>
                  </a:lnTo>
                  <a:lnTo>
                    <a:pt x="2627" y="4872"/>
                  </a:lnTo>
                  <a:lnTo>
                    <a:pt x="2689" y="4866"/>
                  </a:lnTo>
                  <a:lnTo>
                    <a:pt x="2751" y="4860"/>
                  </a:lnTo>
                  <a:lnTo>
                    <a:pt x="2811" y="4850"/>
                  </a:lnTo>
                  <a:lnTo>
                    <a:pt x="2871" y="4840"/>
                  </a:lnTo>
                  <a:lnTo>
                    <a:pt x="2931" y="4830"/>
                  </a:lnTo>
                  <a:lnTo>
                    <a:pt x="2991" y="4816"/>
                  </a:lnTo>
                  <a:lnTo>
                    <a:pt x="3049" y="4802"/>
                  </a:lnTo>
                  <a:lnTo>
                    <a:pt x="3107" y="4786"/>
                  </a:lnTo>
                  <a:lnTo>
                    <a:pt x="3165" y="4770"/>
                  </a:lnTo>
                  <a:lnTo>
                    <a:pt x="3223" y="4750"/>
                  </a:lnTo>
                  <a:lnTo>
                    <a:pt x="3279" y="4730"/>
                  </a:lnTo>
                  <a:lnTo>
                    <a:pt x="3335" y="4710"/>
                  </a:lnTo>
                  <a:lnTo>
                    <a:pt x="3389" y="4686"/>
                  </a:lnTo>
                  <a:lnTo>
                    <a:pt x="3443" y="4664"/>
                  </a:lnTo>
                  <a:lnTo>
                    <a:pt x="3497" y="4638"/>
                  </a:lnTo>
                  <a:lnTo>
                    <a:pt x="3551" y="4612"/>
                  </a:lnTo>
                  <a:lnTo>
                    <a:pt x="3603" y="4584"/>
                  </a:lnTo>
                  <a:lnTo>
                    <a:pt x="3653" y="4556"/>
                  </a:lnTo>
                  <a:lnTo>
                    <a:pt x="3705" y="4526"/>
                  </a:lnTo>
                  <a:lnTo>
                    <a:pt x="3755" y="4494"/>
                  </a:lnTo>
                  <a:lnTo>
                    <a:pt x="3803" y="4462"/>
                  </a:lnTo>
                  <a:lnTo>
                    <a:pt x="3851" y="4428"/>
                  </a:lnTo>
                  <a:lnTo>
                    <a:pt x="3899" y="4394"/>
                  </a:lnTo>
                  <a:lnTo>
                    <a:pt x="3945" y="4358"/>
                  </a:lnTo>
                  <a:lnTo>
                    <a:pt x="3991" y="4322"/>
                  </a:lnTo>
                  <a:lnTo>
                    <a:pt x="4035" y="4284"/>
                  </a:lnTo>
                  <a:lnTo>
                    <a:pt x="4079" y="4244"/>
                  </a:lnTo>
                  <a:lnTo>
                    <a:pt x="4123" y="4204"/>
                  </a:lnTo>
                  <a:lnTo>
                    <a:pt x="4165" y="4164"/>
                  </a:lnTo>
                  <a:lnTo>
                    <a:pt x="4205" y="4122"/>
                  </a:lnTo>
                  <a:lnTo>
                    <a:pt x="4245" y="4078"/>
                  </a:lnTo>
                  <a:lnTo>
                    <a:pt x="4285" y="4036"/>
                  </a:lnTo>
                  <a:lnTo>
                    <a:pt x="4323" y="3990"/>
                  </a:lnTo>
                  <a:lnTo>
                    <a:pt x="4359" y="3944"/>
                  </a:lnTo>
                  <a:lnTo>
                    <a:pt x="4395" y="3898"/>
                  </a:lnTo>
                  <a:lnTo>
                    <a:pt x="4429" y="3850"/>
                  </a:lnTo>
                  <a:lnTo>
                    <a:pt x="4463" y="3802"/>
                  </a:lnTo>
                  <a:lnTo>
                    <a:pt x="4495" y="3754"/>
                  </a:lnTo>
                  <a:lnTo>
                    <a:pt x="4527" y="3704"/>
                  </a:lnTo>
                  <a:lnTo>
                    <a:pt x="4557" y="3652"/>
                  </a:lnTo>
                  <a:lnTo>
                    <a:pt x="4585" y="3602"/>
                  </a:lnTo>
                  <a:lnTo>
                    <a:pt x="4613" y="3550"/>
                  </a:lnTo>
                  <a:lnTo>
                    <a:pt x="4639" y="3496"/>
                  </a:lnTo>
                  <a:lnTo>
                    <a:pt x="4663" y="3442"/>
                  </a:lnTo>
                  <a:lnTo>
                    <a:pt x="4687" y="3388"/>
                  </a:lnTo>
                  <a:lnTo>
                    <a:pt x="4711" y="3334"/>
                  </a:lnTo>
                  <a:lnTo>
                    <a:pt x="4731" y="3278"/>
                  </a:lnTo>
                  <a:lnTo>
                    <a:pt x="4751" y="3222"/>
                  </a:lnTo>
                  <a:lnTo>
                    <a:pt x="4769" y="3164"/>
                  </a:lnTo>
                  <a:lnTo>
                    <a:pt x="4787" y="3106"/>
                  </a:lnTo>
                  <a:lnTo>
                    <a:pt x="4803" y="3048"/>
                  </a:lnTo>
                  <a:lnTo>
                    <a:pt x="4817" y="2990"/>
                  </a:lnTo>
                  <a:lnTo>
                    <a:pt x="4831" y="2930"/>
                  </a:lnTo>
                  <a:lnTo>
                    <a:pt x="4841" y="2872"/>
                  </a:lnTo>
                  <a:lnTo>
                    <a:pt x="4851" y="2810"/>
                  </a:lnTo>
                  <a:lnTo>
                    <a:pt x="4861" y="2750"/>
                  </a:lnTo>
                  <a:lnTo>
                    <a:pt x="4867" y="2688"/>
                  </a:lnTo>
                  <a:lnTo>
                    <a:pt x="4873" y="2628"/>
                  </a:lnTo>
                  <a:lnTo>
                    <a:pt x="4877" y="2566"/>
                  </a:lnTo>
                  <a:lnTo>
                    <a:pt x="4879" y="2502"/>
                  </a:lnTo>
                  <a:lnTo>
                    <a:pt x="4879" y="2440"/>
                  </a:lnTo>
                  <a:lnTo>
                    <a:pt x="4879" y="2440"/>
                  </a:lnTo>
                  <a:lnTo>
                    <a:pt x="4879" y="2376"/>
                  </a:lnTo>
                  <a:lnTo>
                    <a:pt x="4877" y="2314"/>
                  </a:lnTo>
                  <a:lnTo>
                    <a:pt x="4873" y="2252"/>
                  </a:lnTo>
                  <a:lnTo>
                    <a:pt x="4867" y="2190"/>
                  </a:lnTo>
                  <a:lnTo>
                    <a:pt x="4861" y="2130"/>
                  </a:lnTo>
                  <a:lnTo>
                    <a:pt x="4851" y="2068"/>
                  </a:lnTo>
                  <a:lnTo>
                    <a:pt x="4841" y="2008"/>
                  </a:lnTo>
                  <a:lnTo>
                    <a:pt x="4831" y="1948"/>
                  </a:lnTo>
                  <a:lnTo>
                    <a:pt x="4817" y="1890"/>
                  </a:lnTo>
                  <a:lnTo>
                    <a:pt x="4803" y="1830"/>
                  </a:lnTo>
                  <a:lnTo>
                    <a:pt x="4787" y="1772"/>
                  </a:lnTo>
                  <a:lnTo>
                    <a:pt x="4769" y="1716"/>
                  </a:lnTo>
                  <a:lnTo>
                    <a:pt x="4751" y="1658"/>
                  </a:lnTo>
                  <a:lnTo>
                    <a:pt x="4731" y="1602"/>
                  </a:lnTo>
                  <a:lnTo>
                    <a:pt x="4711" y="1546"/>
                  </a:lnTo>
                  <a:lnTo>
                    <a:pt x="4687" y="1492"/>
                  </a:lnTo>
                  <a:lnTo>
                    <a:pt x="4663" y="1436"/>
                  </a:lnTo>
                  <a:lnTo>
                    <a:pt x="4639" y="1384"/>
                  </a:lnTo>
                  <a:lnTo>
                    <a:pt x="4613" y="1330"/>
                  </a:lnTo>
                  <a:lnTo>
                    <a:pt x="4585" y="1278"/>
                  </a:lnTo>
                  <a:lnTo>
                    <a:pt x="4557" y="1226"/>
                  </a:lnTo>
                  <a:lnTo>
                    <a:pt x="4527" y="1176"/>
                  </a:lnTo>
                  <a:lnTo>
                    <a:pt x="4495" y="1126"/>
                  </a:lnTo>
                  <a:lnTo>
                    <a:pt x="4463" y="1078"/>
                  </a:lnTo>
                  <a:lnTo>
                    <a:pt x="4429" y="1028"/>
                  </a:lnTo>
                  <a:lnTo>
                    <a:pt x="4395" y="982"/>
                  </a:lnTo>
                  <a:lnTo>
                    <a:pt x="4359" y="934"/>
                  </a:lnTo>
                  <a:lnTo>
                    <a:pt x="4323" y="890"/>
                  </a:lnTo>
                  <a:lnTo>
                    <a:pt x="4285" y="844"/>
                  </a:lnTo>
                  <a:lnTo>
                    <a:pt x="4245" y="800"/>
                  </a:lnTo>
                  <a:lnTo>
                    <a:pt x="4205" y="758"/>
                  </a:lnTo>
                  <a:lnTo>
                    <a:pt x="4165" y="716"/>
                  </a:lnTo>
                  <a:lnTo>
                    <a:pt x="4123" y="676"/>
                  </a:lnTo>
                  <a:lnTo>
                    <a:pt x="4079" y="636"/>
                  </a:lnTo>
                  <a:lnTo>
                    <a:pt x="4035" y="596"/>
                  </a:lnTo>
                  <a:lnTo>
                    <a:pt x="3991" y="558"/>
                  </a:lnTo>
                  <a:lnTo>
                    <a:pt x="3945" y="522"/>
                  </a:lnTo>
                  <a:lnTo>
                    <a:pt x="3899" y="486"/>
                  </a:lnTo>
                  <a:lnTo>
                    <a:pt x="3851" y="452"/>
                  </a:lnTo>
                  <a:lnTo>
                    <a:pt x="3803" y="418"/>
                  </a:lnTo>
                  <a:lnTo>
                    <a:pt x="3755" y="386"/>
                  </a:lnTo>
                  <a:lnTo>
                    <a:pt x="3705" y="354"/>
                  </a:lnTo>
                  <a:lnTo>
                    <a:pt x="3653" y="324"/>
                  </a:lnTo>
                  <a:lnTo>
                    <a:pt x="3603" y="296"/>
                  </a:lnTo>
                  <a:lnTo>
                    <a:pt x="3551" y="268"/>
                  </a:lnTo>
                  <a:lnTo>
                    <a:pt x="3497" y="242"/>
                  </a:lnTo>
                  <a:lnTo>
                    <a:pt x="3443" y="216"/>
                  </a:lnTo>
                  <a:lnTo>
                    <a:pt x="3389" y="192"/>
                  </a:lnTo>
                  <a:lnTo>
                    <a:pt x="3335" y="170"/>
                  </a:lnTo>
                  <a:lnTo>
                    <a:pt x="3279" y="150"/>
                  </a:lnTo>
                  <a:lnTo>
                    <a:pt x="3223" y="130"/>
                  </a:lnTo>
                  <a:lnTo>
                    <a:pt x="3165" y="110"/>
                  </a:lnTo>
                  <a:lnTo>
                    <a:pt x="3107" y="94"/>
                  </a:lnTo>
                  <a:lnTo>
                    <a:pt x="3049" y="78"/>
                  </a:lnTo>
                  <a:lnTo>
                    <a:pt x="2991" y="64"/>
                  </a:lnTo>
                  <a:lnTo>
                    <a:pt x="2931" y="50"/>
                  </a:lnTo>
                  <a:lnTo>
                    <a:pt x="2871" y="38"/>
                  </a:lnTo>
                  <a:lnTo>
                    <a:pt x="2811" y="28"/>
                  </a:lnTo>
                  <a:lnTo>
                    <a:pt x="2751" y="20"/>
                  </a:lnTo>
                  <a:lnTo>
                    <a:pt x="2689" y="14"/>
                  </a:lnTo>
                  <a:lnTo>
                    <a:pt x="2627" y="8"/>
                  </a:lnTo>
                  <a:lnTo>
                    <a:pt x="2565" y="4"/>
                  </a:lnTo>
                  <a:lnTo>
                    <a:pt x="2503" y="2"/>
                  </a:lnTo>
                  <a:lnTo>
                    <a:pt x="2441" y="0"/>
                  </a:lnTo>
                  <a:lnTo>
                    <a:pt x="2441" y="0"/>
                  </a:lnTo>
                  <a:lnTo>
                    <a:pt x="2376" y="2"/>
                  </a:lnTo>
                  <a:lnTo>
                    <a:pt x="2314" y="4"/>
                  </a:lnTo>
                  <a:lnTo>
                    <a:pt x="2252" y="8"/>
                  </a:lnTo>
                  <a:lnTo>
                    <a:pt x="2190" y="14"/>
                  </a:lnTo>
                  <a:lnTo>
                    <a:pt x="2130" y="20"/>
                  </a:lnTo>
                  <a:lnTo>
                    <a:pt x="2068" y="28"/>
                  </a:lnTo>
                  <a:lnTo>
                    <a:pt x="2008" y="38"/>
                  </a:lnTo>
                  <a:lnTo>
                    <a:pt x="1948" y="50"/>
                  </a:lnTo>
                  <a:lnTo>
                    <a:pt x="1890" y="64"/>
                  </a:lnTo>
                  <a:lnTo>
                    <a:pt x="1830" y="78"/>
                  </a:lnTo>
                  <a:lnTo>
                    <a:pt x="1772" y="94"/>
                  </a:lnTo>
                  <a:lnTo>
                    <a:pt x="1716" y="110"/>
                  </a:lnTo>
                  <a:lnTo>
                    <a:pt x="1658" y="130"/>
                  </a:lnTo>
                  <a:lnTo>
                    <a:pt x="1602" y="150"/>
                  </a:lnTo>
                  <a:lnTo>
                    <a:pt x="1546" y="170"/>
                  </a:lnTo>
                  <a:lnTo>
                    <a:pt x="1492" y="192"/>
                  </a:lnTo>
                  <a:lnTo>
                    <a:pt x="1436" y="216"/>
                  </a:lnTo>
                  <a:lnTo>
                    <a:pt x="1384" y="242"/>
                  </a:lnTo>
                  <a:lnTo>
                    <a:pt x="1330" y="268"/>
                  </a:lnTo>
                  <a:lnTo>
                    <a:pt x="1278" y="296"/>
                  </a:lnTo>
                  <a:lnTo>
                    <a:pt x="1226" y="324"/>
                  </a:lnTo>
                  <a:lnTo>
                    <a:pt x="1176" y="354"/>
                  </a:lnTo>
                  <a:lnTo>
                    <a:pt x="1126" y="386"/>
                  </a:lnTo>
                  <a:lnTo>
                    <a:pt x="1076" y="418"/>
                  </a:lnTo>
                  <a:lnTo>
                    <a:pt x="1028" y="452"/>
                  </a:lnTo>
                  <a:lnTo>
                    <a:pt x="982" y="486"/>
                  </a:lnTo>
                  <a:lnTo>
                    <a:pt x="934" y="522"/>
                  </a:lnTo>
                  <a:lnTo>
                    <a:pt x="890" y="558"/>
                  </a:lnTo>
                  <a:lnTo>
                    <a:pt x="844" y="596"/>
                  </a:lnTo>
                  <a:lnTo>
                    <a:pt x="800" y="636"/>
                  </a:lnTo>
                  <a:lnTo>
                    <a:pt x="758" y="676"/>
                  </a:lnTo>
                  <a:lnTo>
                    <a:pt x="716" y="716"/>
                  </a:lnTo>
                  <a:lnTo>
                    <a:pt x="674" y="758"/>
                  </a:lnTo>
                  <a:lnTo>
                    <a:pt x="634" y="800"/>
                  </a:lnTo>
                  <a:lnTo>
                    <a:pt x="596" y="844"/>
                  </a:lnTo>
                  <a:lnTo>
                    <a:pt x="558" y="890"/>
                  </a:lnTo>
                  <a:lnTo>
                    <a:pt x="522" y="934"/>
                  </a:lnTo>
                  <a:lnTo>
                    <a:pt x="486" y="982"/>
                  </a:lnTo>
                  <a:lnTo>
                    <a:pt x="452" y="1028"/>
                  </a:lnTo>
                  <a:lnTo>
                    <a:pt x="418" y="1078"/>
                  </a:lnTo>
                  <a:lnTo>
                    <a:pt x="386" y="1126"/>
                  </a:lnTo>
                  <a:lnTo>
                    <a:pt x="354" y="1176"/>
                  </a:lnTo>
                  <a:lnTo>
                    <a:pt x="324" y="1226"/>
                  </a:lnTo>
                  <a:lnTo>
                    <a:pt x="296" y="1278"/>
                  </a:lnTo>
                  <a:lnTo>
                    <a:pt x="268" y="1330"/>
                  </a:lnTo>
                  <a:lnTo>
                    <a:pt x="242" y="1384"/>
                  </a:lnTo>
                  <a:lnTo>
                    <a:pt x="216" y="1436"/>
                  </a:lnTo>
                  <a:lnTo>
                    <a:pt x="192" y="1492"/>
                  </a:lnTo>
                  <a:lnTo>
                    <a:pt x="170" y="1546"/>
                  </a:lnTo>
                  <a:lnTo>
                    <a:pt x="148" y="1602"/>
                  </a:lnTo>
                  <a:lnTo>
                    <a:pt x="128" y="1658"/>
                  </a:lnTo>
                  <a:lnTo>
                    <a:pt x="110" y="1716"/>
                  </a:lnTo>
                  <a:lnTo>
                    <a:pt x="94" y="1772"/>
                  </a:lnTo>
                  <a:lnTo>
                    <a:pt x="78" y="1830"/>
                  </a:lnTo>
                  <a:lnTo>
                    <a:pt x="64" y="1890"/>
                  </a:lnTo>
                  <a:lnTo>
                    <a:pt x="50" y="1948"/>
                  </a:lnTo>
                  <a:lnTo>
                    <a:pt x="38" y="2008"/>
                  </a:lnTo>
                  <a:lnTo>
                    <a:pt x="28" y="2068"/>
                  </a:lnTo>
                  <a:lnTo>
                    <a:pt x="20" y="2130"/>
                  </a:lnTo>
                  <a:lnTo>
                    <a:pt x="14" y="2190"/>
                  </a:lnTo>
                  <a:lnTo>
                    <a:pt x="8" y="2252"/>
                  </a:lnTo>
                  <a:lnTo>
                    <a:pt x="4" y="2314"/>
                  </a:lnTo>
                  <a:lnTo>
                    <a:pt x="2" y="2376"/>
                  </a:lnTo>
                  <a:lnTo>
                    <a:pt x="0" y="2440"/>
                  </a:lnTo>
                  <a:lnTo>
                    <a:pt x="0" y="2440"/>
                  </a:lnTo>
                  <a:lnTo>
                    <a:pt x="2" y="2502"/>
                  </a:lnTo>
                  <a:lnTo>
                    <a:pt x="4" y="2566"/>
                  </a:lnTo>
                  <a:lnTo>
                    <a:pt x="8" y="2628"/>
                  </a:lnTo>
                  <a:lnTo>
                    <a:pt x="14" y="2688"/>
                  </a:lnTo>
                  <a:lnTo>
                    <a:pt x="20" y="2750"/>
                  </a:lnTo>
                  <a:lnTo>
                    <a:pt x="28" y="2810"/>
                  </a:lnTo>
                  <a:lnTo>
                    <a:pt x="38" y="2872"/>
                  </a:lnTo>
                  <a:lnTo>
                    <a:pt x="50" y="2930"/>
                  </a:lnTo>
                  <a:lnTo>
                    <a:pt x="64" y="2990"/>
                  </a:lnTo>
                  <a:lnTo>
                    <a:pt x="78" y="3048"/>
                  </a:lnTo>
                  <a:lnTo>
                    <a:pt x="94" y="3106"/>
                  </a:lnTo>
                  <a:lnTo>
                    <a:pt x="110" y="3164"/>
                  </a:lnTo>
                  <a:lnTo>
                    <a:pt x="128" y="3222"/>
                  </a:lnTo>
                  <a:lnTo>
                    <a:pt x="148" y="3278"/>
                  </a:lnTo>
                  <a:lnTo>
                    <a:pt x="170" y="3334"/>
                  </a:lnTo>
                  <a:lnTo>
                    <a:pt x="192" y="3388"/>
                  </a:lnTo>
                  <a:lnTo>
                    <a:pt x="216" y="3442"/>
                  </a:lnTo>
                  <a:lnTo>
                    <a:pt x="242" y="3496"/>
                  </a:lnTo>
                  <a:lnTo>
                    <a:pt x="268" y="3550"/>
                  </a:lnTo>
                  <a:lnTo>
                    <a:pt x="296" y="3602"/>
                  </a:lnTo>
                  <a:lnTo>
                    <a:pt x="324" y="3652"/>
                  </a:lnTo>
                  <a:lnTo>
                    <a:pt x="354" y="3704"/>
                  </a:lnTo>
                  <a:lnTo>
                    <a:pt x="386" y="3754"/>
                  </a:lnTo>
                  <a:lnTo>
                    <a:pt x="418" y="3802"/>
                  </a:lnTo>
                  <a:lnTo>
                    <a:pt x="452" y="3850"/>
                  </a:lnTo>
                  <a:lnTo>
                    <a:pt x="486" y="3898"/>
                  </a:lnTo>
                  <a:lnTo>
                    <a:pt x="522" y="3944"/>
                  </a:lnTo>
                  <a:lnTo>
                    <a:pt x="558" y="3990"/>
                  </a:lnTo>
                  <a:lnTo>
                    <a:pt x="596" y="4036"/>
                  </a:lnTo>
                  <a:lnTo>
                    <a:pt x="634" y="4078"/>
                  </a:lnTo>
                  <a:lnTo>
                    <a:pt x="674" y="4122"/>
                  </a:lnTo>
                  <a:lnTo>
                    <a:pt x="716" y="4164"/>
                  </a:lnTo>
                  <a:lnTo>
                    <a:pt x="758" y="4204"/>
                  </a:lnTo>
                  <a:lnTo>
                    <a:pt x="800" y="4244"/>
                  </a:lnTo>
                  <a:lnTo>
                    <a:pt x="844" y="4284"/>
                  </a:lnTo>
                  <a:lnTo>
                    <a:pt x="890" y="4322"/>
                  </a:lnTo>
                  <a:lnTo>
                    <a:pt x="934" y="4358"/>
                  </a:lnTo>
                  <a:lnTo>
                    <a:pt x="982" y="4394"/>
                  </a:lnTo>
                  <a:lnTo>
                    <a:pt x="1028" y="4428"/>
                  </a:lnTo>
                  <a:lnTo>
                    <a:pt x="1076" y="4462"/>
                  </a:lnTo>
                  <a:lnTo>
                    <a:pt x="1126" y="4494"/>
                  </a:lnTo>
                  <a:lnTo>
                    <a:pt x="1176" y="4526"/>
                  </a:lnTo>
                  <a:lnTo>
                    <a:pt x="1226" y="4556"/>
                  </a:lnTo>
                  <a:lnTo>
                    <a:pt x="1278" y="4584"/>
                  </a:lnTo>
                  <a:lnTo>
                    <a:pt x="1330" y="4612"/>
                  </a:lnTo>
                  <a:lnTo>
                    <a:pt x="1384" y="4638"/>
                  </a:lnTo>
                  <a:lnTo>
                    <a:pt x="1436" y="4664"/>
                  </a:lnTo>
                  <a:lnTo>
                    <a:pt x="1492" y="4686"/>
                  </a:lnTo>
                  <a:lnTo>
                    <a:pt x="1546" y="4710"/>
                  </a:lnTo>
                  <a:lnTo>
                    <a:pt x="1602" y="4730"/>
                  </a:lnTo>
                  <a:lnTo>
                    <a:pt x="1658" y="4750"/>
                  </a:lnTo>
                  <a:lnTo>
                    <a:pt x="1716" y="4770"/>
                  </a:lnTo>
                  <a:lnTo>
                    <a:pt x="1772" y="4786"/>
                  </a:lnTo>
                  <a:lnTo>
                    <a:pt x="1830" y="4802"/>
                  </a:lnTo>
                  <a:lnTo>
                    <a:pt x="1890" y="4816"/>
                  </a:lnTo>
                  <a:lnTo>
                    <a:pt x="1948" y="4830"/>
                  </a:lnTo>
                  <a:lnTo>
                    <a:pt x="2008" y="4840"/>
                  </a:lnTo>
                  <a:lnTo>
                    <a:pt x="2068" y="4850"/>
                  </a:lnTo>
                  <a:lnTo>
                    <a:pt x="2130" y="4860"/>
                  </a:lnTo>
                  <a:lnTo>
                    <a:pt x="2190" y="4866"/>
                  </a:lnTo>
                  <a:lnTo>
                    <a:pt x="2252" y="4872"/>
                  </a:lnTo>
                  <a:lnTo>
                    <a:pt x="2314" y="4876"/>
                  </a:lnTo>
                  <a:lnTo>
                    <a:pt x="2376" y="4878"/>
                  </a:lnTo>
                  <a:lnTo>
                    <a:pt x="2441" y="4878"/>
                  </a:lnTo>
                  <a:lnTo>
                    <a:pt x="2441" y="4878"/>
                  </a:lnTo>
                  <a:close/>
                  <a:moveTo>
                    <a:pt x="716" y="3730"/>
                  </a:moveTo>
                  <a:lnTo>
                    <a:pt x="1206" y="3730"/>
                  </a:lnTo>
                  <a:lnTo>
                    <a:pt x="1206" y="3730"/>
                  </a:lnTo>
                  <a:lnTo>
                    <a:pt x="1244" y="3830"/>
                  </a:lnTo>
                  <a:lnTo>
                    <a:pt x="1284" y="3924"/>
                  </a:lnTo>
                  <a:lnTo>
                    <a:pt x="1328" y="4016"/>
                  </a:lnTo>
                  <a:lnTo>
                    <a:pt x="1374" y="4104"/>
                  </a:lnTo>
                  <a:lnTo>
                    <a:pt x="1422" y="4188"/>
                  </a:lnTo>
                  <a:lnTo>
                    <a:pt x="1472" y="4268"/>
                  </a:lnTo>
                  <a:lnTo>
                    <a:pt x="1526" y="4344"/>
                  </a:lnTo>
                  <a:lnTo>
                    <a:pt x="1580" y="4416"/>
                  </a:lnTo>
                  <a:lnTo>
                    <a:pt x="1580" y="4416"/>
                  </a:lnTo>
                  <a:lnTo>
                    <a:pt x="1516" y="4386"/>
                  </a:lnTo>
                  <a:lnTo>
                    <a:pt x="1454" y="4354"/>
                  </a:lnTo>
                  <a:lnTo>
                    <a:pt x="1392" y="4322"/>
                  </a:lnTo>
                  <a:lnTo>
                    <a:pt x="1332" y="4286"/>
                  </a:lnTo>
                  <a:lnTo>
                    <a:pt x="1272" y="4250"/>
                  </a:lnTo>
                  <a:lnTo>
                    <a:pt x="1214" y="4210"/>
                  </a:lnTo>
                  <a:lnTo>
                    <a:pt x="1158" y="4170"/>
                  </a:lnTo>
                  <a:lnTo>
                    <a:pt x="1102" y="4128"/>
                  </a:lnTo>
                  <a:lnTo>
                    <a:pt x="1048" y="4084"/>
                  </a:lnTo>
                  <a:lnTo>
                    <a:pt x="996" y="4038"/>
                  </a:lnTo>
                  <a:lnTo>
                    <a:pt x="946" y="3990"/>
                  </a:lnTo>
                  <a:lnTo>
                    <a:pt x="896" y="3942"/>
                  </a:lnTo>
                  <a:lnTo>
                    <a:pt x="848" y="3892"/>
                  </a:lnTo>
                  <a:lnTo>
                    <a:pt x="802" y="3840"/>
                  </a:lnTo>
                  <a:lnTo>
                    <a:pt x="758" y="3786"/>
                  </a:lnTo>
                  <a:lnTo>
                    <a:pt x="716" y="3730"/>
                  </a:lnTo>
                  <a:lnTo>
                    <a:pt x="716" y="3730"/>
                  </a:lnTo>
                  <a:close/>
                  <a:moveTo>
                    <a:pt x="852" y="1434"/>
                  </a:moveTo>
                  <a:lnTo>
                    <a:pt x="852" y="1434"/>
                  </a:lnTo>
                  <a:lnTo>
                    <a:pt x="864" y="1480"/>
                  </a:lnTo>
                  <a:lnTo>
                    <a:pt x="880" y="1526"/>
                  </a:lnTo>
                  <a:lnTo>
                    <a:pt x="900" y="1568"/>
                  </a:lnTo>
                  <a:lnTo>
                    <a:pt x="924" y="1608"/>
                  </a:lnTo>
                  <a:lnTo>
                    <a:pt x="952" y="1648"/>
                  </a:lnTo>
                  <a:lnTo>
                    <a:pt x="982" y="1682"/>
                  </a:lnTo>
                  <a:lnTo>
                    <a:pt x="1016" y="1716"/>
                  </a:lnTo>
                  <a:lnTo>
                    <a:pt x="1052" y="1746"/>
                  </a:lnTo>
                  <a:lnTo>
                    <a:pt x="1052" y="1746"/>
                  </a:lnTo>
                  <a:lnTo>
                    <a:pt x="1040" y="1812"/>
                  </a:lnTo>
                  <a:lnTo>
                    <a:pt x="1030" y="1880"/>
                  </a:lnTo>
                  <a:lnTo>
                    <a:pt x="1014" y="2018"/>
                  </a:lnTo>
                  <a:lnTo>
                    <a:pt x="1002" y="2158"/>
                  </a:lnTo>
                  <a:lnTo>
                    <a:pt x="998" y="2228"/>
                  </a:lnTo>
                  <a:lnTo>
                    <a:pt x="996" y="2298"/>
                  </a:lnTo>
                  <a:lnTo>
                    <a:pt x="290" y="2298"/>
                  </a:lnTo>
                  <a:lnTo>
                    <a:pt x="290" y="2298"/>
                  </a:lnTo>
                  <a:lnTo>
                    <a:pt x="294" y="2240"/>
                  </a:lnTo>
                  <a:lnTo>
                    <a:pt x="302" y="2182"/>
                  </a:lnTo>
                  <a:lnTo>
                    <a:pt x="308" y="2124"/>
                  </a:lnTo>
                  <a:lnTo>
                    <a:pt x="318" y="2068"/>
                  </a:lnTo>
                  <a:lnTo>
                    <a:pt x="328" y="2012"/>
                  </a:lnTo>
                  <a:lnTo>
                    <a:pt x="340" y="1956"/>
                  </a:lnTo>
                  <a:lnTo>
                    <a:pt x="354" y="1902"/>
                  </a:lnTo>
                  <a:lnTo>
                    <a:pt x="368" y="1848"/>
                  </a:lnTo>
                  <a:lnTo>
                    <a:pt x="384" y="1794"/>
                  </a:lnTo>
                  <a:lnTo>
                    <a:pt x="402" y="1740"/>
                  </a:lnTo>
                  <a:lnTo>
                    <a:pt x="422" y="1688"/>
                  </a:lnTo>
                  <a:lnTo>
                    <a:pt x="442" y="1636"/>
                  </a:lnTo>
                  <a:lnTo>
                    <a:pt x="464" y="1584"/>
                  </a:lnTo>
                  <a:lnTo>
                    <a:pt x="486" y="1534"/>
                  </a:lnTo>
                  <a:lnTo>
                    <a:pt x="510" y="1484"/>
                  </a:lnTo>
                  <a:lnTo>
                    <a:pt x="536" y="1434"/>
                  </a:lnTo>
                  <a:lnTo>
                    <a:pt x="852" y="1434"/>
                  </a:lnTo>
                  <a:close/>
                  <a:moveTo>
                    <a:pt x="4589" y="2298"/>
                  </a:moveTo>
                  <a:lnTo>
                    <a:pt x="4253" y="2298"/>
                  </a:lnTo>
                  <a:lnTo>
                    <a:pt x="4253" y="2298"/>
                  </a:lnTo>
                  <a:lnTo>
                    <a:pt x="4241" y="2266"/>
                  </a:lnTo>
                  <a:lnTo>
                    <a:pt x="4225" y="2236"/>
                  </a:lnTo>
                  <a:lnTo>
                    <a:pt x="4209" y="2206"/>
                  </a:lnTo>
                  <a:lnTo>
                    <a:pt x="4191" y="2178"/>
                  </a:lnTo>
                  <a:lnTo>
                    <a:pt x="4171" y="2152"/>
                  </a:lnTo>
                  <a:lnTo>
                    <a:pt x="4149" y="2126"/>
                  </a:lnTo>
                  <a:lnTo>
                    <a:pt x="4125" y="2102"/>
                  </a:lnTo>
                  <a:lnTo>
                    <a:pt x="4101" y="2080"/>
                  </a:lnTo>
                  <a:lnTo>
                    <a:pt x="4075" y="2058"/>
                  </a:lnTo>
                  <a:lnTo>
                    <a:pt x="4049" y="2040"/>
                  </a:lnTo>
                  <a:lnTo>
                    <a:pt x="4019" y="2022"/>
                  </a:lnTo>
                  <a:lnTo>
                    <a:pt x="3989" y="2006"/>
                  </a:lnTo>
                  <a:lnTo>
                    <a:pt x="3959" y="1992"/>
                  </a:lnTo>
                  <a:lnTo>
                    <a:pt x="3927" y="1980"/>
                  </a:lnTo>
                  <a:lnTo>
                    <a:pt x="3895" y="1970"/>
                  </a:lnTo>
                  <a:lnTo>
                    <a:pt x="3861" y="1962"/>
                  </a:lnTo>
                  <a:lnTo>
                    <a:pt x="3861" y="1962"/>
                  </a:lnTo>
                  <a:lnTo>
                    <a:pt x="3853" y="1894"/>
                  </a:lnTo>
                  <a:lnTo>
                    <a:pt x="3843" y="1824"/>
                  </a:lnTo>
                  <a:lnTo>
                    <a:pt x="3831" y="1758"/>
                  </a:lnTo>
                  <a:lnTo>
                    <a:pt x="3819" y="1690"/>
                  </a:lnTo>
                  <a:lnTo>
                    <a:pt x="3807" y="1626"/>
                  </a:lnTo>
                  <a:lnTo>
                    <a:pt x="3793" y="1560"/>
                  </a:lnTo>
                  <a:lnTo>
                    <a:pt x="3779" y="1496"/>
                  </a:lnTo>
                  <a:lnTo>
                    <a:pt x="3763" y="1434"/>
                  </a:lnTo>
                  <a:lnTo>
                    <a:pt x="4345" y="1434"/>
                  </a:lnTo>
                  <a:lnTo>
                    <a:pt x="4345" y="1434"/>
                  </a:lnTo>
                  <a:lnTo>
                    <a:pt x="4371" y="1484"/>
                  </a:lnTo>
                  <a:lnTo>
                    <a:pt x="4395" y="1534"/>
                  </a:lnTo>
                  <a:lnTo>
                    <a:pt x="4417" y="1584"/>
                  </a:lnTo>
                  <a:lnTo>
                    <a:pt x="4439" y="1636"/>
                  </a:lnTo>
                  <a:lnTo>
                    <a:pt x="4459" y="1688"/>
                  </a:lnTo>
                  <a:lnTo>
                    <a:pt x="4477" y="1740"/>
                  </a:lnTo>
                  <a:lnTo>
                    <a:pt x="4495" y="1794"/>
                  </a:lnTo>
                  <a:lnTo>
                    <a:pt x="4511" y="1848"/>
                  </a:lnTo>
                  <a:lnTo>
                    <a:pt x="4527" y="1902"/>
                  </a:lnTo>
                  <a:lnTo>
                    <a:pt x="4539" y="1956"/>
                  </a:lnTo>
                  <a:lnTo>
                    <a:pt x="4551" y="2012"/>
                  </a:lnTo>
                  <a:lnTo>
                    <a:pt x="4563" y="2068"/>
                  </a:lnTo>
                  <a:lnTo>
                    <a:pt x="4571" y="2124"/>
                  </a:lnTo>
                  <a:lnTo>
                    <a:pt x="4579" y="2182"/>
                  </a:lnTo>
                  <a:lnTo>
                    <a:pt x="4585" y="2240"/>
                  </a:lnTo>
                  <a:lnTo>
                    <a:pt x="4589" y="2298"/>
                  </a:lnTo>
                  <a:lnTo>
                    <a:pt x="4589" y="2298"/>
                  </a:lnTo>
                  <a:close/>
                  <a:moveTo>
                    <a:pt x="1884" y="1434"/>
                  </a:moveTo>
                  <a:lnTo>
                    <a:pt x="2298" y="1434"/>
                  </a:lnTo>
                  <a:lnTo>
                    <a:pt x="2298" y="2298"/>
                  </a:lnTo>
                  <a:lnTo>
                    <a:pt x="1280" y="2298"/>
                  </a:lnTo>
                  <a:lnTo>
                    <a:pt x="1280" y="2298"/>
                  </a:lnTo>
                  <a:lnTo>
                    <a:pt x="1286" y="2184"/>
                  </a:lnTo>
                  <a:lnTo>
                    <a:pt x="1294" y="2070"/>
                  </a:lnTo>
                  <a:lnTo>
                    <a:pt x="1308" y="1960"/>
                  </a:lnTo>
                  <a:lnTo>
                    <a:pt x="1322" y="1850"/>
                  </a:lnTo>
                  <a:lnTo>
                    <a:pt x="1322" y="1850"/>
                  </a:lnTo>
                  <a:lnTo>
                    <a:pt x="1368" y="1852"/>
                  </a:lnTo>
                  <a:lnTo>
                    <a:pt x="1368" y="1852"/>
                  </a:lnTo>
                  <a:lnTo>
                    <a:pt x="1414" y="1850"/>
                  </a:lnTo>
                  <a:lnTo>
                    <a:pt x="1460" y="1844"/>
                  </a:lnTo>
                  <a:lnTo>
                    <a:pt x="1504" y="1834"/>
                  </a:lnTo>
                  <a:lnTo>
                    <a:pt x="1548" y="1820"/>
                  </a:lnTo>
                  <a:lnTo>
                    <a:pt x="1590" y="1802"/>
                  </a:lnTo>
                  <a:lnTo>
                    <a:pt x="1628" y="1782"/>
                  </a:lnTo>
                  <a:lnTo>
                    <a:pt x="1666" y="1758"/>
                  </a:lnTo>
                  <a:lnTo>
                    <a:pt x="1702" y="1732"/>
                  </a:lnTo>
                  <a:lnTo>
                    <a:pt x="1734" y="1702"/>
                  </a:lnTo>
                  <a:lnTo>
                    <a:pt x="1764" y="1670"/>
                  </a:lnTo>
                  <a:lnTo>
                    <a:pt x="1792" y="1636"/>
                  </a:lnTo>
                  <a:lnTo>
                    <a:pt x="1818" y="1600"/>
                  </a:lnTo>
                  <a:lnTo>
                    <a:pt x="1838" y="1560"/>
                  </a:lnTo>
                  <a:lnTo>
                    <a:pt x="1858" y="1520"/>
                  </a:lnTo>
                  <a:lnTo>
                    <a:pt x="1872" y="1478"/>
                  </a:lnTo>
                  <a:lnTo>
                    <a:pt x="1884" y="1434"/>
                  </a:lnTo>
                  <a:lnTo>
                    <a:pt x="1884" y="1434"/>
                  </a:lnTo>
                  <a:close/>
                  <a:moveTo>
                    <a:pt x="2298" y="2582"/>
                  </a:moveTo>
                  <a:lnTo>
                    <a:pt x="2298" y="3054"/>
                  </a:lnTo>
                  <a:lnTo>
                    <a:pt x="2298" y="3054"/>
                  </a:lnTo>
                  <a:lnTo>
                    <a:pt x="2264" y="3064"/>
                  </a:lnTo>
                  <a:lnTo>
                    <a:pt x="2230" y="3078"/>
                  </a:lnTo>
                  <a:lnTo>
                    <a:pt x="2200" y="3094"/>
                  </a:lnTo>
                  <a:lnTo>
                    <a:pt x="2168" y="3112"/>
                  </a:lnTo>
                  <a:lnTo>
                    <a:pt x="2140" y="3130"/>
                  </a:lnTo>
                  <a:lnTo>
                    <a:pt x="2112" y="3152"/>
                  </a:lnTo>
                  <a:lnTo>
                    <a:pt x="2086" y="3174"/>
                  </a:lnTo>
                  <a:lnTo>
                    <a:pt x="2062" y="3200"/>
                  </a:lnTo>
                  <a:lnTo>
                    <a:pt x="2038" y="3226"/>
                  </a:lnTo>
                  <a:lnTo>
                    <a:pt x="2018" y="3254"/>
                  </a:lnTo>
                  <a:lnTo>
                    <a:pt x="1998" y="3282"/>
                  </a:lnTo>
                  <a:lnTo>
                    <a:pt x="1980" y="3312"/>
                  </a:lnTo>
                  <a:lnTo>
                    <a:pt x="1966" y="3344"/>
                  </a:lnTo>
                  <a:lnTo>
                    <a:pt x="1952" y="3378"/>
                  </a:lnTo>
                  <a:lnTo>
                    <a:pt x="1940" y="3412"/>
                  </a:lnTo>
                  <a:lnTo>
                    <a:pt x="1932" y="3446"/>
                  </a:lnTo>
                  <a:lnTo>
                    <a:pt x="1416" y="3446"/>
                  </a:lnTo>
                  <a:lnTo>
                    <a:pt x="1416" y="3446"/>
                  </a:lnTo>
                  <a:lnTo>
                    <a:pt x="1388" y="3346"/>
                  </a:lnTo>
                  <a:lnTo>
                    <a:pt x="1364" y="3244"/>
                  </a:lnTo>
                  <a:lnTo>
                    <a:pt x="1342" y="3138"/>
                  </a:lnTo>
                  <a:lnTo>
                    <a:pt x="1324" y="3032"/>
                  </a:lnTo>
                  <a:lnTo>
                    <a:pt x="1308" y="2922"/>
                  </a:lnTo>
                  <a:lnTo>
                    <a:pt x="1296" y="2810"/>
                  </a:lnTo>
                  <a:lnTo>
                    <a:pt x="1286" y="2698"/>
                  </a:lnTo>
                  <a:lnTo>
                    <a:pt x="1280" y="2582"/>
                  </a:lnTo>
                  <a:lnTo>
                    <a:pt x="2298" y="2582"/>
                  </a:lnTo>
                  <a:close/>
                  <a:moveTo>
                    <a:pt x="2447" y="3802"/>
                  </a:moveTo>
                  <a:lnTo>
                    <a:pt x="2447" y="3802"/>
                  </a:lnTo>
                  <a:lnTo>
                    <a:pt x="2422" y="3802"/>
                  </a:lnTo>
                  <a:lnTo>
                    <a:pt x="2398" y="3798"/>
                  </a:lnTo>
                  <a:lnTo>
                    <a:pt x="2374" y="3792"/>
                  </a:lnTo>
                  <a:lnTo>
                    <a:pt x="2352" y="3784"/>
                  </a:lnTo>
                  <a:lnTo>
                    <a:pt x="2332" y="3774"/>
                  </a:lnTo>
                  <a:lnTo>
                    <a:pt x="2312" y="3760"/>
                  </a:lnTo>
                  <a:lnTo>
                    <a:pt x="2292" y="3746"/>
                  </a:lnTo>
                  <a:lnTo>
                    <a:pt x="2276" y="3732"/>
                  </a:lnTo>
                  <a:lnTo>
                    <a:pt x="2260" y="3714"/>
                  </a:lnTo>
                  <a:lnTo>
                    <a:pt x="2246" y="3696"/>
                  </a:lnTo>
                  <a:lnTo>
                    <a:pt x="2234" y="3676"/>
                  </a:lnTo>
                  <a:lnTo>
                    <a:pt x="2222" y="3654"/>
                  </a:lnTo>
                  <a:lnTo>
                    <a:pt x="2214" y="3632"/>
                  </a:lnTo>
                  <a:lnTo>
                    <a:pt x="2208" y="3608"/>
                  </a:lnTo>
                  <a:lnTo>
                    <a:pt x="2206" y="3584"/>
                  </a:lnTo>
                  <a:lnTo>
                    <a:pt x="2204" y="3560"/>
                  </a:lnTo>
                  <a:lnTo>
                    <a:pt x="2204" y="3560"/>
                  </a:lnTo>
                  <a:lnTo>
                    <a:pt x="2206" y="3534"/>
                  </a:lnTo>
                  <a:lnTo>
                    <a:pt x="2208" y="3510"/>
                  </a:lnTo>
                  <a:lnTo>
                    <a:pt x="2214" y="3488"/>
                  </a:lnTo>
                  <a:lnTo>
                    <a:pt x="2222" y="3464"/>
                  </a:lnTo>
                  <a:lnTo>
                    <a:pt x="2234" y="3444"/>
                  </a:lnTo>
                  <a:lnTo>
                    <a:pt x="2246" y="3424"/>
                  </a:lnTo>
                  <a:lnTo>
                    <a:pt x="2260" y="3404"/>
                  </a:lnTo>
                  <a:lnTo>
                    <a:pt x="2276" y="3388"/>
                  </a:lnTo>
                  <a:lnTo>
                    <a:pt x="2292" y="3372"/>
                  </a:lnTo>
                  <a:lnTo>
                    <a:pt x="2312" y="3358"/>
                  </a:lnTo>
                  <a:lnTo>
                    <a:pt x="2332" y="3346"/>
                  </a:lnTo>
                  <a:lnTo>
                    <a:pt x="2352" y="3336"/>
                  </a:lnTo>
                  <a:lnTo>
                    <a:pt x="2374" y="3328"/>
                  </a:lnTo>
                  <a:lnTo>
                    <a:pt x="2398" y="3322"/>
                  </a:lnTo>
                  <a:lnTo>
                    <a:pt x="2422" y="3318"/>
                  </a:lnTo>
                  <a:lnTo>
                    <a:pt x="2447" y="3316"/>
                  </a:lnTo>
                  <a:lnTo>
                    <a:pt x="2447" y="3316"/>
                  </a:lnTo>
                  <a:lnTo>
                    <a:pt x="2473" y="3318"/>
                  </a:lnTo>
                  <a:lnTo>
                    <a:pt x="2497" y="3322"/>
                  </a:lnTo>
                  <a:lnTo>
                    <a:pt x="2521" y="3328"/>
                  </a:lnTo>
                  <a:lnTo>
                    <a:pt x="2543" y="3336"/>
                  </a:lnTo>
                  <a:lnTo>
                    <a:pt x="2563" y="3346"/>
                  </a:lnTo>
                  <a:lnTo>
                    <a:pt x="2583" y="3358"/>
                  </a:lnTo>
                  <a:lnTo>
                    <a:pt x="2603" y="3372"/>
                  </a:lnTo>
                  <a:lnTo>
                    <a:pt x="2619" y="3388"/>
                  </a:lnTo>
                  <a:lnTo>
                    <a:pt x="2635" y="3404"/>
                  </a:lnTo>
                  <a:lnTo>
                    <a:pt x="2649" y="3424"/>
                  </a:lnTo>
                  <a:lnTo>
                    <a:pt x="2661" y="3444"/>
                  </a:lnTo>
                  <a:lnTo>
                    <a:pt x="2673" y="3464"/>
                  </a:lnTo>
                  <a:lnTo>
                    <a:pt x="2681" y="3488"/>
                  </a:lnTo>
                  <a:lnTo>
                    <a:pt x="2687" y="3510"/>
                  </a:lnTo>
                  <a:lnTo>
                    <a:pt x="2689" y="3534"/>
                  </a:lnTo>
                  <a:lnTo>
                    <a:pt x="2691" y="3560"/>
                  </a:lnTo>
                  <a:lnTo>
                    <a:pt x="2691" y="3560"/>
                  </a:lnTo>
                  <a:lnTo>
                    <a:pt x="2689" y="3584"/>
                  </a:lnTo>
                  <a:lnTo>
                    <a:pt x="2687" y="3608"/>
                  </a:lnTo>
                  <a:lnTo>
                    <a:pt x="2681" y="3632"/>
                  </a:lnTo>
                  <a:lnTo>
                    <a:pt x="2673" y="3654"/>
                  </a:lnTo>
                  <a:lnTo>
                    <a:pt x="2661" y="3676"/>
                  </a:lnTo>
                  <a:lnTo>
                    <a:pt x="2649" y="3696"/>
                  </a:lnTo>
                  <a:lnTo>
                    <a:pt x="2635" y="3714"/>
                  </a:lnTo>
                  <a:lnTo>
                    <a:pt x="2619" y="3732"/>
                  </a:lnTo>
                  <a:lnTo>
                    <a:pt x="2603" y="3746"/>
                  </a:lnTo>
                  <a:lnTo>
                    <a:pt x="2583" y="3760"/>
                  </a:lnTo>
                  <a:lnTo>
                    <a:pt x="2563" y="3774"/>
                  </a:lnTo>
                  <a:lnTo>
                    <a:pt x="2543" y="3784"/>
                  </a:lnTo>
                  <a:lnTo>
                    <a:pt x="2521" y="3792"/>
                  </a:lnTo>
                  <a:lnTo>
                    <a:pt x="2497" y="3798"/>
                  </a:lnTo>
                  <a:lnTo>
                    <a:pt x="2473" y="3802"/>
                  </a:lnTo>
                  <a:lnTo>
                    <a:pt x="2447" y="3802"/>
                  </a:lnTo>
                  <a:lnTo>
                    <a:pt x="2447" y="3802"/>
                  </a:lnTo>
                  <a:close/>
                  <a:moveTo>
                    <a:pt x="1948" y="3730"/>
                  </a:moveTo>
                  <a:lnTo>
                    <a:pt x="1948" y="3730"/>
                  </a:lnTo>
                  <a:lnTo>
                    <a:pt x="1960" y="3760"/>
                  </a:lnTo>
                  <a:lnTo>
                    <a:pt x="1972" y="3788"/>
                  </a:lnTo>
                  <a:lnTo>
                    <a:pt x="1988" y="3816"/>
                  </a:lnTo>
                  <a:lnTo>
                    <a:pt x="2004" y="3844"/>
                  </a:lnTo>
                  <a:lnTo>
                    <a:pt x="2020" y="3870"/>
                  </a:lnTo>
                  <a:lnTo>
                    <a:pt x="2040" y="3894"/>
                  </a:lnTo>
                  <a:lnTo>
                    <a:pt x="2060" y="3918"/>
                  </a:lnTo>
                  <a:lnTo>
                    <a:pt x="2082" y="3940"/>
                  </a:lnTo>
                  <a:lnTo>
                    <a:pt x="2106" y="3960"/>
                  </a:lnTo>
                  <a:lnTo>
                    <a:pt x="2130" y="3980"/>
                  </a:lnTo>
                  <a:lnTo>
                    <a:pt x="2156" y="3998"/>
                  </a:lnTo>
                  <a:lnTo>
                    <a:pt x="2182" y="4014"/>
                  </a:lnTo>
                  <a:lnTo>
                    <a:pt x="2210" y="4030"/>
                  </a:lnTo>
                  <a:lnTo>
                    <a:pt x="2238" y="4044"/>
                  </a:lnTo>
                  <a:lnTo>
                    <a:pt x="2268" y="4056"/>
                  </a:lnTo>
                  <a:lnTo>
                    <a:pt x="2298" y="4066"/>
                  </a:lnTo>
                  <a:lnTo>
                    <a:pt x="2298" y="4576"/>
                  </a:lnTo>
                  <a:lnTo>
                    <a:pt x="2298" y="4576"/>
                  </a:lnTo>
                  <a:lnTo>
                    <a:pt x="2268" y="4570"/>
                  </a:lnTo>
                  <a:lnTo>
                    <a:pt x="2238" y="4560"/>
                  </a:lnTo>
                  <a:lnTo>
                    <a:pt x="2210" y="4550"/>
                  </a:lnTo>
                  <a:lnTo>
                    <a:pt x="2182" y="4538"/>
                  </a:lnTo>
                  <a:lnTo>
                    <a:pt x="2152" y="4524"/>
                  </a:lnTo>
                  <a:lnTo>
                    <a:pt x="2124" y="4510"/>
                  </a:lnTo>
                  <a:lnTo>
                    <a:pt x="2096" y="4494"/>
                  </a:lnTo>
                  <a:lnTo>
                    <a:pt x="2068" y="4476"/>
                  </a:lnTo>
                  <a:lnTo>
                    <a:pt x="2014" y="4438"/>
                  </a:lnTo>
                  <a:lnTo>
                    <a:pt x="1962" y="4396"/>
                  </a:lnTo>
                  <a:lnTo>
                    <a:pt x="1910" y="4348"/>
                  </a:lnTo>
                  <a:lnTo>
                    <a:pt x="1858" y="4296"/>
                  </a:lnTo>
                  <a:lnTo>
                    <a:pt x="1810" y="4238"/>
                  </a:lnTo>
                  <a:lnTo>
                    <a:pt x="1762" y="4178"/>
                  </a:lnTo>
                  <a:lnTo>
                    <a:pt x="1716" y="4112"/>
                  </a:lnTo>
                  <a:lnTo>
                    <a:pt x="1672" y="4044"/>
                  </a:lnTo>
                  <a:lnTo>
                    <a:pt x="1630" y="3970"/>
                  </a:lnTo>
                  <a:lnTo>
                    <a:pt x="1590" y="3894"/>
                  </a:lnTo>
                  <a:lnTo>
                    <a:pt x="1552" y="3814"/>
                  </a:lnTo>
                  <a:lnTo>
                    <a:pt x="1516" y="3730"/>
                  </a:lnTo>
                  <a:lnTo>
                    <a:pt x="1948" y="3730"/>
                  </a:lnTo>
                  <a:close/>
                  <a:moveTo>
                    <a:pt x="2583" y="4576"/>
                  </a:moveTo>
                  <a:lnTo>
                    <a:pt x="2583" y="4068"/>
                  </a:lnTo>
                  <a:lnTo>
                    <a:pt x="2583" y="4068"/>
                  </a:lnTo>
                  <a:lnTo>
                    <a:pt x="2615" y="4060"/>
                  </a:lnTo>
                  <a:lnTo>
                    <a:pt x="2645" y="4048"/>
                  </a:lnTo>
                  <a:lnTo>
                    <a:pt x="2675" y="4036"/>
                  </a:lnTo>
                  <a:lnTo>
                    <a:pt x="2703" y="4020"/>
                  </a:lnTo>
                  <a:lnTo>
                    <a:pt x="2731" y="4004"/>
                  </a:lnTo>
                  <a:lnTo>
                    <a:pt x="2757" y="3986"/>
                  </a:lnTo>
                  <a:lnTo>
                    <a:pt x="2783" y="3966"/>
                  </a:lnTo>
                  <a:lnTo>
                    <a:pt x="2807" y="3944"/>
                  </a:lnTo>
                  <a:lnTo>
                    <a:pt x="2831" y="3922"/>
                  </a:lnTo>
                  <a:lnTo>
                    <a:pt x="2851" y="3898"/>
                  </a:lnTo>
                  <a:lnTo>
                    <a:pt x="2871" y="3874"/>
                  </a:lnTo>
                  <a:lnTo>
                    <a:pt x="2889" y="3846"/>
                  </a:lnTo>
                  <a:lnTo>
                    <a:pt x="2907" y="3820"/>
                  </a:lnTo>
                  <a:lnTo>
                    <a:pt x="2921" y="3790"/>
                  </a:lnTo>
                  <a:lnTo>
                    <a:pt x="2935" y="3762"/>
                  </a:lnTo>
                  <a:lnTo>
                    <a:pt x="2947" y="3730"/>
                  </a:lnTo>
                  <a:lnTo>
                    <a:pt x="3365" y="3730"/>
                  </a:lnTo>
                  <a:lnTo>
                    <a:pt x="3365" y="3730"/>
                  </a:lnTo>
                  <a:lnTo>
                    <a:pt x="3329" y="3814"/>
                  </a:lnTo>
                  <a:lnTo>
                    <a:pt x="3289" y="3894"/>
                  </a:lnTo>
                  <a:lnTo>
                    <a:pt x="3249" y="3972"/>
                  </a:lnTo>
                  <a:lnTo>
                    <a:pt x="3207" y="4044"/>
                  </a:lnTo>
                  <a:lnTo>
                    <a:pt x="3163" y="4114"/>
                  </a:lnTo>
                  <a:lnTo>
                    <a:pt x="3117" y="4178"/>
                  </a:lnTo>
                  <a:lnTo>
                    <a:pt x="3069" y="4238"/>
                  </a:lnTo>
                  <a:lnTo>
                    <a:pt x="3019" y="4296"/>
                  </a:lnTo>
                  <a:lnTo>
                    <a:pt x="2969" y="4348"/>
                  </a:lnTo>
                  <a:lnTo>
                    <a:pt x="2917" y="4394"/>
                  </a:lnTo>
                  <a:lnTo>
                    <a:pt x="2863" y="4438"/>
                  </a:lnTo>
                  <a:lnTo>
                    <a:pt x="2809" y="4476"/>
                  </a:lnTo>
                  <a:lnTo>
                    <a:pt x="2783" y="4492"/>
                  </a:lnTo>
                  <a:lnTo>
                    <a:pt x="2755" y="4508"/>
                  </a:lnTo>
                  <a:lnTo>
                    <a:pt x="2727" y="4522"/>
                  </a:lnTo>
                  <a:lnTo>
                    <a:pt x="2697" y="4536"/>
                  </a:lnTo>
                  <a:lnTo>
                    <a:pt x="2669" y="4548"/>
                  </a:lnTo>
                  <a:lnTo>
                    <a:pt x="2641" y="4558"/>
                  </a:lnTo>
                  <a:lnTo>
                    <a:pt x="2611" y="4568"/>
                  </a:lnTo>
                  <a:lnTo>
                    <a:pt x="2583" y="4576"/>
                  </a:lnTo>
                  <a:lnTo>
                    <a:pt x="2583" y="4576"/>
                  </a:lnTo>
                  <a:close/>
                  <a:moveTo>
                    <a:pt x="2963" y="3446"/>
                  </a:moveTo>
                  <a:lnTo>
                    <a:pt x="2963" y="3446"/>
                  </a:lnTo>
                  <a:lnTo>
                    <a:pt x="2953" y="3410"/>
                  </a:lnTo>
                  <a:lnTo>
                    <a:pt x="2943" y="3376"/>
                  </a:lnTo>
                  <a:lnTo>
                    <a:pt x="2929" y="3342"/>
                  </a:lnTo>
                  <a:lnTo>
                    <a:pt x="2913" y="3310"/>
                  </a:lnTo>
                  <a:lnTo>
                    <a:pt x="2895" y="3278"/>
                  </a:lnTo>
                  <a:lnTo>
                    <a:pt x="2875" y="3250"/>
                  </a:lnTo>
                  <a:lnTo>
                    <a:pt x="2853" y="3220"/>
                  </a:lnTo>
                  <a:lnTo>
                    <a:pt x="2829" y="3194"/>
                  </a:lnTo>
                  <a:lnTo>
                    <a:pt x="2803" y="3170"/>
                  </a:lnTo>
                  <a:lnTo>
                    <a:pt x="2775" y="3146"/>
                  </a:lnTo>
                  <a:lnTo>
                    <a:pt x="2747" y="3126"/>
                  </a:lnTo>
                  <a:lnTo>
                    <a:pt x="2717" y="3106"/>
                  </a:lnTo>
                  <a:lnTo>
                    <a:pt x="2685" y="3088"/>
                  </a:lnTo>
                  <a:lnTo>
                    <a:pt x="2651" y="3074"/>
                  </a:lnTo>
                  <a:lnTo>
                    <a:pt x="2617" y="3060"/>
                  </a:lnTo>
                  <a:lnTo>
                    <a:pt x="2583" y="3050"/>
                  </a:lnTo>
                  <a:lnTo>
                    <a:pt x="2583" y="2582"/>
                  </a:lnTo>
                  <a:lnTo>
                    <a:pt x="3241" y="2582"/>
                  </a:lnTo>
                  <a:lnTo>
                    <a:pt x="3241" y="2582"/>
                  </a:lnTo>
                  <a:lnTo>
                    <a:pt x="3249" y="2616"/>
                  </a:lnTo>
                  <a:lnTo>
                    <a:pt x="3259" y="2648"/>
                  </a:lnTo>
                  <a:lnTo>
                    <a:pt x="3269" y="2678"/>
                  </a:lnTo>
                  <a:lnTo>
                    <a:pt x="3283" y="2708"/>
                  </a:lnTo>
                  <a:lnTo>
                    <a:pt x="3299" y="2738"/>
                  </a:lnTo>
                  <a:lnTo>
                    <a:pt x="3315" y="2766"/>
                  </a:lnTo>
                  <a:lnTo>
                    <a:pt x="3335" y="2794"/>
                  </a:lnTo>
                  <a:lnTo>
                    <a:pt x="3355" y="2818"/>
                  </a:lnTo>
                  <a:lnTo>
                    <a:pt x="3377" y="2844"/>
                  </a:lnTo>
                  <a:lnTo>
                    <a:pt x="3399" y="2866"/>
                  </a:lnTo>
                  <a:lnTo>
                    <a:pt x="3425" y="2888"/>
                  </a:lnTo>
                  <a:lnTo>
                    <a:pt x="3451" y="2908"/>
                  </a:lnTo>
                  <a:lnTo>
                    <a:pt x="3477" y="2926"/>
                  </a:lnTo>
                  <a:lnTo>
                    <a:pt x="3505" y="2942"/>
                  </a:lnTo>
                  <a:lnTo>
                    <a:pt x="3535" y="2958"/>
                  </a:lnTo>
                  <a:lnTo>
                    <a:pt x="3565" y="2970"/>
                  </a:lnTo>
                  <a:lnTo>
                    <a:pt x="3565" y="2970"/>
                  </a:lnTo>
                  <a:lnTo>
                    <a:pt x="3547" y="3094"/>
                  </a:lnTo>
                  <a:lnTo>
                    <a:pt x="3523" y="3216"/>
                  </a:lnTo>
                  <a:lnTo>
                    <a:pt x="3495" y="3332"/>
                  </a:lnTo>
                  <a:lnTo>
                    <a:pt x="3465" y="3446"/>
                  </a:lnTo>
                  <a:lnTo>
                    <a:pt x="2963" y="3446"/>
                  </a:lnTo>
                  <a:close/>
                  <a:moveTo>
                    <a:pt x="3759" y="2236"/>
                  </a:moveTo>
                  <a:lnTo>
                    <a:pt x="3759" y="2236"/>
                  </a:lnTo>
                  <a:lnTo>
                    <a:pt x="3783" y="2238"/>
                  </a:lnTo>
                  <a:lnTo>
                    <a:pt x="3807" y="2242"/>
                  </a:lnTo>
                  <a:lnTo>
                    <a:pt x="3831" y="2248"/>
                  </a:lnTo>
                  <a:lnTo>
                    <a:pt x="3853" y="2256"/>
                  </a:lnTo>
                  <a:lnTo>
                    <a:pt x="3875" y="2266"/>
                  </a:lnTo>
                  <a:lnTo>
                    <a:pt x="3895" y="2278"/>
                  </a:lnTo>
                  <a:lnTo>
                    <a:pt x="3913" y="2292"/>
                  </a:lnTo>
                  <a:lnTo>
                    <a:pt x="3931" y="2308"/>
                  </a:lnTo>
                  <a:lnTo>
                    <a:pt x="3947" y="2326"/>
                  </a:lnTo>
                  <a:lnTo>
                    <a:pt x="3961" y="2344"/>
                  </a:lnTo>
                  <a:lnTo>
                    <a:pt x="3973" y="2364"/>
                  </a:lnTo>
                  <a:lnTo>
                    <a:pt x="3983" y="2386"/>
                  </a:lnTo>
                  <a:lnTo>
                    <a:pt x="3991" y="2408"/>
                  </a:lnTo>
                  <a:lnTo>
                    <a:pt x="3997" y="2432"/>
                  </a:lnTo>
                  <a:lnTo>
                    <a:pt x="4001" y="2456"/>
                  </a:lnTo>
                  <a:lnTo>
                    <a:pt x="4001" y="2480"/>
                  </a:lnTo>
                  <a:lnTo>
                    <a:pt x="4001" y="2480"/>
                  </a:lnTo>
                  <a:lnTo>
                    <a:pt x="4001" y="2504"/>
                  </a:lnTo>
                  <a:lnTo>
                    <a:pt x="3997" y="2528"/>
                  </a:lnTo>
                  <a:lnTo>
                    <a:pt x="3991" y="2552"/>
                  </a:lnTo>
                  <a:lnTo>
                    <a:pt x="3983" y="2574"/>
                  </a:lnTo>
                  <a:lnTo>
                    <a:pt x="3973" y="2596"/>
                  </a:lnTo>
                  <a:lnTo>
                    <a:pt x="3961" y="2616"/>
                  </a:lnTo>
                  <a:lnTo>
                    <a:pt x="3947" y="2634"/>
                  </a:lnTo>
                  <a:lnTo>
                    <a:pt x="3931" y="2652"/>
                  </a:lnTo>
                  <a:lnTo>
                    <a:pt x="3913" y="2668"/>
                  </a:lnTo>
                  <a:lnTo>
                    <a:pt x="3895" y="2682"/>
                  </a:lnTo>
                  <a:lnTo>
                    <a:pt x="3875" y="2694"/>
                  </a:lnTo>
                  <a:lnTo>
                    <a:pt x="3853" y="2704"/>
                  </a:lnTo>
                  <a:lnTo>
                    <a:pt x="3831" y="2712"/>
                  </a:lnTo>
                  <a:lnTo>
                    <a:pt x="3807" y="2718"/>
                  </a:lnTo>
                  <a:lnTo>
                    <a:pt x="3783" y="2722"/>
                  </a:lnTo>
                  <a:lnTo>
                    <a:pt x="3759" y="2724"/>
                  </a:lnTo>
                  <a:lnTo>
                    <a:pt x="3759" y="2724"/>
                  </a:lnTo>
                  <a:lnTo>
                    <a:pt x="3733" y="2722"/>
                  </a:lnTo>
                  <a:lnTo>
                    <a:pt x="3709" y="2718"/>
                  </a:lnTo>
                  <a:lnTo>
                    <a:pt x="3687" y="2712"/>
                  </a:lnTo>
                  <a:lnTo>
                    <a:pt x="3663" y="2704"/>
                  </a:lnTo>
                  <a:lnTo>
                    <a:pt x="3643" y="2694"/>
                  </a:lnTo>
                  <a:lnTo>
                    <a:pt x="3623" y="2682"/>
                  </a:lnTo>
                  <a:lnTo>
                    <a:pt x="3603" y="2668"/>
                  </a:lnTo>
                  <a:lnTo>
                    <a:pt x="3587" y="2652"/>
                  </a:lnTo>
                  <a:lnTo>
                    <a:pt x="3571" y="2634"/>
                  </a:lnTo>
                  <a:lnTo>
                    <a:pt x="3557" y="2616"/>
                  </a:lnTo>
                  <a:lnTo>
                    <a:pt x="3545" y="2596"/>
                  </a:lnTo>
                  <a:lnTo>
                    <a:pt x="3535" y="2574"/>
                  </a:lnTo>
                  <a:lnTo>
                    <a:pt x="3527" y="2552"/>
                  </a:lnTo>
                  <a:lnTo>
                    <a:pt x="3521" y="2528"/>
                  </a:lnTo>
                  <a:lnTo>
                    <a:pt x="3517" y="2504"/>
                  </a:lnTo>
                  <a:lnTo>
                    <a:pt x="3515" y="2480"/>
                  </a:lnTo>
                  <a:lnTo>
                    <a:pt x="3515" y="2480"/>
                  </a:lnTo>
                  <a:lnTo>
                    <a:pt x="3517" y="2456"/>
                  </a:lnTo>
                  <a:lnTo>
                    <a:pt x="3521" y="2432"/>
                  </a:lnTo>
                  <a:lnTo>
                    <a:pt x="3527" y="2408"/>
                  </a:lnTo>
                  <a:lnTo>
                    <a:pt x="3535" y="2386"/>
                  </a:lnTo>
                  <a:lnTo>
                    <a:pt x="3545" y="2364"/>
                  </a:lnTo>
                  <a:lnTo>
                    <a:pt x="3557" y="2344"/>
                  </a:lnTo>
                  <a:lnTo>
                    <a:pt x="3571" y="2326"/>
                  </a:lnTo>
                  <a:lnTo>
                    <a:pt x="3587" y="2308"/>
                  </a:lnTo>
                  <a:lnTo>
                    <a:pt x="3603" y="2292"/>
                  </a:lnTo>
                  <a:lnTo>
                    <a:pt x="3623" y="2278"/>
                  </a:lnTo>
                  <a:lnTo>
                    <a:pt x="3643" y="2266"/>
                  </a:lnTo>
                  <a:lnTo>
                    <a:pt x="3663" y="2256"/>
                  </a:lnTo>
                  <a:lnTo>
                    <a:pt x="3687" y="2248"/>
                  </a:lnTo>
                  <a:lnTo>
                    <a:pt x="3709" y="2242"/>
                  </a:lnTo>
                  <a:lnTo>
                    <a:pt x="3733" y="2238"/>
                  </a:lnTo>
                  <a:lnTo>
                    <a:pt x="3759" y="2236"/>
                  </a:lnTo>
                  <a:lnTo>
                    <a:pt x="3759" y="2236"/>
                  </a:lnTo>
                  <a:close/>
                  <a:moveTo>
                    <a:pt x="3851" y="3000"/>
                  </a:moveTo>
                  <a:lnTo>
                    <a:pt x="3851" y="3000"/>
                  </a:lnTo>
                  <a:lnTo>
                    <a:pt x="3889" y="2990"/>
                  </a:lnTo>
                  <a:lnTo>
                    <a:pt x="3929" y="2980"/>
                  </a:lnTo>
                  <a:lnTo>
                    <a:pt x="3965" y="2964"/>
                  </a:lnTo>
                  <a:lnTo>
                    <a:pt x="4001" y="2948"/>
                  </a:lnTo>
                  <a:lnTo>
                    <a:pt x="4035" y="2928"/>
                  </a:lnTo>
                  <a:lnTo>
                    <a:pt x="4069" y="2906"/>
                  </a:lnTo>
                  <a:lnTo>
                    <a:pt x="4099" y="2882"/>
                  </a:lnTo>
                  <a:lnTo>
                    <a:pt x="4127" y="2856"/>
                  </a:lnTo>
                  <a:lnTo>
                    <a:pt x="4155" y="2828"/>
                  </a:lnTo>
                  <a:lnTo>
                    <a:pt x="4179" y="2798"/>
                  </a:lnTo>
                  <a:lnTo>
                    <a:pt x="4201" y="2766"/>
                  </a:lnTo>
                  <a:lnTo>
                    <a:pt x="4223" y="2732"/>
                  </a:lnTo>
                  <a:lnTo>
                    <a:pt x="4239" y="2696"/>
                  </a:lnTo>
                  <a:lnTo>
                    <a:pt x="4255" y="2660"/>
                  </a:lnTo>
                  <a:lnTo>
                    <a:pt x="4267" y="2622"/>
                  </a:lnTo>
                  <a:lnTo>
                    <a:pt x="4277" y="2582"/>
                  </a:lnTo>
                  <a:lnTo>
                    <a:pt x="4589" y="2582"/>
                  </a:lnTo>
                  <a:lnTo>
                    <a:pt x="4589" y="2582"/>
                  </a:lnTo>
                  <a:lnTo>
                    <a:pt x="4585" y="2640"/>
                  </a:lnTo>
                  <a:lnTo>
                    <a:pt x="4579" y="2698"/>
                  </a:lnTo>
                  <a:lnTo>
                    <a:pt x="4571" y="2754"/>
                  </a:lnTo>
                  <a:lnTo>
                    <a:pt x="4563" y="2812"/>
                  </a:lnTo>
                  <a:lnTo>
                    <a:pt x="4551" y="2868"/>
                  </a:lnTo>
                  <a:lnTo>
                    <a:pt x="4539" y="2924"/>
                  </a:lnTo>
                  <a:lnTo>
                    <a:pt x="4527" y="2978"/>
                  </a:lnTo>
                  <a:lnTo>
                    <a:pt x="4511" y="3032"/>
                  </a:lnTo>
                  <a:lnTo>
                    <a:pt x="4495" y="3086"/>
                  </a:lnTo>
                  <a:lnTo>
                    <a:pt x="4477" y="3140"/>
                  </a:lnTo>
                  <a:lnTo>
                    <a:pt x="4459" y="3192"/>
                  </a:lnTo>
                  <a:lnTo>
                    <a:pt x="4439" y="3244"/>
                  </a:lnTo>
                  <a:lnTo>
                    <a:pt x="4417" y="3296"/>
                  </a:lnTo>
                  <a:lnTo>
                    <a:pt x="4395" y="3346"/>
                  </a:lnTo>
                  <a:lnTo>
                    <a:pt x="4371" y="3396"/>
                  </a:lnTo>
                  <a:lnTo>
                    <a:pt x="4345" y="3446"/>
                  </a:lnTo>
                  <a:lnTo>
                    <a:pt x="3761" y="3446"/>
                  </a:lnTo>
                  <a:lnTo>
                    <a:pt x="3761" y="3446"/>
                  </a:lnTo>
                  <a:lnTo>
                    <a:pt x="3787" y="3338"/>
                  </a:lnTo>
                  <a:lnTo>
                    <a:pt x="3811" y="3228"/>
                  </a:lnTo>
                  <a:lnTo>
                    <a:pt x="3833" y="3114"/>
                  </a:lnTo>
                  <a:lnTo>
                    <a:pt x="3851" y="3000"/>
                  </a:lnTo>
                  <a:lnTo>
                    <a:pt x="3851" y="3000"/>
                  </a:lnTo>
                  <a:close/>
                  <a:moveTo>
                    <a:pt x="3577" y="1986"/>
                  </a:moveTo>
                  <a:lnTo>
                    <a:pt x="3577" y="1986"/>
                  </a:lnTo>
                  <a:lnTo>
                    <a:pt x="3549" y="1996"/>
                  </a:lnTo>
                  <a:lnTo>
                    <a:pt x="3523" y="2008"/>
                  </a:lnTo>
                  <a:lnTo>
                    <a:pt x="3499" y="2022"/>
                  </a:lnTo>
                  <a:lnTo>
                    <a:pt x="3475" y="2036"/>
                  </a:lnTo>
                  <a:lnTo>
                    <a:pt x="3451" y="2052"/>
                  </a:lnTo>
                  <a:lnTo>
                    <a:pt x="3429" y="2070"/>
                  </a:lnTo>
                  <a:lnTo>
                    <a:pt x="3407" y="2088"/>
                  </a:lnTo>
                  <a:lnTo>
                    <a:pt x="3387" y="2108"/>
                  </a:lnTo>
                  <a:lnTo>
                    <a:pt x="3367" y="2128"/>
                  </a:lnTo>
                  <a:lnTo>
                    <a:pt x="3349" y="2150"/>
                  </a:lnTo>
                  <a:lnTo>
                    <a:pt x="3331" y="2172"/>
                  </a:lnTo>
                  <a:lnTo>
                    <a:pt x="3315" y="2196"/>
                  </a:lnTo>
                  <a:lnTo>
                    <a:pt x="3301" y="2220"/>
                  </a:lnTo>
                  <a:lnTo>
                    <a:pt x="3287" y="2244"/>
                  </a:lnTo>
                  <a:lnTo>
                    <a:pt x="3275" y="2270"/>
                  </a:lnTo>
                  <a:lnTo>
                    <a:pt x="3263" y="2298"/>
                  </a:lnTo>
                  <a:lnTo>
                    <a:pt x="2583" y="2298"/>
                  </a:lnTo>
                  <a:lnTo>
                    <a:pt x="2583" y="1434"/>
                  </a:lnTo>
                  <a:lnTo>
                    <a:pt x="3467" y="1434"/>
                  </a:lnTo>
                  <a:lnTo>
                    <a:pt x="3467" y="1434"/>
                  </a:lnTo>
                  <a:lnTo>
                    <a:pt x="3485" y="1498"/>
                  </a:lnTo>
                  <a:lnTo>
                    <a:pt x="3501" y="1564"/>
                  </a:lnTo>
                  <a:lnTo>
                    <a:pt x="3517" y="1632"/>
                  </a:lnTo>
                  <a:lnTo>
                    <a:pt x="3531" y="1700"/>
                  </a:lnTo>
                  <a:lnTo>
                    <a:pt x="3545" y="1770"/>
                  </a:lnTo>
                  <a:lnTo>
                    <a:pt x="3557" y="1840"/>
                  </a:lnTo>
                  <a:lnTo>
                    <a:pt x="3567" y="1912"/>
                  </a:lnTo>
                  <a:lnTo>
                    <a:pt x="3577" y="1986"/>
                  </a:lnTo>
                  <a:lnTo>
                    <a:pt x="3577" y="1986"/>
                  </a:lnTo>
                  <a:close/>
                  <a:moveTo>
                    <a:pt x="2583" y="1150"/>
                  </a:moveTo>
                  <a:lnTo>
                    <a:pt x="2583" y="302"/>
                  </a:lnTo>
                  <a:lnTo>
                    <a:pt x="2583" y="302"/>
                  </a:lnTo>
                  <a:lnTo>
                    <a:pt x="2613" y="310"/>
                  </a:lnTo>
                  <a:lnTo>
                    <a:pt x="2641" y="320"/>
                  </a:lnTo>
                  <a:lnTo>
                    <a:pt x="2671" y="330"/>
                  </a:lnTo>
                  <a:lnTo>
                    <a:pt x="2699" y="342"/>
                  </a:lnTo>
                  <a:lnTo>
                    <a:pt x="2727" y="354"/>
                  </a:lnTo>
                  <a:lnTo>
                    <a:pt x="2757" y="368"/>
                  </a:lnTo>
                  <a:lnTo>
                    <a:pt x="2785" y="384"/>
                  </a:lnTo>
                  <a:lnTo>
                    <a:pt x="2813" y="402"/>
                  </a:lnTo>
                  <a:lnTo>
                    <a:pt x="2867" y="440"/>
                  </a:lnTo>
                  <a:lnTo>
                    <a:pt x="2921" y="482"/>
                  </a:lnTo>
                  <a:lnTo>
                    <a:pt x="2973" y="530"/>
                  </a:lnTo>
                  <a:lnTo>
                    <a:pt x="3023" y="582"/>
                  </a:lnTo>
                  <a:lnTo>
                    <a:pt x="3073" y="638"/>
                  </a:lnTo>
                  <a:lnTo>
                    <a:pt x="3121" y="700"/>
                  </a:lnTo>
                  <a:lnTo>
                    <a:pt x="3167" y="764"/>
                  </a:lnTo>
                  <a:lnTo>
                    <a:pt x="3211" y="834"/>
                  </a:lnTo>
                  <a:lnTo>
                    <a:pt x="3253" y="908"/>
                  </a:lnTo>
                  <a:lnTo>
                    <a:pt x="3293" y="984"/>
                  </a:lnTo>
                  <a:lnTo>
                    <a:pt x="3331" y="1064"/>
                  </a:lnTo>
                  <a:lnTo>
                    <a:pt x="3367" y="1150"/>
                  </a:lnTo>
                  <a:lnTo>
                    <a:pt x="2583" y="1150"/>
                  </a:lnTo>
                  <a:close/>
                  <a:moveTo>
                    <a:pt x="2298" y="302"/>
                  </a:moveTo>
                  <a:lnTo>
                    <a:pt x="2298" y="1150"/>
                  </a:lnTo>
                  <a:lnTo>
                    <a:pt x="1866" y="1150"/>
                  </a:lnTo>
                  <a:lnTo>
                    <a:pt x="1866" y="1150"/>
                  </a:lnTo>
                  <a:lnTo>
                    <a:pt x="1848" y="1108"/>
                  </a:lnTo>
                  <a:lnTo>
                    <a:pt x="1828" y="1068"/>
                  </a:lnTo>
                  <a:lnTo>
                    <a:pt x="1804" y="1030"/>
                  </a:lnTo>
                  <a:lnTo>
                    <a:pt x="1778" y="994"/>
                  </a:lnTo>
                  <a:lnTo>
                    <a:pt x="1750" y="960"/>
                  </a:lnTo>
                  <a:lnTo>
                    <a:pt x="1718" y="930"/>
                  </a:lnTo>
                  <a:lnTo>
                    <a:pt x="1684" y="902"/>
                  </a:lnTo>
                  <a:lnTo>
                    <a:pt x="1646" y="876"/>
                  </a:lnTo>
                  <a:lnTo>
                    <a:pt x="1646" y="876"/>
                  </a:lnTo>
                  <a:lnTo>
                    <a:pt x="1682" y="818"/>
                  </a:lnTo>
                  <a:lnTo>
                    <a:pt x="1716" y="764"/>
                  </a:lnTo>
                  <a:lnTo>
                    <a:pt x="1754" y="712"/>
                  </a:lnTo>
                  <a:lnTo>
                    <a:pt x="1790" y="662"/>
                  </a:lnTo>
                  <a:lnTo>
                    <a:pt x="1830" y="614"/>
                  </a:lnTo>
                  <a:lnTo>
                    <a:pt x="1868" y="572"/>
                  </a:lnTo>
                  <a:lnTo>
                    <a:pt x="1908" y="530"/>
                  </a:lnTo>
                  <a:lnTo>
                    <a:pt x="1950" y="492"/>
                  </a:lnTo>
                  <a:lnTo>
                    <a:pt x="1992" y="458"/>
                  </a:lnTo>
                  <a:lnTo>
                    <a:pt x="2034" y="426"/>
                  </a:lnTo>
                  <a:lnTo>
                    <a:pt x="2076" y="398"/>
                  </a:lnTo>
                  <a:lnTo>
                    <a:pt x="2120" y="372"/>
                  </a:lnTo>
                  <a:lnTo>
                    <a:pt x="2164" y="350"/>
                  </a:lnTo>
                  <a:lnTo>
                    <a:pt x="2208" y="330"/>
                  </a:lnTo>
                  <a:lnTo>
                    <a:pt x="2252" y="316"/>
                  </a:lnTo>
                  <a:lnTo>
                    <a:pt x="2298" y="302"/>
                  </a:lnTo>
                  <a:lnTo>
                    <a:pt x="2298" y="302"/>
                  </a:lnTo>
                  <a:close/>
                  <a:moveTo>
                    <a:pt x="1368" y="1080"/>
                  </a:moveTo>
                  <a:lnTo>
                    <a:pt x="1368" y="1080"/>
                  </a:lnTo>
                  <a:lnTo>
                    <a:pt x="1392" y="1082"/>
                  </a:lnTo>
                  <a:lnTo>
                    <a:pt x="1416" y="1086"/>
                  </a:lnTo>
                  <a:lnTo>
                    <a:pt x="1440" y="1092"/>
                  </a:lnTo>
                  <a:lnTo>
                    <a:pt x="1462" y="1100"/>
                  </a:lnTo>
                  <a:lnTo>
                    <a:pt x="1484" y="1110"/>
                  </a:lnTo>
                  <a:lnTo>
                    <a:pt x="1504" y="1122"/>
                  </a:lnTo>
                  <a:lnTo>
                    <a:pt x="1522" y="1136"/>
                  </a:lnTo>
                  <a:lnTo>
                    <a:pt x="1540" y="1152"/>
                  </a:lnTo>
                  <a:lnTo>
                    <a:pt x="1556" y="1168"/>
                  </a:lnTo>
                  <a:lnTo>
                    <a:pt x="1570" y="1188"/>
                  </a:lnTo>
                  <a:lnTo>
                    <a:pt x="1582" y="1208"/>
                  </a:lnTo>
                  <a:lnTo>
                    <a:pt x="1592" y="1230"/>
                  </a:lnTo>
                  <a:lnTo>
                    <a:pt x="1600" y="1252"/>
                  </a:lnTo>
                  <a:lnTo>
                    <a:pt x="1606" y="1274"/>
                  </a:lnTo>
                  <a:lnTo>
                    <a:pt x="1610" y="1298"/>
                  </a:lnTo>
                  <a:lnTo>
                    <a:pt x="1610" y="1324"/>
                  </a:lnTo>
                  <a:lnTo>
                    <a:pt x="1610" y="1324"/>
                  </a:lnTo>
                  <a:lnTo>
                    <a:pt x="1610" y="1348"/>
                  </a:lnTo>
                  <a:lnTo>
                    <a:pt x="1606" y="1372"/>
                  </a:lnTo>
                  <a:lnTo>
                    <a:pt x="1600" y="1396"/>
                  </a:lnTo>
                  <a:lnTo>
                    <a:pt x="1592" y="1418"/>
                  </a:lnTo>
                  <a:lnTo>
                    <a:pt x="1582" y="1440"/>
                  </a:lnTo>
                  <a:lnTo>
                    <a:pt x="1570" y="1460"/>
                  </a:lnTo>
                  <a:lnTo>
                    <a:pt x="1556" y="1478"/>
                  </a:lnTo>
                  <a:lnTo>
                    <a:pt x="1540" y="1496"/>
                  </a:lnTo>
                  <a:lnTo>
                    <a:pt x="1522" y="1512"/>
                  </a:lnTo>
                  <a:lnTo>
                    <a:pt x="1504" y="1526"/>
                  </a:lnTo>
                  <a:lnTo>
                    <a:pt x="1484" y="1538"/>
                  </a:lnTo>
                  <a:lnTo>
                    <a:pt x="1462" y="1548"/>
                  </a:lnTo>
                  <a:lnTo>
                    <a:pt x="1440" y="1556"/>
                  </a:lnTo>
                  <a:lnTo>
                    <a:pt x="1416" y="1562"/>
                  </a:lnTo>
                  <a:lnTo>
                    <a:pt x="1392" y="1566"/>
                  </a:lnTo>
                  <a:lnTo>
                    <a:pt x="1368" y="1566"/>
                  </a:lnTo>
                  <a:lnTo>
                    <a:pt x="1368" y="1566"/>
                  </a:lnTo>
                  <a:lnTo>
                    <a:pt x="1342" y="1566"/>
                  </a:lnTo>
                  <a:lnTo>
                    <a:pt x="1318" y="1562"/>
                  </a:lnTo>
                  <a:lnTo>
                    <a:pt x="1296" y="1556"/>
                  </a:lnTo>
                  <a:lnTo>
                    <a:pt x="1274" y="1548"/>
                  </a:lnTo>
                  <a:lnTo>
                    <a:pt x="1252" y="1538"/>
                  </a:lnTo>
                  <a:lnTo>
                    <a:pt x="1232" y="1526"/>
                  </a:lnTo>
                  <a:lnTo>
                    <a:pt x="1214" y="1512"/>
                  </a:lnTo>
                  <a:lnTo>
                    <a:pt x="1196" y="1496"/>
                  </a:lnTo>
                  <a:lnTo>
                    <a:pt x="1180" y="1478"/>
                  </a:lnTo>
                  <a:lnTo>
                    <a:pt x="1166" y="1460"/>
                  </a:lnTo>
                  <a:lnTo>
                    <a:pt x="1154" y="1440"/>
                  </a:lnTo>
                  <a:lnTo>
                    <a:pt x="1144" y="1418"/>
                  </a:lnTo>
                  <a:lnTo>
                    <a:pt x="1136" y="1396"/>
                  </a:lnTo>
                  <a:lnTo>
                    <a:pt x="1130" y="1372"/>
                  </a:lnTo>
                  <a:lnTo>
                    <a:pt x="1126" y="1348"/>
                  </a:lnTo>
                  <a:lnTo>
                    <a:pt x="1124" y="1324"/>
                  </a:lnTo>
                  <a:lnTo>
                    <a:pt x="1124" y="1324"/>
                  </a:lnTo>
                  <a:lnTo>
                    <a:pt x="1126" y="1298"/>
                  </a:lnTo>
                  <a:lnTo>
                    <a:pt x="1130" y="1274"/>
                  </a:lnTo>
                  <a:lnTo>
                    <a:pt x="1136" y="1252"/>
                  </a:lnTo>
                  <a:lnTo>
                    <a:pt x="1144" y="1230"/>
                  </a:lnTo>
                  <a:lnTo>
                    <a:pt x="1154" y="1208"/>
                  </a:lnTo>
                  <a:lnTo>
                    <a:pt x="1166" y="1188"/>
                  </a:lnTo>
                  <a:lnTo>
                    <a:pt x="1180" y="1168"/>
                  </a:lnTo>
                  <a:lnTo>
                    <a:pt x="1196" y="1152"/>
                  </a:lnTo>
                  <a:lnTo>
                    <a:pt x="1214" y="1136"/>
                  </a:lnTo>
                  <a:lnTo>
                    <a:pt x="1232" y="1122"/>
                  </a:lnTo>
                  <a:lnTo>
                    <a:pt x="1252" y="1110"/>
                  </a:lnTo>
                  <a:lnTo>
                    <a:pt x="1274" y="1100"/>
                  </a:lnTo>
                  <a:lnTo>
                    <a:pt x="1296" y="1092"/>
                  </a:lnTo>
                  <a:lnTo>
                    <a:pt x="1318" y="1086"/>
                  </a:lnTo>
                  <a:lnTo>
                    <a:pt x="1342" y="1082"/>
                  </a:lnTo>
                  <a:lnTo>
                    <a:pt x="1368" y="1080"/>
                  </a:lnTo>
                  <a:lnTo>
                    <a:pt x="1368" y="1080"/>
                  </a:lnTo>
                  <a:close/>
                  <a:moveTo>
                    <a:pt x="994" y="2582"/>
                  </a:moveTo>
                  <a:lnTo>
                    <a:pt x="994" y="2582"/>
                  </a:lnTo>
                  <a:lnTo>
                    <a:pt x="1000" y="2696"/>
                  </a:lnTo>
                  <a:lnTo>
                    <a:pt x="1008" y="2810"/>
                  </a:lnTo>
                  <a:lnTo>
                    <a:pt x="1020" y="2920"/>
                  </a:lnTo>
                  <a:lnTo>
                    <a:pt x="1034" y="3030"/>
                  </a:lnTo>
                  <a:lnTo>
                    <a:pt x="1050" y="3138"/>
                  </a:lnTo>
                  <a:lnTo>
                    <a:pt x="1070" y="3242"/>
                  </a:lnTo>
                  <a:lnTo>
                    <a:pt x="1092" y="3346"/>
                  </a:lnTo>
                  <a:lnTo>
                    <a:pt x="1116" y="3446"/>
                  </a:lnTo>
                  <a:lnTo>
                    <a:pt x="536" y="3446"/>
                  </a:lnTo>
                  <a:lnTo>
                    <a:pt x="536" y="3446"/>
                  </a:lnTo>
                  <a:lnTo>
                    <a:pt x="510" y="3396"/>
                  </a:lnTo>
                  <a:lnTo>
                    <a:pt x="486" y="3346"/>
                  </a:lnTo>
                  <a:lnTo>
                    <a:pt x="464" y="3296"/>
                  </a:lnTo>
                  <a:lnTo>
                    <a:pt x="442" y="3244"/>
                  </a:lnTo>
                  <a:lnTo>
                    <a:pt x="422" y="3192"/>
                  </a:lnTo>
                  <a:lnTo>
                    <a:pt x="402" y="3140"/>
                  </a:lnTo>
                  <a:lnTo>
                    <a:pt x="384" y="3086"/>
                  </a:lnTo>
                  <a:lnTo>
                    <a:pt x="368" y="3032"/>
                  </a:lnTo>
                  <a:lnTo>
                    <a:pt x="354" y="2978"/>
                  </a:lnTo>
                  <a:lnTo>
                    <a:pt x="340" y="2924"/>
                  </a:lnTo>
                  <a:lnTo>
                    <a:pt x="328" y="2868"/>
                  </a:lnTo>
                  <a:lnTo>
                    <a:pt x="318" y="2812"/>
                  </a:lnTo>
                  <a:lnTo>
                    <a:pt x="308" y="2754"/>
                  </a:lnTo>
                  <a:lnTo>
                    <a:pt x="302" y="2698"/>
                  </a:lnTo>
                  <a:lnTo>
                    <a:pt x="294" y="2640"/>
                  </a:lnTo>
                  <a:lnTo>
                    <a:pt x="290" y="2582"/>
                  </a:lnTo>
                  <a:lnTo>
                    <a:pt x="994" y="2582"/>
                  </a:lnTo>
                  <a:close/>
                  <a:moveTo>
                    <a:pt x="3287" y="4422"/>
                  </a:moveTo>
                  <a:lnTo>
                    <a:pt x="3287" y="4422"/>
                  </a:lnTo>
                  <a:lnTo>
                    <a:pt x="3343" y="4350"/>
                  </a:lnTo>
                  <a:lnTo>
                    <a:pt x="3397" y="4274"/>
                  </a:lnTo>
                  <a:lnTo>
                    <a:pt x="3449" y="4192"/>
                  </a:lnTo>
                  <a:lnTo>
                    <a:pt x="3499" y="4108"/>
                  </a:lnTo>
                  <a:lnTo>
                    <a:pt x="3545" y="4020"/>
                  </a:lnTo>
                  <a:lnTo>
                    <a:pt x="3589" y="3928"/>
                  </a:lnTo>
                  <a:lnTo>
                    <a:pt x="3631" y="3830"/>
                  </a:lnTo>
                  <a:lnTo>
                    <a:pt x="3671" y="3730"/>
                  </a:lnTo>
                  <a:lnTo>
                    <a:pt x="4165" y="3730"/>
                  </a:lnTo>
                  <a:lnTo>
                    <a:pt x="4165" y="3730"/>
                  </a:lnTo>
                  <a:lnTo>
                    <a:pt x="4121" y="3786"/>
                  </a:lnTo>
                  <a:lnTo>
                    <a:pt x="4077" y="3840"/>
                  </a:lnTo>
                  <a:lnTo>
                    <a:pt x="4029" y="3894"/>
                  </a:lnTo>
                  <a:lnTo>
                    <a:pt x="3981" y="3944"/>
                  </a:lnTo>
                  <a:lnTo>
                    <a:pt x="3931" y="3994"/>
                  </a:lnTo>
                  <a:lnTo>
                    <a:pt x="3879" y="4042"/>
                  </a:lnTo>
                  <a:lnTo>
                    <a:pt x="3827" y="4088"/>
                  </a:lnTo>
                  <a:lnTo>
                    <a:pt x="3773" y="4132"/>
                  </a:lnTo>
                  <a:lnTo>
                    <a:pt x="3717" y="4176"/>
                  </a:lnTo>
                  <a:lnTo>
                    <a:pt x="3659" y="4216"/>
                  </a:lnTo>
                  <a:lnTo>
                    <a:pt x="3599" y="4256"/>
                  </a:lnTo>
                  <a:lnTo>
                    <a:pt x="3539" y="4292"/>
                  </a:lnTo>
                  <a:lnTo>
                    <a:pt x="3479" y="4328"/>
                  </a:lnTo>
                  <a:lnTo>
                    <a:pt x="3415" y="4360"/>
                  </a:lnTo>
                  <a:lnTo>
                    <a:pt x="3351" y="4392"/>
                  </a:lnTo>
                  <a:lnTo>
                    <a:pt x="3287" y="4422"/>
                  </a:lnTo>
                  <a:lnTo>
                    <a:pt x="3287" y="4422"/>
                  </a:lnTo>
                  <a:close/>
                  <a:moveTo>
                    <a:pt x="4165" y="1150"/>
                  </a:moveTo>
                  <a:lnTo>
                    <a:pt x="3673" y="1150"/>
                  </a:lnTo>
                  <a:lnTo>
                    <a:pt x="3673" y="1150"/>
                  </a:lnTo>
                  <a:lnTo>
                    <a:pt x="3635" y="1050"/>
                  </a:lnTo>
                  <a:lnTo>
                    <a:pt x="3593" y="954"/>
                  </a:lnTo>
                  <a:lnTo>
                    <a:pt x="3549" y="862"/>
                  </a:lnTo>
                  <a:lnTo>
                    <a:pt x="3503" y="774"/>
                  </a:lnTo>
                  <a:lnTo>
                    <a:pt x="3455" y="690"/>
                  </a:lnTo>
                  <a:lnTo>
                    <a:pt x="3403" y="610"/>
                  </a:lnTo>
                  <a:lnTo>
                    <a:pt x="3349" y="534"/>
                  </a:lnTo>
                  <a:lnTo>
                    <a:pt x="3295" y="462"/>
                  </a:lnTo>
                  <a:lnTo>
                    <a:pt x="3295" y="462"/>
                  </a:lnTo>
                  <a:lnTo>
                    <a:pt x="3359" y="492"/>
                  </a:lnTo>
                  <a:lnTo>
                    <a:pt x="3423" y="522"/>
                  </a:lnTo>
                  <a:lnTo>
                    <a:pt x="3485" y="556"/>
                  </a:lnTo>
                  <a:lnTo>
                    <a:pt x="3545" y="590"/>
                  </a:lnTo>
                  <a:lnTo>
                    <a:pt x="3605" y="628"/>
                  </a:lnTo>
                  <a:lnTo>
                    <a:pt x="3663" y="666"/>
                  </a:lnTo>
                  <a:lnTo>
                    <a:pt x="3719" y="708"/>
                  </a:lnTo>
                  <a:lnTo>
                    <a:pt x="3775" y="750"/>
                  </a:lnTo>
                  <a:lnTo>
                    <a:pt x="3829" y="794"/>
                  </a:lnTo>
                  <a:lnTo>
                    <a:pt x="3883" y="840"/>
                  </a:lnTo>
                  <a:lnTo>
                    <a:pt x="3933" y="888"/>
                  </a:lnTo>
                  <a:lnTo>
                    <a:pt x="3983" y="936"/>
                  </a:lnTo>
                  <a:lnTo>
                    <a:pt x="4031" y="988"/>
                  </a:lnTo>
                  <a:lnTo>
                    <a:pt x="4077" y="1040"/>
                  </a:lnTo>
                  <a:lnTo>
                    <a:pt x="4121" y="1094"/>
                  </a:lnTo>
                  <a:lnTo>
                    <a:pt x="4165" y="1150"/>
                  </a:lnTo>
                  <a:lnTo>
                    <a:pt x="4165" y="1150"/>
                  </a:lnTo>
                  <a:close/>
                  <a:moveTo>
                    <a:pt x="1588" y="462"/>
                  </a:moveTo>
                  <a:lnTo>
                    <a:pt x="1588" y="462"/>
                  </a:lnTo>
                  <a:lnTo>
                    <a:pt x="1558" y="498"/>
                  </a:lnTo>
                  <a:lnTo>
                    <a:pt x="1528" y="538"/>
                  </a:lnTo>
                  <a:lnTo>
                    <a:pt x="1500" y="578"/>
                  </a:lnTo>
                  <a:lnTo>
                    <a:pt x="1472" y="618"/>
                  </a:lnTo>
                  <a:lnTo>
                    <a:pt x="1444" y="660"/>
                  </a:lnTo>
                  <a:lnTo>
                    <a:pt x="1418" y="704"/>
                  </a:lnTo>
                  <a:lnTo>
                    <a:pt x="1392" y="750"/>
                  </a:lnTo>
                  <a:lnTo>
                    <a:pt x="1366" y="796"/>
                  </a:lnTo>
                  <a:lnTo>
                    <a:pt x="1366" y="796"/>
                  </a:lnTo>
                  <a:lnTo>
                    <a:pt x="1324" y="798"/>
                  </a:lnTo>
                  <a:lnTo>
                    <a:pt x="1282" y="802"/>
                  </a:lnTo>
                  <a:lnTo>
                    <a:pt x="1240" y="812"/>
                  </a:lnTo>
                  <a:lnTo>
                    <a:pt x="1202" y="822"/>
                  </a:lnTo>
                  <a:lnTo>
                    <a:pt x="1164" y="838"/>
                  </a:lnTo>
                  <a:lnTo>
                    <a:pt x="1128" y="854"/>
                  </a:lnTo>
                  <a:lnTo>
                    <a:pt x="1092" y="874"/>
                  </a:lnTo>
                  <a:lnTo>
                    <a:pt x="1060" y="896"/>
                  </a:lnTo>
                  <a:lnTo>
                    <a:pt x="1028" y="920"/>
                  </a:lnTo>
                  <a:lnTo>
                    <a:pt x="998" y="948"/>
                  </a:lnTo>
                  <a:lnTo>
                    <a:pt x="970" y="976"/>
                  </a:lnTo>
                  <a:lnTo>
                    <a:pt x="946" y="1008"/>
                  </a:lnTo>
                  <a:lnTo>
                    <a:pt x="924" y="1040"/>
                  </a:lnTo>
                  <a:lnTo>
                    <a:pt x="902" y="1076"/>
                  </a:lnTo>
                  <a:lnTo>
                    <a:pt x="886" y="1112"/>
                  </a:lnTo>
                  <a:lnTo>
                    <a:pt x="870" y="1150"/>
                  </a:lnTo>
                  <a:lnTo>
                    <a:pt x="716" y="1150"/>
                  </a:lnTo>
                  <a:lnTo>
                    <a:pt x="716" y="1150"/>
                  </a:lnTo>
                  <a:lnTo>
                    <a:pt x="758" y="1094"/>
                  </a:lnTo>
                  <a:lnTo>
                    <a:pt x="804" y="1040"/>
                  </a:lnTo>
                  <a:lnTo>
                    <a:pt x="850" y="988"/>
                  </a:lnTo>
                  <a:lnTo>
                    <a:pt x="898" y="936"/>
                  </a:lnTo>
                  <a:lnTo>
                    <a:pt x="948" y="888"/>
                  </a:lnTo>
                  <a:lnTo>
                    <a:pt x="998" y="840"/>
                  </a:lnTo>
                  <a:lnTo>
                    <a:pt x="1052" y="794"/>
                  </a:lnTo>
                  <a:lnTo>
                    <a:pt x="1106" y="750"/>
                  </a:lnTo>
                  <a:lnTo>
                    <a:pt x="1162" y="706"/>
                  </a:lnTo>
                  <a:lnTo>
                    <a:pt x="1218" y="666"/>
                  </a:lnTo>
                  <a:lnTo>
                    <a:pt x="1276" y="628"/>
                  </a:lnTo>
                  <a:lnTo>
                    <a:pt x="1336" y="590"/>
                  </a:lnTo>
                  <a:lnTo>
                    <a:pt x="1398" y="554"/>
                  </a:lnTo>
                  <a:lnTo>
                    <a:pt x="1460" y="522"/>
                  </a:lnTo>
                  <a:lnTo>
                    <a:pt x="1522" y="490"/>
                  </a:lnTo>
                  <a:lnTo>
                    <a:pt x="1588" y="462"/>
                  </a:lnTo>
                  <a:lnTo>
                    <a:pt x="1588" y="462"/>
                  </a:lnTo>
                  <a:close/>
                </a:path>
              </a:pathLst>
            </a:custGeom>
            <a:grp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91" name="Google Shape;3928;p94">
            <a:extLst>
              <a:ext uri="{FF2B5EF4-FFF2-40B4-BE49-F238E27FC236}">
                <a16:creationId xmlns:a16="http://schemas.microsoft.com/office/drawing/2014/main" id="{1DAC3820-0843-41C5-BD8E-EB0684D6410B}"/>
              </a:ext>
            </a:extLst>
          </p:cNvPr>
          <p:cNvSpPr/>
          <p:nvPr/>
        </p:nvSpPr>
        <p:spPr>
          <a:xfrm>
            <a:off x="1992316" y="4930336"/>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mn-ea"/>
              <a:cs typeface="+mn-cs"/>
              <a:sym typeface="Georgia"/>
            </a:endParaRPr>
          </a:p>
        </p:txBody>
      </p:sp>
      <p:sp>
        <p:nvSpPr>
          <p:cNvPr id="92" name="Google Shape;3929;p94">
            <a:extLst>
              <a:ext uri="{FF2B5EF4-FFF2-40B4-BE49-F238E27FC236}">
                <a16:creationId xmlns:a16="http://schemas.microsoft.com/office/drawing/2014/main" id="{5D2C9076-FE10-4DDC-8C46-B8A187D31FD0}"/>
              </a:ext>
            </a:extLst>
          </p:cNvPr>
          <p:cNvSpPr/>
          <p:nvPr/>
        </p:nvSpPr>
        <p:spPr>
          <a:xfrm>
            <a:off x="2148269" y="5000448"/>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93" name="Google Shape;3930;p94">
            <a:extLst>
              <a:ext uri="{FF2B5EF4-FFF2-40B4-BE49-F238E27FC236}">
                <a16:creationId xmlns:a16="http://schemas.microsoft.com/office/drawing/2014/main" id="{20DDF01B-43DA-4739-B941-B60FCDA9F754}"/>
              </a:ext>
            </a:extLst>
          </p:cNvPr>
          <p:cNvSpPr txBox="1"/>
          <p:nvPr/>
        </p:nvSpPr>
        <p:spPr>
          <a:xfrm>
            <a:off x="2000603" y="5123412"/>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5</a:t>
            </a:r>
            <a:endParaRPr kumimoji="0" sz="2000" b="0" i="0" u="none" strike="noStrike" kern="1200" cap="none" spc="0" normalizeH="0" baseline="0" noProof="0">
              <a:ln>
                <a:noFill/>
              </a:ln>
              <a:solidFill>
                <a:srgbClr val="000000"/>
              </a:solidFill>
              <a:effectLst/>
              <a:uLnTx/>
              <a:uFillTx/>
              <a:latin typeface="Calibri"/>
              <a:ea typeface="+mn-ea"/>
              <a:cs typeface="+mn-cs"/>
            </a:endParaRPr>
          </a:p>
        </p:txBody>
      </p:sp>
      <p:sp>
        <p:nvSpPr>
          <p:cNvPr id="94" name="Google Shape;3931;p94">
            <a:extLst>
              <a:ext uri="{FF2B5EF4-FFF2-40B4-BE49-F238E27FC236}">
                <a16:creationId xmlns:a16="http://schemas.microsoft.com/office/drawing/2014/main" id="{D18BC634-2431-4ED6-A246-BC37B342D4E6}"/>
              </a:ext>
            </a:extLst>
          </p:cNvPr>
          <p:cNvSpPr/>
          <p:nvPr/>
        </p:nvSpPr>
        <p:spPr>
          <a:xfrm>
            <a:off x="10208890" y="4972929"/>
            <a:ext cx="466404" cy="466334"/>
          </a:xfrm>
          <a:custGeom>
            <a:avLst/>
            <a:gdLst/>
            <a:ahLst/>
            <a:cxnLst/>
            <a:rect l="l" t="t" r="r" b="b"/>
            <a:pathLst>
              <a:path w="6709" h="6708" extrusionOk="0">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chemeClr val="accent4">
              <a:lumMod val="50000"/>
            </a:schemeClr>
          </a:solidFill>
          <a:ln>
            <a:noFill/>
          </a:ln>
        </p:spPr>
        <p:txBody>
          <a:bodyPr spcFirstLastPara="1" wrap="square" lIns="86200" tIns="43100" rIns="86200" bIns="431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97" name="Google Shape;3934;p94">
            <a:extLst>
              <a:ext uri="{FF2B5EF4-FFF2-40B4-BE49-F238E27FC236}">
                <a16:creationId xmlns:a16="http://schemas.microsoft.com/office/drawing/2014/main" id="{A505460D-20F3-4A80-A586-81B0F55C7F8D}"/>
              </a:ext>
            </a:extLst>
          </p:cNvPr>
          <p:cNvSpPr/>
          <p:nvPr/>
        </p:nvSpPr>
        <p:spPr>
          <a:xfrm>
            <a:off x="1992316" y="5720911"/>
            <a:ext cx="701970" cy="701970"/>
          </a:xfrm>
          <a:prstGeom prst="rect">
            <a:avLst/>
          </a:prstGeom>
          <a:solidFill>
            <a:schemeClr val="accent4">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mn-ea"/>
              <a:cs typeface="+mn-cs"/>
              <a:sym typeface="Georgia"/>
            </a:endParaRPr>
          </a:p>
        </p:txBody>
      </p:sp>
      <p:sp>
        <p:nvSpPr>
          <p:cNvPr id="98" name="Google Shape;3935;p94">
            <a:extLst>
              <a:ext uri="{FF2B5EF4-FFF2-40B4-BE49-F238E27FC236}">
                <a16:creationId xmlns:a16="http://schemas.microsoft.com/office/drawing/2014/main" id="{488A3DF3-2D37-48F1-9F0D-C4C708CABF3F}"/>
              </a:ext>
            </a:extLst>
          </p:cNvPr>
          <p:cNvSpPr/>
          <p:nvPr/>
        </p:nvSpPr>
        <p:spPr>
          <a:xfrm>
            <a:off x="2148269" y="5791023"/>
            <a:ext cx="456829" cy="561747"/>
          </a:xfrm>
          <a:prstGeom prst="rightArrow">
            <a:avLst>
              <a:gd name="adj1" fmla="val 50000"/>
              <a:gd name="adj2" fmla="val 70468"/>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30C1D7"/>
              </a:solidFill>
              <a:effectLst/>
              <a:uLnTx/>
              <a:uFillTx/>
              <a:latin typeface="Georgia"/>
              <a:ea typeface="Georgia"/>
              <a:cs typeface="Georgia"/>
              <a:sym typeface="Georgia"/>
            </a:endParaRPr>
          </a:p>
        </p:txBody>
      </p:sp>
      <p:sp>
        <p:nvSpPr>
          <p:cNvPr id="99" name="Google Shape;3936;p94">
            <a:extLst>
              <a:ext uri="{FF2B5EF4-FFF2-40B4-BE49-F238E27FC236}">
                <a16:creationId xmlns:a16="http://schemas.microsoft.com/office/drawing/2014/main" id="{657CE447-105C-44CF-A47E-844C2FDF7E49}"/>
              </a:ext>
            </a:extLst>
          </p:cNvPr>
          <p:cNvSpPr txBox="1"/>
          <p:nvPr/>
        </p:nvSpPr>
        <p:spPr>
          <a:xfrm>
            <a:off x="2000603" y="5913987"/>
            <a:ext cx="706382" cy="32919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Arial"/>
                <a:cs typeface="Arial"/>
                <a:sym typeface="Arial"/>
              </a:rPr>
              <a:t>6</a:t>
            </a:r>
            <a:endParaRPr kumimoji="0" sz="2000" b="0" i="0" u="none" strike="noStrike" kern="1200" cap="none" spc="0" normalizeH="0" baseline="0" noProof="0">
              <a:ln>
                <a:noFill/>
              </a:ln>
              <a:solidFill>
                <a:srgbClr val="000000"/>
              </a:solidFill>
              <a:effectLst/>
              <a:uLnTx/>
              <a:uFillTx/>
              <a:latin typeface="Calibri"/>
              <a:ea typeface="+mn-ea"/>
              <a:cs typeface="+mn-cs"/>
            </a:endParaRPr>
          </a:p>
        </p:txBody>
      </p:sp>
      <p:sp>
        <p:nvSpPr>
          <p:cNvPr id="100" name="Google Shape;3937;p94">
            <a:extLst>
              <a:ext uri="{FF2B5EF4-FFF2-40B4-BE49-F238E27FC236}">
                <a16:creationId xmlns:a16="http://schemas.microsoft.com/office/drawing/2014/main" id="{80765BEE-AE53-40BE-8851-38F4CE8F2431}"/>
              </a:ext>
            </a:extLst>
          </p:cNvPr>
          <p:cNvSpPr/>
          <p:nvPr/>
        </p:nvSpPr>
        <p:spPr>
          <a:xfrm>
            <a:off x="10199684" y="5722921"/>
            <a:ext cx="461734" cy="461665"/>
          </a:xfrm>
          <a:custGeom>
            <a:avLst/>
            <a:gdLst/>
            <a:ahLst/>
            <a:cxnLst/>
            <a:rect l="l" t="t" r="r" b="b"/>
            <a:pathLst>
              <a:path w="6673" h="6672" extrusionOk="0">
                <a:moveTo>
                  <a:pt x="0" y="0"/>
                </a:moveTo>
                <a:lnTo>
                  <a:pt x="0" y="6672"/>
                </a:lnTo>
                <a:lnTo>
                  <a:pt x="6673" y="6672"/>
                </a:lnTo>
                <a:lnTo>
                  <a:pt x="6673" y="0"/>
                </a:lnTo>
                <a:lnTo>
                  <a:pt x="0" y="0"/>
                </a:lnTo>
                <a:close/>
                <a:moveTo>
                  <a:pt x="2260" y="1734"/>
                </a:moveTo>
                <a:lnTo>
                  <a:pt x="2260" y="1734"/>
                </a:lnTo>
                <a:lnTo>
                  <a:pt x="2264" y="1688"/>
                </a:lnTo>
                <a:lnTo>
                  <a:pt x="2270" y="1644"/>
                </a:lnTo>
                <a:lnTo>
                  <a:pt x="2280" y="1600"/>
                </a:lnTo>
                <a:lnTo>
                  <a:pt x="2296" y="1560"/>
                </a:lnTo>
                <a:lnTo>
                  <a:pt x="2316" y="1520"/>
                </a:lnTo>
                <a:lnTo>
                  <a:pt x="2338" y="1482"/>
                </a:lnTo>
                <a:lnTo>
                  <a:pt x="2364" y="1448"/>
                </a:lnTo>
                <a:lnTo>
                  <a:pt x="2392" y="1416"/>
                </a:lnTo>
                <a:lnTo>
                  <a:pt x="2424" y="1386"/>
                </a:lnTo>
                <a:lnTo>
                  <a:pt x="2460" y="1360"/>
                </a:lnTo>
                <a:lnTo>
                  <a:pt x="2496" y="1338"/>
                </a:lnTo>
                <a:lnTo>
                  <a:pt x="2536" y="1320"/>
                </a:lnTo>
                <a:lnTo>
                  <a:pt x="2578" y="1304"/>
                </a:lnTo>
                <a:lnTo>
                  <a:pt x="2620" y="1294"/>
                </a:lnTo>
                <a:lnTo>
                  <a:pt x="2666" y="1286"/>
                </a:lnTo>
                <a:lnTo>
                  <a:pt x="2712" y="1284"/>
                </a:lnTo>
                <a:lnTo>
                  <a:pt x="2712" y="1284"/>
                </a:lnTo>
                <a:lnTo>
                  <a:pt x="2758" y="1286"/>
                </a:lnTo>
                <a:lnTo>
                  <a:pt x="2802" y="1294"/>
                </a:lnTo>
                <a:lnTo>
                  <a:pt x="2846" y="1304"/>
                </a:lnTo>
                <a:lnTo>
                  <a:pt x="2886" y="1320"/>
                </a:lnTo>
                <a:lnTo>
                  <a:pt x="2926" y="1338"/>
                </a:lnTo>
                <a:lnTo>
                  <a:pt x="2964" y="1360"/>
                </a:lnTo>
                <a:lnTo>
                  <a:pt x="2998" y="1386"/>
                </a:lnTo>
                <a:lnTo>
                  <a:pt x="3030" y="1416"/>
                </a:lnTo>
                <a:lnTo>
                  <a:pt x="3058" y="1448"/>
                </a:lnTo>
                <a:lnTo>
                  <a:pt x="3084" y="1482"/>
                </a:lnTo>
                <a:lnTo>
                  <a:pt x="3108" y="1520"/>
                </a:lnTo>
                <a:lnTo>
                  <a:pt x="3126" y="1560"/>
                </a:lnTo>
                <a:lnTo>
                  <a:pt x="3142" y="1600"/>
                </a:lnTo>
                <a:lnTo>
                  <a:pt x="3152" y="1644"/>
                </a:lnTo>
                <a:lnTo>
                  <a:pt x="3160" y="1688"/>
                </a:lnTo>
                <a:lnTo>
                  <a:pt x="3162" y="1734"/>
                </a:lnTo>
                <a:lnTo>
                  <a:pt x="3162" y="1734"/>
                </a:lnTo>
                <a:lnTo>
                  <a:pt x="3160" y="1780"/>
                </a:lnTo>
                <a:lnTo>
                  <a:pt x="3152" y="1826"/>
                </a:lnTo>
                <a:lnTo>
                  <a:pt x="3142" y="1868"/>
                </a:lnTo>
                <a:lnTo>
                  <a:pt x="3126" y="1910"/>
                </a:lnTo>
                <a:lnTo>
                  <a:pt x="3108" y="1950"/>
                </a:lnTo>
                <a:lnTo>
                  <a:pt x="3084" y="1986"/>
                </a:lnTo>
                <a:lnTo>
                  <a:pt x="3058" y="2022"/>
                </a:lnTo>
                <a:lnTo>
                  <a:pt x="3030" y="2054"/>
                </a:lnTo>
                <a:lnTo>
                  <a:pt x="2998" y="2082"/>
                </a:lnTo>
                <a:lnTo>
                  <a:pt x="2964" y="2108"/>
                </a:lnTo>
                <a:lnTo>
                  <a:pt x="2926" y="2130"/>
                </a:lnTo>
                <a:lnTo>
                  <a:pt x="2886" y="2150"/>
                </a:lnTo>
                <a:lnTo>
                  <a:pt x="2846" y="2164"/>
                </a:lnTo>
                <a:lnTo>
                  <a:pt x="2802" y="2176"/>
                </a:lnTo>
                <a:lnTo>
                  <a:pt x="2758" y="2182"/>
                </a:lnTo>
                <a:lnTo>
                  <a:pt x="2712" y="2186"/>
                </a:lnTo>
                <a:lnTo>
                  <a:pt x="2712" y="2186"/>
                </a:lnTo>
                <a:lnTo>
                  <a:pt x="2666" y="2182"/>
                </a:lnTo>
                <a:lnTo>
                  <a:pt x="2620" y="2176"/>
                </a:lnTo>
                <a:lnTo>
                  <a:pt x="2578" y="2164"/>
                </a:lnTo>
                <a:lnTo>
                  <a:pt x="2536" y="2150"/>
                </a:lnTo>
                <a:lnTo>
                  <a:pt x="2496" y="2130"/>
                </a:lnTo>
                <a:lnTo>
                  <a:pt x="2460" y="2108"/>
                </a:lnTo>
                <a:lnTo>
                  <a:pt x="2424" y="2082"/>
                </a:lnTo>
                <a:lnTo>
                  <a:pt x="2392" y="2054"/>
                </a:lnTo>
                <a:lnTo>
                  <a:pt x="2364" y="2022"/>
                </a:lnTo>
                <a:lnTo>
                  <a:pt x="2338" y="1986"/>
                </a:lnTo>
                <a:lnTo>
                  <a:pt x="2316" y="1950"/>
                </a:lnTo>
                <a:lnTo>
                  <a:pt x="2296" y="1910"/>
                </a:lnTo>
                <a:lnTo>
                  <a:pt x="2280" y="1868"/>
                </a:lnTo>
                <a:lnTo>
                  <a:pt x="2270" y="1826"/>
                </a:lnTo>
                <a:lnTo>
                  <a:pt x="2264" y="1780"/>
                </a:lnTo>
                <a:lnTo>
                  <a:pt x="2260" y="1734"/>
                </a:lnTo>
                <a:lnTo>
                  <a:pt x="2260" y="1734"/>
                </a:lnTo>
                <a:close/>
                <a:moveTo>
                  <a:pt x="6389" y="6388"/>
                </a:moveTo>
                <a:lnTo>
                  <a:pt x="4183" y="6388"/>
                </a:lnTo>
                <a:lnTo>
                  <a:pt x="4183" y="5708"/>
                </a:lnTo>
                <a:lnTo>
                  <a:pt x="5355" y="4732"/>
                </a:lnTo>
                <a:lnTo>
                  <a:pt x="5355" y="2584"/>
                </a:lnTo>
                <a:lnTo>
                  <a:pt x="5355" y="2584"/>
                </a:lnTo>
                <a:lnTo>
                  <a:pt x="5387" y="2578"/>
                </a:lnTo>
                <a:lnTo>
                  <a:pt x="5419" y="2568"/>
                </a:lnTo>
                <a:lnTo>
                  <a:pt x="5449" y="2560"/>
                </a:lnTo>
                <a:lnTo>
                  <a:pt x="5479" y="2548"/>
                </a:lnTo>
                <a:lnTo>
                  <a:pt x="5507" y="2536"/>
                </a:lnTo>
                <a:lnTo>
                  <a:pt x="5535" y="2524"/>
                </a:lnTo>
                <a:lnTo>
                  <a:pt x="5563" y="2510"/>
                </a:lnTo>
                <a:lnTo>
                  <a:pt x="5591" y="2494"/>
                </a:lnTo>
                <a:lnTo>
                  <a:pt x="5617" y="2476"/>
                </a:lnTo>
                <a:lnTo>
                  <a:pt x="5643" y="2460"/>
                </a:lnTo>
                <a:lnTo>
                  <a:pt x="5667" y="2440"/>
                </a:lnTo>
                <a:lnTo>
                  <a:pt x="5691" y="2420"/>
                </a:lnTo>
                <a:lnTo>
                  <a:pt x="5715" y="2400"/>
                </a:lnTo>
                <a:lnTo>
                  <a:pt x="5737" y="2378"/>
                </a:lnTo>
                <a:lnTo>
                  <a:pt x="5759" y="2356"/>
                </a:lnTo>
                <a:lnTo>
                  <a:pt x="5779" y="2332"/>
                </a:lnTo>
                <a:lnTo>
                  <a:pt x="5799" y="2308"/>
                </a:lnTo>
                <a:lnTo>
                  <a:pt x="5817" y="2282"/>
                </a:lnTo>
                <a:lnTo>
                  <a:pt x="5833" y="2258"/>
                </a:lnTo>
                <a:lnTo>
                  <a:pt x="5851" y="2230"/>
                </a:lnTo>
                <a:lnTo>
                  <a:pt x="5865" y="2204"/>
                </a:lnTo>
                <a:lnTo>
                  <a:pt x="5879" y="2174"/>
                </a:lnTo>
                <a:lnTo>
                  <a:pt x="5891" y="2146"/>
                </a:lnTo>
                <a:lnTo>
                  <a:pt x="5903" y="2116"/>
                </a:lnTo>
                <a:lnTo>
                  <a:pt x="5913" y="2086"/>
                </a:lnTo>
                <a:lnTo>
                  <a:pt x="5923" y="2056"/>
                </a:lnTo>
                <a:lnTo>
                  <a:pt x="5931" y="2026"/>
                </a:lnTo>
                <a:lnTo>
                  <a:pt x="5937" y="1994"/>
                </a:lnTo>
                <a:lnTo>
                  <a:pt x="5943" y="1962"/>
                </a:lnTo>
                <a:lnTo>
                  <a:pt x="5945" y="1930"/>
                </a:lnTo>
                <a:lnTo>
                  <a:pt x="5947" y="1896"/>
                </a:lnTo>
                <a:lnTo>
                  <a:pt x="5949" y="1864"/>
                </a:lnTo>
                <a:lnTo>
                  <a:pt x="5949" y="1864"/>
                </a:lnTo>
                <a:lnTo>
                  <a:pt x="5947" y="1826"/>
                </a:lnTo>
                <a:lnTo>
                  <a:pt x="5945" y="1788"/>
                </a:lnTo>
                <a:lnTo>
                  <a:pt x="5941" y="1752"/>
                </a:lnTo>
                <a:lnTo>
                  <a:pt x="5933" y="1716"/>
                </a:lnTo>
                <a:lnTo>
                  <a:pt x="5925" y="1680"/>
                </a:lnTo>
                <a:lnTo>
                  <a:pt x="5915" y="1644"/>
                </a:lnTo>
                <a:lnTo>
                  <a:pt x="5903" y="1610"/>
                </a:lnTo>
                <a:lnTo>
                  <a:pt x="5891" y="1578"/>
                </a:lnTo>
                <a:lnTo>
                  <a:pt x="5877" y="1544"/>
                </a:lnTo>
                <a:lnTo>
                  <a:pt x="5859" y="1512"/>
                </a:lnTo>
                <a:lnTo>
                  <a:pt x="5843" y="1482"/>
                </a:lnTo>
                <a:lnTo>
                  <a:pt x="5823" y="1452"/>
                </a:lnTo>
                <a:lnTo>
                  <a:pt x="5803" y="1424"/>
                </a:lnTo>
                <a:lnTo>
                  <a:pt x="5781" y="1396"/>
                </a:lnTo>
                <a:lnTo>
                  <a:pt x="5757" y="1368"/>
                </a:lnTo>
                <a:lnTo>
                  <a:pt x="5733" y="1344"/>
                </a:lnTo>
                <a:lnTo>
                  <a:pt x="5707" y="1320"/>
                </a:lnTo>
                <a:lnTo>
                  <a:pt x="5681" y="1296"/>
                </a:lnTo>
                <a:lnTo>
                  <a:pt x="5653" y="1274"/>
                </a:lnTo>
                <a:lnTo>
                  <a:pt x="5625" y="1254"/>
                </a:lnTo>
                <a:lnTo>
                  <a:pt x="5595" y="1234"/>
                </a:lnTo>
                <a:lnTo>
                  <a:pt x="5563" y="1216"/>
                </a:lnTo>
                <a:lnTo>
                  <a:pt x="5531" y="1200"/>
                </a:lnTo>
                <a:lnTo>
                  <a:pt x="5499" y="1186"/>
                </a:lnTo>
                <a:lnTo>
                  <a:pt x="5465" y="1172"/>
                </a:lnTo>
                <a:lnTo>
                  <a:pt x="5431" y="1160"/>
                </a:lnTo>
                <a:lnTo>
                  <a:pt x="5397" y="1150"/>
                </a:lnTo>
                <a:lnTo>
                  <a:pt x="5361" y="1142"/>
                </a:lnTo>
                <a:lnTo>
                  <a:pt x="5325" y="1136"/>
                </a:lnTo>
                <a:lnTo>
                  <a:pt x="5289" y="1132"/>
                </a:lnTo>
                <a:lnTo>
                  <a:pt x="5251" y="1128"/>
                </a:lnTo>
                <a:lnTo>
                  <a:pt x="5213" y="1128"/>
                </a:lnTo>
                <a:lnTo>
                  <a:pt x="5213" y="1128"/>
                </a:lnTo>
                <a:lnTo>
                  <a:pt x="5175" y="1128"/>
                </a:lnTo>
                <a:lnTo>
                  <a:pt x="5139" y="1132"/>
                </a:lnTo>
                <a:lnTo>
                  <a:pt x="5101" y="1136"/>
                </a:lnTo>
                <a:lnTo>
                  <a:pt x="5065" y="1142"/>
                </a:lnTo>
                <a:lnTo>
                  <a:pt x="5029" y="1150"/>
                </a:lnTo>
                <a:lnTo>
                  <a:pt x="4995" y="1160"/>
                </a:lnTo>
                <a:lnTo>
                  <a:pt x="4961" y="1172"/>
                </a:lnTo>
                <a:lnTo>
                  <a:pt x="4927" y="1186"/>
                </a:lnTo>
                <a:lnTo>
                  <a:pt x="4895" y="1200"/>
                </a:lnTo>
                <a:lnTo>
                  <a:pt x="4863" y="1216"/>
                </a:lnTo>
                <a:lnTo>
                  <a:pt x="4833" y="1234"/>
                </a:lnTo>
                <a:lnTo>
                  <a:pt x="4803" y="1254"/>
                </a:lnTo>
                <a:lnTo>
                  <a:pt x="4773" y="1274"/>
                </a:lnTo>
                <a:lnTo>
                  <a:pt x="4747" y="1296"/>
                </a:lnTo>
                <a:lnTo>
                  <a:pt x="4719" y="1320"/>
                </a:lnTo>
                <a:lnTo>
                  <a:pt x="4693" y="1344"/>
                </a:lnTo>
                <a:lnTo>
                  <a:pt x="4669" y="1368"/>
                </a:lnTo>
                <a:lnTo>
                  <a:pt x="4647" y="1396"/>
                </a:lnTo>
                <a:lnTo>
                  <a:pt x="4625" y="1424"/>
                </a:lnTo>
                <a:lnTo>
                  <a:pt x="4603" y="1452"/>
                </a:lnTo>
                <a:lnTo>
                  <a:pt x="4585" y="1482"/>
                </a:lnTo>
                <a:lnTo>
                  <a:pt x="4567" y="1512"/>
                </a:lnTo>
                <a:lnTo>
                  <a:pt x="4551" y="1544"/>
                </a:lnTo>
                <a:lnTo>
                  <a:pt x="4537" y="1578"/>
                </a:lnTo>
                <a:lnTo>
                  <a:pt x="4523" y="1610"/>
                </a:lnTo>
                <a:lnTo>
                  <a:pt x="4511" y="1644"/>
                </a:lnTo>
                <a:lnTo>
                  <a:pt x="4501" y="1680"/>
                </a:lnTo>
                <a:lnTo>
                  <a:pt x="4493" y="1716"/>
                </a:lnTo>
                <a:lnTo>
                  <a:pt x="4487" y="1752"/>
                </a:lnTo>
                <a:lnTo>
                  <a:pt x="4483" y="1788"/>
                </a:lnTo>
                <a:lnTo>
                  <a:pt x="4479" y="1826"/>
                </a:lnTo>
                <a:lnTo>
                  <a:pt x="4479" y="1864"/>
                </a:lnTo>
                <a:lnTo>
                  <a:pt x="4479" y="1864"/>
                </a:lnTo>
                <a:lnTo>
                  <a:pt x="4479" y="1896"/>
                </a:lnTo>
                <a:lnTo>
                  <a:pt x="4481" y="1930"/>
                </a:lnTo>
                <a:lnTo>
                  <a:pt x="4485" y="1962"/>
                </a:lnTo>
                <a:lnTo>
                  <a:pt x="4489" y="1994"/>
                </a:lnTo>
                <a:lnTo>
                  <a:pt x="4497" y="2026"/>
                </a:lnTo>
                <a:lnTo>
                  <a:pt x="4505" y="2056"/>
                </a:lnTo>
                <a:lnTo>
                  <a:pt x="4513" y="2086"/>
                </a:lnTo>
                <a:lnTo>
                  <a:pt x="4523" y="2116"/>
                </a:lnTo>
                <a:lnTo>
                  <a:pt x="4535" y="2146"/>
                </a:lnTo>
                <a:lnTo>
                  <a:pt x="4547" y="2174"/>
                </a:lnTo>
                <a:lnTo>
                  <a:pt x="4561" y="2204"/>
                </a:lnTo>
                <a:lnTo>
                  <a:pt x="4577" y="2230"/>
                </a:lnTo>
                <a:lnTo>
                  <a:pt x="4593" y="2258"/>
                </a:lnTo>
                <a:lnTo>
                  <a:pt x="4611" y="2282"/>
                </a:lnTo>
                <a:lnTo>
                  <a:pt x="4629" y="2308"/>
                </a:lnTo>
                <a:lnTo>
                  <a:pt x="4649" y="2332"/>
                </a:lnTo>
                <a:lnTo>
                  <a:pt x="4669" y="2356"/>
                </a:lnTo>
                <a:lnTo>
                  <a:pt x="4689" y="2378"/>
                </a:lnTo>
                <a:lnTo>
                  <a:pt x="4713" y="2400"/>
                </a:lnTo>
                <a:lnTo>
                  <a:pt x="4735" y="2420"/>
                </a:lnTo>
                <a:lnTo>
                  <a:pt x="4759" y="2440"/>
                </a:lnTo>
                <a:lnTo>
                  <a:pt x="4785" y="2460"/>
                </a:lnTo>
                <a:lnTo>
                  <a:pt x="4809" y="2476"/>
                </a:lnTo>
                <a:lnTo>
                  <a:pt x="4837" y="2494"/>
                </a:lnTo>
                <a:lnTo>
                  <a:pt x="4863" y="2510"/>
                </a:lnTo>
                <a:lnTo>
                  <a:pt x="4891" y="2524"/>
                </a:lnTo>
                <a:lnTo>
                  <a:pt x="4919" y="2536"/>
                </a:lnTo>
                <a:lnTo>
                  <a:pt x="4949" y="2548"/>
                </a:lnTo>
                <a:lnTo>
                  <a:pt x="4979" y="2560"/>
                </a:lnTo>
                <a:lnTo>
                  <a:pt x="5009" y="2568"/>
                </a:lnTo>
                <a:lnTo>
                  <a:pt x="5039" y="2578"/>
                </a:lnTo>
                <a:lnTo>
                  <a:pt x="5071" y="2584"/>
                </a:lnTo>
                <a:lnTo>
                  <a:pt x="5071" y="4600"/>
                </a:lnTo>
                <a:lnTo>
                  <a:pt x="3899" y="5576"/>
                </a:lnTo>
                <a:lnTo>
                  <a:pt x="3899" y="6388"/>
                </a:lnTo>
                <a:lnTo>
                  <a:pt x="3567" y="6388"/>
                </a:lnTo>
                <a:lnTo>
                  <a:pt x="3567" y="4988"/>
                </a:lnTo>
                <a:lnTo>
                  <a:pt x="4105" y="4526"/>
                </a:lnTo>
                <a:lnTo>
                  <a:pt x="4105" y="3818"/>
                </a:lnTo>
                <a:lnTo>
                  <a:pt x="4105" y="3818"/>
                </a:lnTo>
                <a:lnTo>
                  <a:pt x="4137" y="3810"/>
                </a:lnTo>
                <a:lnTo>
                  <a:pt x="4167" y="3802"/>
                </a:lnTo>
                <a:lnTo>
                  <a:pt x="4197" y="3792"/>
                </a:lnTo>
                <a:lnTo>
                  <a:pt x="4227" y="3782"/>
                </a:lnTo>
                <a:lnTo>
                  <a:pt x="4257" y="3770"/>
                </a:lnTo>
                <a:lnTo>
                  <a:pt x="4285" y="3756"/>
                </a:lnTo>
                <a:lnTo>
                  <a:pt x="4313" y="3742"/>
                </a:lnTo>
                <a:lnTo>
                  <a:pt x="4341" y="3726"/>
                </a:lnTo>
                <a:lnTo>
                  <a:pt x="4367" y="3710"/>
                </a:lnTo>
                <a:lnTo>
                  <a:pt x="4393" y="3692"/>
                </a:lnTo>
                <a:lnTo>
                  <a:pt x="4417" y="3674"/>
                </a:lnTo>
                <a:lnTo>
                  <a:pt x="4441" y="3654"/>
                </a:lnTo>
                <a:lnTo>
                  <a:pt x="4465" y="3634"/>
                </a:lnTo>
                <a:lnTo>
                  <a:pt x="4487" y="3612"/>
                </a:lnTo>
                <a:lnTo>
                  <a:pt x="4507" y="3590"/>
                </a:lnTo>
                <a:lnTo>
                  <a:pt x="4529" y="3566"/>
                </a:lnTo>
                <a:lnTo>
                  <a:pt x="4547" y="3542"/>
                </a:lnTo>
                <a:lnTo>
                  <a:pt x="4565" y="3516"/>
                </a:lnTo>
                <a:lnTo>
                  <a:pt x="4583" y="3490"/>
                </a:lnTo>
                <a:lnTo>
                  <a:pt x="4599" y="3464"/>
                </a:lnTo>
                <a:lnTo>
                  <a:pt x="4615" y="3436"/>
                </a:lnTo>
                <a:lnTo>
                  <a:pt x="4629" y="3408"/>
                </a:lnTo>
                <a:lnTo>
                  <a:pt x="4641" y="3380"/>
                </a:lnTo>
                <a:lnTo>
                  <a:pt x="4653" y="3350"/>
                </a:lnTo>
                <a:lnTo>
                  <a:pt x="4663" y="3320"/>
                </a:lnTo>
                <a:lnTo>
                  <a:pt x="4673" y="3290"/>
                </a:lnTo>
                <a:lnTo>
                  <a:pt x="4681" y="3258"/>
                </a:lnTo>
                <a:lnTo>
                  <a:pt x="4687" y="3228"/>
                </a:lnTo>
                <a:lnTo>
                  <a:pt x="4691" y="3196"/>
                </a:lnTo>
                <a:lnTo>
                  <a:pt x="4695" y="3162"/>
                </a:lnTo>
                <a:lnTo>
                  <a:pt x="4697" y="3130"/>
                </a:lnTo>
                <a:lnTo>
                  <a:pt x="4699" y="3096"/>
                </a:lnTo>
                <a:lnTo>
                  <a:pt x="4699" y="3096"/>
                </a:lnTo>
                <a:lnTo>
                  <a:pt x="4697" y="3058"/>
                </a:lnTo>
                <a:lnTo>
                  <a:pt x="4695" y="3022"/>
                </a:lnTo>
                <a:lnTo>
                  <a:pt x="4689" y="2984"/>
                </a:lnTo>
                <a:lnTo>
                  <a:pt x="4683" y="2948"/>
                </a:lnTo>
                <a:lnTo>
                  <a:pt x="4675" y="2912"/>
                </a:lnTo>
                <a:lnTo>
                  <a:pt x="4665" y="2878"/>
                </a:lnTo>
                <a:lnTo>
                  <a:pt x="4653" y="2844"/>
                </a:lnTo>
                <a:lnTo>
                  <a:pt x="4641" y="2810"/>
                </a:lnTo>
                <a:lnTo>
                  <a:pt x="4625" y="2778"/>
                </a:lnTo>
                <a:lnTo>
                  <a:pt x="4609" y="2746"/>
                </a:lnTo>
                <a:lnTo>
                  <a:pt x="4591" y="2716"/>
                </a:lnTo>
                <a:lnTo>
                  <a:pt x="4573" y="2686"/>
                </a:lnTo>
                <a:lnTo>
                  <a:pt x="4551" y="2656"/>
                </a:lnTo>
                <a:lnTo>
                  <a:pt x="4531" y="2630"/>
                </a:lnTo>
                <a:lnTo>
                  <a:pt x="4507" y="2602"/>
                </a:lnTo>
                <a:lnTo>
                  <a:pt x="4483" y="2576"/>
                </a:lnTo>
                <a:lnTo>
                  <a:pt x="4457" y="2552"/>
                </a:lnTo>
                <a:lnTo>
                  <a:pt x="4431" y="2530"/>
                </a:lnTo>
                <a:lnTo>
                  <a:pt x="4403" y="2508"/>
                </a:lnTo>
                <a:lnTo>
                  <a:pt x="4373" y="2486"/>
                </a:lnTo>
                <a:lnTo>
                  <a:pt x="4343" y="2468"/>
                </a:lnTo>
                <a:lnTo>
                  <a:pt x="4313" y="2450"/>
                </a:lnTo>
                <a:lnTo>
                  <a:pt x="4281" y="2434"/>
                </a:lnTo>
                <a:lnTo>
                  <a:pt x="4249" y="2420"/>
                </a:lnTo>
                <a:lnTo>
                  <a:pt x="4215" y="2406"/>
                </a:lnTo>
                <a:lnTo>
                  <a:pt x="4181" y="2394"/>
                </a:lnTo>
                <a:lnTo>
                  <a:pt x="4147" y="2384"/>
                </a:lnTo>
                <a:lnTo>
                  <a:pt x="4111" y="2376"/>
                </a:lnTo>
                <a:lnTo>
                  <a:pt x="4075" y="2370"/>
                </a:lnTo>
                <a:lnTo>
                  <a:pt x="4037" y="2366"/>
                </a:lnTo>
                <a:lnTo>
                  <a:pt x="4001" y="2362"/>
                </a:lnTo>
                <a:lnTo>
                  <a:pt x="3963" y="2362"/>
                </a:lnTo>
                <a:lnTo>
                  <a:pt x="3963" y="2362"/>
                </a:lnTo>
                <a:lnTo>
                  <a:pt x="3925" y="2362"/>
                </a:lnTo>
                <a:lnTo>
                  <a:pt x="3887" y="2366"/>
                </a:lnTo>
                <a:lnTo>
                  <a:pt x="3851" y="2370"/>
                </a:lnTo>
                <a:lnTo>
                  <a:pt x="3815" y="2376"/>
                </a:lnTo>
                <a:lnTo>
                  <a:pt x="3779" y="2384"/>
                </a:lnTo>
                <a:lnTo>
                  <a:pt x="3745" y="2394"/>
                </a:lnTo>
                <a:lnTo>
                  <a:pt x="3711" y="2406"/>
                </a:lnTo>
                <a:lnTo>
                  <a:pt x="3677" y="2420"/>
                </a:lnTo>
                <a:lnTo>
                  <a:pt x="3645" y="2434"/>
                </a:lnTo>
                <a:lnTo>
                  <a:pt x="3613" y="2450"/>
                </a:lnTo>
                <a:lnTo>
                  <a:pt x="3581" y="2468"/>
                </a:lnTo>
                <a:lnTo>
                  <a:pt x="3553" y="2486"/>
                </a:lnTo>
                <a:lnTo>
                  <a:pt x="3523" y="2508"/>
                </a:lnTo>
                <a:lnTo>
                  <a:pt x="3495" y="2530"/>
                </a:lnTo>
                <a:lnTo>
                  <a:pt x="3469" y="2552"/>
                </a:lnTo>
                <a:lnTo>
                  <a:pt x="3443" y="2576"/>
                </a:lnTo>
                <a:lnTo>
                  <a:pt x="3419" y="2602"/>
                </a:lnTo>
                <a:lnTo>
                  <a:pt x="3395" y="2630"/>
                </a:lnTo>
                <a:lnTo>
                  <a:pt x="3373" y="2656"/>
                </a:lnTo>
                <a:lnTo>
                  <a:pt x="3353" y="2686"/>
                </a:lnTo>
                <a:lnTo>
                  <a:pt x="3334" y="2716"/>
                </a:lnTo>
                <a:lnTo>
                  <a:pt x="3316" y="2746"/>
                </a:lnTo>
                <a:lnTo>
                  <a:pt x="3300" y="2778"/>
                </a:lnTo>
                <a:lnTo>
                  <a:pt x="3284" y="2810"/>
                </a:lnTo>
                <a:lnTo>
                  <a:pt x="3272" y="2844"/>
                </a:lnTo>
                <a:lnTo>
                  <a:pt x="3260" y="2878"/>
                </a:lnTo>
                <a:lnTo>
                  <a:pt x="3250" y="2912"/>
                </a:lnTo>
                <a:lnTo>
                  <a:pt x="3242" y="2948"/>
                </a:lnTo>
                <a:lnTo>
                  <a:pt x="3236" y="2984"/>
                </a:lnTo>
                <a:lnTo>
                  <a:pt x="3230" y="3022"/>
                </a:lnTo>
                <a:lnTo>
                  <a:pt x="3228" y="3058"/>
                </a:lnTo>
                <a:lnTo>
                  <a:pt x="3226" y="3096"/>
                </a:lnTo>
                <a:lnTo>
                  <a:pt x="3226" y="3096"/>
                </a:lnTo>
                <a:lnTo>
                  <a:pt x="3228" y="3130"/>
                </a:lnTo>
                <a:lnTo>
                  <a:pt x="3230" y="3162"/>
                </a:lnTo>
                <a:lnTo>
                  <a:pt x="3234" y="3196"/>
                </a:lnTo>
                <a:lnTo>
                  <a:pt x="3238" y="3228"/>
                </a:lnTo>
                <a:lnTo>
                  <a:pt x="3244" y="3258"/>
                </a:lnTo>
                <a:lnTo>
                  <a:pt x="3252" y="3290"/>
                </a:lnTo>
                <a:lnTo>
                  <a:pt x="3262" y="3320"/>
                </a:lnTo>
                <a:lnTo>
                  <a:pt x="3272" y="3350"/>
                </a:lnTo>
                <a:lnTo>
                  <a:pt x="3284" y="3380"/>
                </a:lnTo>
                <a:lnTo>
                  <a:pt x="3296" y="3408"/>
                </a:lnTo>
                <a:lnTo>
                  <a:pt x="3310" y="3436"/>
                </a:lnTo>
                <a:lnTo>
                  <a:pt x="3326" y="3464"/>
                </a:lnTo>
                <a:lnTo>
                  <a:pt x="3343" y="3490"/>
                </a:lnTo>
                <a:lnTo>
                  <a:pt x="3359" y="3516"/>
                </a:lnTo>
                <a:lnTo>
                  <a:pt x="3379" y="3542"/>
                </a:lnTo>
                <a:lnTo>
                  <a:pt x="3397" y="3566"/>
                </a:lnTo>
                <a:lnTo>
                  <a:pt x="3417" y="3590"/>
                </a:lnTo>
                <a:lnTo>
                  <a:pt x="3439" y="3612"/>
                </a:lnTo>
                <a:lnTo>
                  <a:pt x="3461" y="3634"/>
                </a:lnTo>
                <a:lnTo>
                  <a:pt x="3485" y="3654"/>
                </a:lnTo>
                <a:lnTo>
                  <a:pt x="3509" y="3674"/>
                </a:lnTo>
                <a:lnTo>
                  <a:pt x="3533" y="3692"/>
                </a:lnTo>
                <a:lnTo>
                  <a:pt x="3559" y="3710"/>
                </a:lnTo>
                <a:lnTo>
                  <a:pt x="3585" y="3726"/>
                </a:lnTo>
                <a:lnTo>
                  <a:pt x="3613" y="3742"/>
                </a:lnTo>
                <a:lnTo>
                  <a:pt x="3641" y="3756"/>
                </a:lnTo>
                <a:lnTo>
                  <a:pt x="3669" y="3770"/>
                </a:lnTo>
                <a:lnTo>
                  <a:pt x="3699" y="3782"/>
                </a:lnTo>
                <a:lnTo>
                  <a:pt x="3729" y="3792"/>
                </a:lnTo>
                <a:lnTo>
                  <a:pt x="3759" y="3802"/>
                </a:lnTo>
                <a:lnTo>
                  <a:pt x="3789" y="3810"/>
                </a:lnTo>
                <a:lnTo>
                  <a:pt x="3821" y="3818"/>
                </a:lnTo>
                <a:lnTo>
                  <a:pt x="3821" y="4394"/>
                </a:lnTo>
                <a:lnTo>
                  <a:pt x="3282" y="4858"/>
                </a:lnTo>
                <a:lnTo>
                  <a:pt x="3282" y="6388"/>
                </a:lnTo>
                <a:lnTo>
                  <a:pt x="2948" y="6388"/>
                </a:lnTo>
                <a:lnTo>
                  <a:pt x="2856" y="2456"/>
                </a:lnTo>
                <a:lnTo>
                  <a:pt x="2856" y="2456"/>
                </a:lnTo>
                <a:lnTo>
                  <a:pt x="2888" y="2448"/>
                </a:lnTo>
                <a:lnTo>
                  <a:pt x="2918" y="2440"/>
                </a:lnTo>
                <a:lnTo>
                  <a:pt x="2948" y="2430"/>
                </a:lnTo>
                <a:lnTo>
                  <a:pt x="2978" y="2420"/>
                </a:lnTo>
                <a:lnTo>
                  <a:pt x="3008" y="2408"/>
                </a:lnTo>
                <a:lnTo>
                  <a:pt x="3036" y="2394"/>
                </a:lnTo>
                <a:lnTo>
                  <a:pt x="3064" y="2380"/>
                </a:lnTo>
                <a:lnTo>
                  <a:pt x="3090" y="2364"/>
                </a:lnTo>
                <a:lnTo>
                  <a:pt x="3116" y="2348"/>
                </a:lnTo>
                <a:lnTo>
                  <a:pt x="3142" y="2330"/>
                </a:lnTo>
                <a:lnTo>
                  <a:pt x="3168" y="2310"/>
                </a:lnTo>
                <a:lnTo>
                  <a:pt x="3190" y="2292"/>
                </a:lnTo>
                <a:lnTo>
                  <a:pt x="3214" y="2270"/>
                </a:lnTo>
                <a:lnTo>
                  <a:pt x="3236" y="2248"/>
                </a:lnTo>
                <a:lnTo>
                  <a:pt x="3258" y="2226"/>
                </a:lnTo>
                <a:lnTo>
                  <a:pt x="3278" y="2202"/>
                </a:lnTo>
                <a:lnTo>
                  <a:pt x="3296" y="2178"/>
                </a:lnTo>
                <a:lnTo>
                  <a:pt x="3316" y="2154"/>
                </a:lnTo>
                <a:lnTo>
                  <a:pt x="3332" y="2128"/>
                </a:lnTo>
                <a:lnTo>
                  <a:pt x="3349" y="2102"/>
                </a:lnTo>
                <a:lnTo>
                  <a:pt x="3365" y="2074"/>
                </a:lnTo>
                <a:lnTo>
                  <a:pt x="3379" y="2046"/>
                </a:lnTo>
                <a:lnTo>
                  <a:pt x="3391" y="2016"/>
                </a:lnTo>
                <a:lnTo>
                  <a:pt x="3403" y="1988"/>
                </a:lnTo>
                <a:lnTo>
                  <a:pt x="3413" y="1958"/>
                </a:lnTo>
                <a:lnTo>
                  <a:pt x="3421" y="1928"/>
                </a:lnTo>
                <a:lnTo>
                  <a:pt x="3429" y="1896"/>
                </a:lnTo>
                <a:lnTo>
                  <a:pt x="3435" y="1864"/>
                </a:lnTo>
                <a:lnTo>
                  <a:pt x="3441" y="1832"/>
                </a:lnTo>
                <a:lnTo>
                  <a:pt x="3445" y="1800"/>
                </a:lnTo>
                <a:lnTo>
                  <a:pt x="3447" y="1768"/>
                </a:lnTo>
                <a:lnTo>
                  <a:pt x="3447" y="1734"/>
                </a:lnTo>
                <a:lnTo>
                  <a:pt x="3447" y="1734"/>
                </a:lnTo>
                <a:lnTo>
                  <a:pt x="3447" y="1696"/>
                </a:lnTo>
                <a:lnTo>
                  <a:pt x="3443" y="1660"/>
                </a:lnTo>
                <a:lnTo>
                  <a:pt x="3439" y="1622"/>
                </a:lnTo>
                <a:lnTo>
                  <a:pt x="3433" y="1586"/>
                </a:lnTo>
                <a:lnTo>
                  <a:pt x="3425" y="1552"/>
                </a:lnTo>
                <a:lnTo>
                  <a:pt x="3415" y="1516"/>
                </a:lnTo>
                <a:lnTo>
                  <a:pt x="3403" y="1482"/>
                </a:lnTo>
                <a:lnTo>
                  <a:pt x="3389" y="1448"/>
                </a:lnTo>
                <a:lnTo>
                  <a:pt x="3375" y="1416"/>
                </a:lnTo>
                <a:lnTo>
                  <a:pt x="3359" y="1384"/>
                </a:lnTo>
                <a:lnTo>
                  <a:pt x="3341" y="1354"/>
                </a:lnTo>
                <a:lnTo>
                  <a:pt x="3320" y="1324"/>
                </a:lnTo>
                <a:lnTo>
                  <a:pt x="3300" y="1294"/>
                </a:lnTo>
                <a:lnTo>
                  <a:pt x="3278" y="1268"/>
                </a:lnTo>
                <a:lnTo>
                  <a:pt x="3256" y="1240"/>
                </a:lnTo>
                <a:lnTo>
                  <a:pt x="3230" y="1214"/>
                </a:lnTo>
                <a:lnTo>
                  <a:pt x="3206" y="1190"/>
                </a:lnTo>
                <a:lnTo>
                  <a:pt x="3178" y="1168"/>
                </a:lnTo>
                <a:lnTo>
                  <a:pt x="3150" y="1146"/>
                </a:lnTo>
                <a:lnTo>
                  <a:pt x="3122" y="1126"/>
                </a:lnTo>
                <a:lnTo>
                  <a:pt x="3092" y="1106"/>
                </a:lnTo>
                <a:lnTo>
                  <a:pt x="3062" y="1088"/>
                </a:lnTo>
                <a:lnTo>
                  <a:pt x="3030" y="1072"/>
                </a:lnTo>
                <a:lnTo>
                  <a:pt x="2998" y="1058"/>
                </a:lnTo>
                <a:lnTo>
                  <a:pt x="2964" y="1044"/>
                </a:lnTo>
                <a:lnTo>
                  <a:pt x="2930" y="1032"/>
                </a:lnTo>
                <a:lnTo>
                  <a:pt x="2894" y="1022"/>
                </a:lnTo>
                <a:lnTo>
                  <a:pt x="2860" y="1014"/>
                </a:lnTo>
                <a:lnTo>
                  <a:pt x="2824" y="1008"/>
                </a:lnTo>
                <a:lnTo>
                  <a:pt x="2786" y="1004"/>
                </a:lnTo>
                <a:lnTo>
                  <a:pt x="2750" y="1000"/>
                </a:lnTo>
                <a:lnTo>
                  <a:pt x="2712" y="1000"/>
                </a:lnTo>
                <a:lnTo>
                  <a:pt x="2712" y="1000"/>
                </a:lnTo>
                <a:lnTo>
                  <a:pt x="2674" y="1000"/>
                </a:lnTo>
                <a:lnTo>
                  <a:pt x="2636" y="1004"/>
                </a:lnTo>
                <a:lnTo>
                  <a:pt x="2600" y="1008"/>
                </a:lnTo>
                <a:lnTo>
                  <a:pt x="2564" y="1014"/>
                </a:lnTo>
                <a:lnTo>
                  <a:pt x="2528" y="1022"/>
                </a:lnTo>
                <a:lnTo>
                  <a:pt x="2492" y="1032"/>
                </a:lnTo>
                <a:lnTo>
                  <a:pt x="2458" y="1044"/>
                </a:lnTo>
                <a:lnTo>
                  <a:pt x="2426" y="1058"/>
                </a:lnTo>
                <a:lnTo>
                  <a:pt x="2392" y="1072"/>
                </a:lnTo>
                <a:lnTo>
                  <a:pt x="2362" y="1088"/>
                </a:lnTo>
                <a:lnTo>
                  <a:pt x="2330" y="1106"/>
                </a:lnTo>
                <a:lnTo>
                  <a:pt x="2300" y="1126"/>
                </a:lnTo>
                <a:lnTo>
                  <a:pt x="2272" y="1146"/>
                </a:lnTo>
                <a:lnTo>
                  <a:pt x="2244" y="1168"/>
                </a:lnTo>
                <a:lnTo>
                  <a:pt x="2218" y="1190"/>
                </a:lnTo>
                <a:lnTo>
                  <a:pt x="2192" y="1214"/>
                </a:lnTo>
                <a:lnTo>
                  <a:pt x="2168" y="1240"/>
                </a:lnTo>
                <a:lnTo>
                  <a:pt x="2144" y="1268"/>
                </a:lnTo>
                <a:lnTo>
                  <a:pt x="2122" y="1294"/>
                </a:lnTo>
                <a:lnTo>
                  <a:pt x="2102" y="1324"/>
                </a:lnTo>
                <a:lnTo>
                  <a:pt x="2082" y="1354"/>
                </a:lnTo>
                <a:lnTo>
                  <a:pt x="2066" y="1384"/>
                </a:lnTo>
                <a:lnTo>
                  <a:pt x="2048" y="1416"/>
                </a:lnTo>
                <a:lnTo>
                  <a:pt x="2034" y="1448"/>
                </a:lnTo>
                <a:lnTo>
                  <a:pt x="2020" y="1482"/>
                </a:lnTo>
                <a:lnTo>
                  <a:pt x="2010" y="1516"/>
                </a:lnTo>
                <a:lnTo>
                  <a:pt x="2000" y="1552"/>
                </a:lnTo>
                <a:lnTo>
                  <a:pt x="1992" y="1586"/>
                </a:lnTo>
                <a:lnTo>
                  <a:pt x="1984" y="1622"/>
                </a:lnTo>
                <a:lnTo>
                  <a:pt x="1980" y="1660"/>
                </a:lnTo>
                <a:lnTo>
                  <a:pt x="1978" y="1696"/>
                </a:lnTo>
                <a:lnTo>
                  <a:pt x="1976" y="1734"/>
                </a:lnTo>
                <a:lnTo>
                  <a:pt x="1976" y="1734"/>
                </a:lnTo>
                <a:lnTo>
                  <a:pt x="1976" y="1768"/>
                </a:lnTo>
                <a:lnTo>
                  <a:pt x="1980" y="1800"/>
                </a:lnTo>
                <a:lnTo>
                  <a:pt x="1982" y="1834"/>
                </a:lnTo>
                <a:lnTo>
                  <a:pt x="1988" y="1866"/>
                </a:lnTo>
                <a:lnTo>
                  <a:pt x="1994" y="1898"/>
                </a:lnTo>
                <a:lnTo>
                  <a:pt x="2002" y="1928"/>
                </a:lnTo>
                <a:lnTo>
                  <a:pt x="2012" y="1958"/>
                </a:lnTo>
                <a:lnTo>
                  <a:pt x="2022" y="1990"/>
                </a:lnTo>
                <a:lnTo>
                  <a:pt x="2034" y="2018"/>
                </a:lnTo>
                <a:lnTo>
                  <a:pt x="2046" y="2048"/>
                </a:lnTo>
                <a:lnTo>
                  <a:pt x="2060" y="2076"/>
                </a:lnTo>
                <a:lnTo>
                  <a:pt x="2076" y="2102"/>
                </a:lnTo>
                <a:lnTo>
                  <a:pt x="2092" y="2130"/>
                </a:lnTo>
                <a:lnTo>
                  <a:pt x="2110" y="2156"/>
                </a:lnTo>
                <a:lnTo>
                  <a:pt x="2128" y="2180"/>
                </a:lnTo>
                <a:lnTo>
                  <a:pt x="2146" y="2204"/>
                </a:lnTo>
                <a:lnTo>
                  <a:pt x="2168" y="2228"/>
                </a:lnTo>
                <a:lnTo>
                  <a:pt x="2188" y="2252"/>
                </a:lnTo>
                <a:lnTo>
                  <a:pt x="2212" y="2272"/>
                </a:lnTo>
                <a:lnTo>
                  <a:pt x="2234" y="2294"/>
                </a:lnTo>
                <a:lnTo>
                  <a:pt x="2258" y="2314"/>
                </a:lnTo>
                <a:lnTo>
                  <a:pt x="2284" y="2332"/>
                </a:lnTo>
                <a:lnTo>
                  <a:pt x="2310" y="2350"/>
                </a:lnTo>
                <a:lnTo>
                  <a:pt x="2336" y="2366"/>
                </a:lnTo>
                <a:lnTo>
                  <a:pt x="2364" y="2382"/>
                </a:lnTo>
                <a:lnTo>
                  <a:pt x="2392" y="2396"/>
                </a:lnTo>
                <a:lnTo>
                  <a:pt x="2420" y="2410"/>
                </a:lnTo>
                <a:lnTo>
                  <a:pt x="2450" y="2422"/>
                </a:lnTo>
                <a:lnTo>
                  <a:pt x="2480" y="2432"/>
                </a:lnTo>
                <a:lnTo>
                  <a:pt x="2510" y="2442"/>
                </a:lnTo>
                <a:lnTo>
                  <a:pt x="2540" y="2450"/>
                </a:lnTo>
                <a:lnTo>
                  <a:pt x="2572" y="2456"/>
                </a:lnTo>
                <a:lnTo>
                  <a:pt x="2662" y="6388"/>
                </a:lnTo>
                <a:lnTo>
                  <a:pt x="2332" y="6388"/>
                </a:lnTo>
                <a:lnTo>
                  <a:pt x="2332" y="4562"/>
                </a:lnTo>
                <a:lnTo>
                  <a:pt x="1724" y="3834"/>
                </a:lnTo>
                <a:lnTo>
                  <a:pt x="1724" y="3834"/>
                </a:lnTo>
                <a:lnTo>
                  <a:pt x="1774" y="3812"/>
                </a:lnTo>
                <a:lnTo>
                  <a:pt x="1824" y="3786"/>
                </a:lnTo>
                <a:lnTo>
                  <a:pt x="1870" y="3758"/>
                </a:lnTo>
                <a:lnTo>
                  <a:pt x="1914" y="3726"/>
                </a:lnTo>
                <a:lnTo>
                  <a:pt x="1956" y="3690"/>
                </a:lnTo>
                <a:lnTo>
                  <a:pt x="1994" y="3652"/>
                </a:lnTo>
                <a:lnTo>
                  <a:pt x="2030" y="3612"/>
                </a:lnTo>
                <a:lnTo>
                  <a:pt x="2064" y="3568"/>
                </a:lnTo>
                <a:lnTo>
                  <a:pt x="2092" y="3522"/>
                </a:lnTo>
                <a:lnTo>
                  <a:pt x="2120" y="3474"/>
                </a:lnTo>
                <a:lnTo>
                  <a:pt x="2142" y="3424"/>
                </a:lnTo>
                <a:lnTo>
                  <a:pt x="2160" y="3372"/>
                </a:lnTo>
                <a:lnTo>
                  <a:pt x="2176" y="3318"/>
                </a:lnTo>
                <a:lnTo>
                  <a:pt x="2188" y="3262"/>
                </a:lnTo>
                <a:lnTo>
                  <a:pt x="2194" y="3206"/>
                </a:lnTo>
                <a:lnTo>
                  <a:pt x="2196" y="3148"/>
                </a:lnTo>
                <a:lnTo>
                  <a:pt x="2196" y="3148"/>
                </a:lnTo>
                <a:lnTo>
                  <a:pt x="2196" y="3110"/>
                </a:lnTo>
                <a:lnTo>
                  <a:pt x="2192" y="3072"/>
                </a:lnTo>
                <a:lnTo>
                  <a:pt x="2188" y="3036"/>
                </a:lnTo>
                <a:lnTo>
                  <a:pt x="2182" y="3000"/>
                </a:lnTo>
                <a:lnTo>
                  <a:pt x="2172" y="2964"/>
                </a:lnTo>
                <a:lnTo>
                  <a:pt x="2162" y="2930"/>
                </a:lnTo>
                <a:lnTo>
                  <a:pt x="2152" y="2896"/>
                </a:lnTo>
                <a:lnTo>
                  <a:pt x="2138" y="2862"/>
                </a:lnTo>
                <a:lnTo>
                  <a:pt x="2124" y="2830"/>
                </a:lnTo>
                <a:lnTo>
                  <a:pt x="2108" y="2798"/>
                </a:lnTo>
                <a:lnTo>
                  <a:pt x="2090" y="2766"/>
                </a:lnTo>
                <a:lnTo>
                  <a:pt x="2070" y="2738"/>
                </a:lnTo>
                <a:lnTo>
                  <a:pt x="2050" y="2708"/>
                </a:lnTo>
                <a:lnTo>
                  <a:pt x="2028" y="2680"/>
                </a:lnTo>
                <a:lnTo>
                  <a:pt x="2004" y="2654"/>
                </a:lnTo>
                <a:lnTo>
                  <a:pt x="1980" y="2628"/>
                </a:lnTo>
                <a:lnTo>
                  <a:pt x="1954" y="2604"/>
                </a:lnTo>
                <a:lnTo>
                  <a:pt x="1928" y="2580"/>
                </a:lnTo>
                <a:lnTo>
                  <a:pt x="1900" y="2558"/>
                </a:lnTo>
                <a:lnTo>
                  <a:pt x="1872" y="2538"/>
                </a:lnTo>
                <a:lnTo>
                  <a:pt x="1842" y="2520"/>
                </a:lnTo>
                <a:lnTo>
                  <a:pt x="1810" y="2502"/>
                </a:lnTo>
                <a:lnTo>
                  <a:pt x="1780" y="2486"/>
                </a:lnTo>
                <a:lnTo>
                  <a:pt x="1746" y="2470"/>
                </a:lnTo>
                <a:lnTo>
                  <a:pt x="1714" y="2458"/>
                </a:lnTo>
                <a:lnTo>
                  <a:pt x="1680" y="2446"/>
                </a:lnTo>
                <a:lnTo>
                  <a:pt x="1644" y="2436"/>
                </a:lnTo>
                <a:lnTo>
                  <a:pt x="1608" y="2428"/>
                </a:lnTo>
                <a:lnTo>
                  <a:pt x="1572" y="2422"/>
                </a:lnTo>
                <a:lnTo>
                  <a:pt x="1536" y="2416"/>
                </a:lnTo>
                <a:lnTo>
                  <a:pt x="1498" y="2414"/>
                </a:lnTo>
                <a:lnTo>
                  <a:pt x="1460" y="2412"/>
                </a:lnTo>
                <a:lnTo>
                  <a:pt x="1460" y="2412"/>
                </a:lnTo>
                <a:lnTo>
                  <a:pt x="1424" y="2414"/>
                </a:lnTo>
                <a:lnTo>
                  <a:pt x="1386" y="2416"/>
                </a:lnTo>
                <a:lnTo>
                  <a:pt x="1348" y="2422"/>
                </a:lnTo>
                <a:lnTo>
                  <a:pt x="1312" y="2428"/>
                </a:lnTo>
                <a:lnTo>
                  <a:pt x="1278" y="2436"/>
                </a:lnTo>
                <a:lnTo>
                  <a:pt x="1242" y="2446"/>
                </a:lnTo>
                <a:lnTo>
                  <a:pt x="1208" y="2458"/>
                </a:lnTo>
                <a:lnTo>
                  <a:pt x="1174" y="2470"/>
                </a:lnTo>
                <a:lnTo>
                  <a:pt x="1142" y="2486"/>
                </a:lnTo>
                <a:lnTo>
                  <a:pt x="1110" y="2502"/>
                </a:lnTo>
                <a:lnTo>
                  <a:pt x="1080" y="2520"/>
                </a:lnTo>
                <a:lnTo>
                  <a:pt x="1050" y="2538"/>
                </a:lnTo>
                <a:lnTo>
                  <a:pt x="1022" y="2558"/>
                </a:lnTo>
                <a:lnTo>
                  <a:pt x="994" y="2580"/>
                </a:lnTo>
                <a:lnTo>
                  <a:pt x="966" y="2604"/>
                </a:lnTo>
                <a:lnTo>
                  <a:pt x="942" y="2628"/>
                </a:lnTo>
                <a:lnTo>
                  <a:pt x="916" y="2654"/>
                </a:lnTo>
                <a:lnTo>
                  <a:pt x="894" y="2680"/>
                </a:lnTo>
                <a:lnTo>
                  <a:pt x="872" y="2708"/>
                </a:lnTo>
                <a:lnTo>
                  <a:pt x="852" y="2738"/>
                </a:lnTo>
                <a:lnTo>
                  <a:pt x="832" y="2766"/>
                </a:lnTo>
                <a:lnTo>
                  <a:pt x="814" y="2798"/>
                </a:lnTo>
                <a:lnTo>
                  <a:pt x="798" y="2830"/>
                </a:lnTo>
                <a:lnTo>
                  <a:pt x="784" y="2862"/>
                </a:lnTo>
                <a:lnTo>
                  <a:pt x="770" y="2896"/>
                </a:lnTo>
                <a:lnTo>
                  <a:pt x="758" y="2930"/>
                </a:lnTo>
                <a:lnTo>
                  <a:pt x="748" y="2964"/>
                </a:lnTo>
                <a:lnTo>
                  <a:pt x="740" y="3000"/>
                </a:lnTo>
                <a:lnTo>
                  <a:pt x="734" y="3036"/>
                </a:lnTo>
                <a:lnTo>
                  <a:pt x="730" y="3072"/>
                </a:lnTo>
                <a:lnTo>
                  <a:pt x="726" y="3110"/>
                </a:lnTo>
                <a:lnTo>
                  <a:pt x="726" y="3148"/>
                </a:lnTo>
                <a:lnTo>
                  <a:pt x="726" y="3148"/>
                </a:lnTo>
                <a:lnTo>
                  <a:pt x="726" y="3184"/>
                </a:lnTo>
                <a:lnTo>
                  <a:pt x="730" y="3218"/>
                </a:lnTo>
                <a:lnTo>
                  <a:pt x="734" y="3254"/>
                </a:lnTo>
                <a:lnTo>
                  <a:pt x="738" y="3288"/>
                </a:lnTo>
                <a:lnTo>
                  <a:pt x="746" y="3322"/>
                </a:lnTo>
                <a:lnTo>
                  <a:pt x="756" y="3354"/>
                </a:lnTo>
                <a:lnTo>
                  <a:pt x="766" y="3386"/>
                </a:lnTo>
                <a:lnTo>
                  <a:pt x="778" y="3418"/>
                </a:lnTo>
                <a:lnTo>
                  <a:pt x="790" y="3450"/>
                </a:lnTo>
                <a:lnTo>
                  <a:pt x="804" y="3480"/>
                </a:lnTo>
                <a:lnTo>
                  <a:pt x="820" y="3510"/>
                </a:lnTo>
                <a:lnTo>
                  <a:pt x="838" y="3538"/>
                </a:lnTo>
                <a:lnTo>
                  <a:pt x="856" y="3566"/>
                </a:lnTo>
                <a:lnTo>
                  <a:pt x="876" y="3592"/>
                </a:lnTo>
                <a:lnTo>
                  <a:pt x="896" y="3618"/>
                </a:lnTo>
                <a:lnTo>
                  <a:pt x="918" y="3644"/>
                </a:lnTo>
                <a:lnTo>
                  <a:pt x="942" y="3668"/>
                </a:lnTo>
                <a:lnTo>
                  <a:pt x="966" y="3690"/>
                </a:lnTo>
                <a:lnTo>
                  <a:pt x="990" y="3712"/>
                </a:lnTo>
                <a:lnTo>
                  <a:pt x="1016" y="3734"/>
                </a:lnTo>
                <a:lnTo>
                  <a:pt x="1044" y="3752"/>
                </a:lnTo>
                <a:lnTo>
                  <a:pt x="1072" y="3772"/>
                </a:lnTo>
                <a:lnTo>
                  <a:pt x="1100" y="3788"/>
                </a:lnTo>
                <a:lnTo>
                  <a:pt x="1130" y="3804"/>
                </a:lnTo>
                <a:lnTo>
                  <a:pt x="1160" y="3818"/>
                </a:lnTo>
                <a:lnTo>
                  <a:pt x="1192" y="3832"/>
                </a:lnTo>
                <a:lnTo>
                  <a:pt x="1224" y="3844"/>
                </a:lnTo>
                <a:lnTo>
                  <a:pt x="1256" y="3854"/>
                </a:lnTo>
                <a:lnTo>
                  <a:pt x="1288" y="3862"/>
                </a:lnTo>
                <a:lnTo>
                  <a:pt x="1322" y="3870"/>
                </a:lnTo>
                <a:lnTo>
                  <a:pt x="1356" y="3876"/>
                </a:lnTo>
                <a:lnTo>
                  <a:pt x="1392" y="3880"/>
                </a:lnTo>
                <a:lnTo>
                  <a:pt x="2048" y="4666"/>
                </a:lnTo>
                <a:lnTo>
                  <a:pt x="2048" y="6388"/>
                </a:lnTo>
                <a:lnTo>
                  <a:pt x="284" y="6388"/>
                </a:lnTo>
                <a:lnTo>
                  <a:pt x="284" y="284"/>
                </a:lnTo>
                <a:lnTo>
                  <a:pt x="6389" y="284"/>
                </a:lnTo>
                <a:lnTo>
                  <a:pt x="6389" y="6388"/>
                </a:lnTo>
                <a:close/>
                <a:moveTo>
                  <a:pt x="5213" y="2314"/>
                </a:moveTo>
                <a:lnTo>
                  <a:pt x="5213" y="2314"/>
                </a:lnTo>
                <a:lnTo>
                  <a:pt x="5167" y="2312"/>
                </a:lnTo>
                <a:lnTo>
                  <a:pt x="5123" y="2304"/>
                </a:lnTo>
                <a:lnTo>
                  <a:pt x="5079" y="2294"/>
                </a:lnTo>
                <a:lnTo>
                  <a:pt x="5039" y="2278"/>
                </a:lnTo>
                <a:lnTo>
                  <a:pt x="4999" y="2260"/>
                </a:lnTo>
                <a:lnTo>
                  <a:pt x="4961" y="2236"/>
                </a:lnTo>
                <a:lnTo>
                  <a:pt x="4927" y="2210"/>
                </a:lnTo>
                <a:lnTo>
                  <a:pt x="4895" y="2182"/>
                </a:lnTo>
                <a:lnTo>
                  <a:pt x="4865" y="2150"/>
                </a:lnTo>
                <a:lnTo>
                  <a:pt x="4839" y="2114"/>
                </a:lnTo>
                <a:lnTo>
                  <a:pt x="4817" y="2078"/>
                </a:lnTo>
                <a:lnTo>
                  <a:pt x="4799" y="2038"/>
                </a:lnTo>
                <a:lnTo>
                  <a:pt x="4783" y="1996"/>
                </a:lnTo>
                <a:lnTo>
                  <a:pt x="4771" y="1954"/>
                </a:lnTo>
                <a:lnTo>
                  <a:pt x="4765" y="1910"/>
                </a:lnTo>
                <a:lnTo>
                  <a:pt x="4763" y="1864"/>
                </a:lnTo>
                <a:lnTo>
                  <a:pt x="4763" y="1864"/>
                </a:lnTo>
                <a:lnTo>
                  <a:pt x="4765" y="1818"/>
                </a:lnTo>
                <a:lnTo>
                  <a:pt x="4771" y="1772"/>
                </a:lnTo>
                <a:lnTo>
                  <a:pt x="4783" y="1730"/>
                </a:lnTo>
                <a:lnTo>
                  <a:pt x="4799" y="1688"/>
                </a:lnTo>
                <a:lnTo>
                  <a:pt x="4817" y="1648"/>
                </a:lnTo>
                <a:lnTo>
                  <a:pt x="4839" y="1612"/>
                </a:lnTo>
                <a:lnTo>
                  <a:pt x="4865" y="1576"/>
                </a:lnTo>
                <a:lnTo>
                  <a:pt x="4895" y="1544"/>
                </a:lnTo>
                <a:lnTo>
                  <a:pt x="4927" y="1516"/>
                </a:lnTo>
                <a:lnTo>
                  <a:pt x="4961" y="1490"/>
                </a:lnTo>
                <a:lnTo>
                  <a:pt x="4999" y="1466"/>
                </a:lnTo>
                <a:lnTo>
                  <a:pt x="5039" y="1448"/>
                </a:lnTo>
                <a:lnTo>
                  <a:pt x="5079" y="1432"/>
                </a:lnTo>
                <a:lnTo>
                  <a:pt x="5123" y="1422"/>
                </a:lnTo>
                <a:lnTo>
                  <a:pt x="5167" y="1414"/>
                </a:lnTo>
                <a:lnTo>
                  <a:pt x="5213" y="1412"/>
                </a:lnTo>
                <a:lnTo>
                  <a:pt x="5213" y="1412"/>
                </a:lnTo>
                <a:lnTo>
                  <a:pt x="5259" y="1414"/>
                </a:lnTo>
                <a:lnTo>
                  <a:pt x="5305" y="1422"/>
                </a:lnTo>
                <a:lnTo>
                  <a:pt x="5347" y="1432"/>
                </a:lnTo>
                <a:lnTo>
                  <a:pt x="5389" y="1448"/>
                </a:lnTo>
                <a:lnTo>
                  <a:pt x="5429" y="1466"/>
                </a:lnTo>
                <a:lnTo>
                  <a:pt x="5465" y="1490"/>
                </a:lnTo>
                <a:lnTo>
                  <a:pt x="5499" y="1516"/>
                </a:lnTo>
                <a:lnTo>
                  <a:pt x="5531" y="1544"/>
                </a:lnTo>
                <a:lnTo>
                  <a:pt x="5561" y="1576"/>
                </a:lnTo>
                <a:lnTo>
                  <a:pt x="5587" y="1612"/>
                </a:lnTo>
                <a:lnTo>
                  <a:pt x="5609" y="1648"/>
                </a:lnTo>
                <a:lnTo>
                  <a:pt x="5629" y="1688"/>
                </a:lnTo>
                <a:lnTo>
                  <a:pt x="5643" y="1730"/>
                </a:lnTo>
                <a:lnTo>
                  <a:pt x="5655" y="1772"/>
                </a:lnTo>
                <a:lnTo>
                  <a:pt x="5661" y="1818"/>
                </a:lnTo>
                <a:lnTo>
                  <a:pt x="5665" y="1864"/>
                </a:lnTo>
                <a:lnTo>
                  <a:pt x="5665" y="1864"/>
                </a:lnTo>
                <a:lnTo>
                  <a:pt x="5661" y="1910"/>
                </a:lnTo>
                <a:lnTo>
                  <a:pt x="5655" y="1954"/>
                </a:lnTo>
                <a:lnTo>
                  <a:pt x="5643" y="1996"/>
                </a:lnTo>
                <a:lnTo>
                  <a:pt x="5629" y="2038"/>
                </a:lnTo>
                <a:lnTo>
                  <a:pt x="5609" y="2078"/>
                </a:lnTo>
                <a:lnTo>
                  <a:pt x="5587" y="2114"/>
                </a:lnTo>
                <a:lnTo>
                  <a:pt x="5561" y="2150"/>
                </a:lnTo>
                <a:lnTo>
                  <a:pt x="5531" y="2182"/>
                </a:lnTo>
                <a:lnTo>
                  <a:pt x="5499" y="2210"/>
                </a:lnTo>
                <a:lnTo>
                  <a:pt x="5465" y="2236"/>
                </a:lnTo>
                <a:lnTo>
                  <a:pt x="5429" y="2260"/>
                </a:lnTo>
                <a:lnTo>
                  <a:pt x="5389" y="2278"/>
                </a:lnTo>
                <a:lnTo>
                  <a:pt x="5347" y="2294"/>
                </a:lnTo>
                <a:lnTo>
                  <a:pt x="5305" y="2304"/>
                </a:lnTo>
                <a:lnTo>
                  <a:pt x="5259" y="2312"/>
                </a:lnTo>
                <a:lnTo>
                  <a:pt x="5213" y="2314"/>
                </a:lnTo>
                <a:lnTo>
                  <a:pt x="5213" y="2314"/>
                </a:lnTo>
                <a:close/>
                <a:moveTo>
                  <a:pt x="3963" y="3548"/>
                </a:moveTo>
                <a:lnTo>
                  <a:pt x="3963" y="3548"/>
                </a:lnTo>
                <a:lnTo>
                  <a:pt x="3917" y="3544"/>
                </a:lnTo>
                <a:lnTo>
                  <a:pt x="3873" y="3538"/>
                </a:lnTo>
                <a:lnTo>
                  <a:pt x="3829" y="3526"/>
                </a:lnTo>
                <a:lnTo>
                  <a:pt x="3787" y="3512"/>
                </a:lnTo>
                <a:lnTo>
                  <a:pt x="3749" y="3492"/>
                </a:lnTo>
                <a:lnTo>
                  <a:pt x="3711" y="3470"/>
                </a:lnTo>
                <a:lnTo>
                  <a:pt x="3677" y="3444"/>
                </a:lnTo>
                <a:lnTo>
                  <a:pt x="3645" y="3414"/>
                </a:lnTo>
                <a:lnTo>
                  <a:pt x="3615" y="3382"/>
                </a:lnTo>
                <a:lnTo>
                  <a:pt x="3589" y="3348"/>
                </a:lnTo>
                <a:lnTo>
                  <a:pt x="3567" y="3312"/>
                </a:lnTo>
                <a:lnTo>
                  <a:pt x="3547" y="3272"/>
                </a:lnTo>
                <a:lnTo>
                  <a:pt x="3533" y="3230"/>
                </a:lnTo>
                <a:lnTo>
                  <a:pt x="3521" y="3188"/>
                </a:lnTo>
                <a:lnTo>
                  <a:pt x="3515" y="3142"/>
                </a:lnTo>
                <a:lnTo>
                  <a:pt x="3513" y="3096"/>
                </a:lnTo>
                <a:lnTo>
                  <a:pt x="3513" y="3096"/>
                </a:lnTo>
                <a:lnTo>
                  <a:pt x="3515" y="3050"/>
                </a:lnTo>
                <a:lnTo>
                  <a:pt x="3521" y="3006"/>
                </a:lnTo>
                <a:lnTo>
                  <a:pt x="3533" y="2962"/>
                </a:lnTo>
                <a:lnTo>
                  <a:pt x="3547" y="2922"/>
                </a:lnTo>
                <a:lnTo>
                  <a:pt x="3567" y="2882"/>
                </a:lnTo>
                <a:lnTo>
                  <a:pt x="3589" y="2844"/>
                </a:lnTo>
                <a:lnTo>
                  <a:pt x="3615" y="2810"/>
                </a:lnTo>
                <a:lnTo>
                  <a:pt x="3645" y="2778"/>
                </a:lnTo>
                <a:lnTo>
                  <a:pt x="3677" y="2748"/>
                </a:lnTo>
                <a:lnTo>
                  <a:pt x="3711" y="2722"/>
                </a:lnTo>
                <a:lnTo>
                  <a:pt x="3749" y="2700"/>
                </a:lnTo>
                <a:lnTo>
                  <a:pt x="3787" y="2682"/>
                </a:lnTo>
                <a:lnTo>
                  <a:pt x="3829" y="2666"/>
                </a:lnTo>
                <a:lnTo>
                  <a:pt x="3873" y="2654"/>
                </a:lnTo>
                <a:lnTo>
                  <a:pt x="3917" y="2648"/>
                </a:lnTo>
                <a:lnTo>
                  <a:pt x="3963" y="2646"/>
                </a:lnTo>
                <a:lnTo>
                  <a:pt x="3963" y="2646"/>
                </a:lnTo>
                <a:lnTo>
                  <a:pt x="4009" y="2648"/>
                </a:lnTo>
                <a:lnTo>
                  <a:pt x="4053" y="2654"/>
                </a:lnTo>
                <a:lnTo>
                  <a:pt x="4097" y="2666"/>
                </a:lnTo>
                <a:lnTo>
                  <a:pt x="4139" y="2682"/>
                </a:lnTo>
                <a:lnTo>
                  <a:pt x="4177" y="2700"/>
                </a:lnTo>
                <a:lnTo>
                  <a:pt x="4215" y="2722"/>
                </a:lnTo>
                <a:lnTo>
                  <a:pt x="4249" y="2748"/>
                </a:lnTo>
                <a:lnTo>
                  <a:pt x="4281" y="2778"/>
                </a:lnTo>
                <a:lnTo>
                  <a:pt x="4311" y="2810"/>
                </a:lnTo>
                <a:lnTo>
                  <a:pt x="4337" y="2844"/>
                </a:lnTo>
                <a:lnTo>
                  <a:pt x="4359" y="2882"/>
                </a:lnTo>
                <a:lnTo>
                  <a:pt x="4379" y="2922"/>
                </a:lnTo>
                <a:lnTo>
                  <a:pt x="4393" y="2962"/>
                </a:lnTo>
                <a:lnTo>
                  <a:pt x="4405" y="3006"/>
                </a:lnTo>
                <a:lnTo>
                  <a:pt x="4411" y="3050"/>
                </a:lnTo>
                <a:lnTo>
                  <a:pt x="4413" y="3096"/>
                </a:lnTo>
                <a:lnTo>
                  <a:pt x="4413" y="3096"/>
                </a:lnTo>
                <a:lnTo>
                  <a:pt x="4411" y="3142"/>
                </a:lnTo>
                <a:lnTo>
                  <a:pt x="4405" y="3188"/>
                </a:lnTo>
                <a:lnTo>
                  <a:pt x="4393" y="3230"/>
                </a:lnTo>
                <a:lnTo>
                  <a:pt x="4379" y="3272"/>
                </a:lnTo>
                <a:lnTo>
                  <a:pt x="4359" y="3312"/>
                </a:lnTo>
                <a:lnTo>
                  <a:pt x="4337" y="3348"/>
                </a:lnTo>
                <a:lnTo>
                  <a:pt x="4311" y="3382"/>
                </a:lnTo>
                <a:lnTo>
                  <a:pt x="4281" y="3414"/>
                </a:lnTo>
                <a:lnTo>
                  <a:pt x="4249" y="3444"/>
                </a:lnTo>
                <a:lnTo>
                  <a:pt x="4215" y="3470"/>
                </a:lnTo>
                <a:lnTo>
                  <a:pt x="4177" y="3492"/>
                </a:lnTo>
                <a:lnTo>
                  <a:pt x="4139" y="3512"/>
                </a:lnTo>
                <a:lnTo>
                  <a:pt x="4097" y="3526"/>
                </a:lnTo>
                <a:lnTo>
                  <a:pt x="4053" y="3538"/>
                </a:lnTo>
                <a:lnTo>
                  <a:pt x="4009" y="3544"/>
                </a:lnTo>
                <a:lnTo>
                  <a:pt x="3963" y="3548"/>
                </a:lnTo>
                <a:lnTo>
                  <a:pt x="3963" y="3548"/>
                </a:lnTo>
                <a:close/>
                <a:moveTo>
                  <a:pt x="1010" y="3148"/>
                </a:moveTo>
                <a:lnTo>
                  <a:pt x="1010" y="3148"/>
                </a:lnTo>
                <a:lnTo>
                  <a:pt x="1012" y="3102"/>
                </a:lnTo>
                <a:lnTo>
                  <a:pt x="1020" y="3058"/>
                </a:lnTo>
                <a:lnTo>
                  <a:pt x="1030" y="3014"/>
                </a:lnTo>
                <a:lnTo>
                  <a:pt x="1046" y="2972"/>
                </a:lnTo>
                <a:lnTo>
                  <a:pt x="1064" y="2934"/>
                </a:lnTo>
                <a:lnTo>
                  <a:pt x="1088" y="2896"/>
                </a:lnTo>
                <a:lnTo>
                  <a:pt x="1114" y="2862"/>
                </a:lnTo>
                <a:lnTo>
                  <a:pt x="1142" y="2830"/>
                </a:lnTo>
                <a:lnTo>
                  <a:pt x="1174" y="2800"/>
                </a:lnTo>
                <a:lnTo>
                  <a:pt x="1210" y="2774"/>
                </a:lnTo>
                <a:lnTo>
                  <a:pt x="1246" y="2752"/>
                </a:lnTo>
                <a:lnTo>
                  <a:pt x="1286" y="2732"/>
                </a:lnTo>
                <a:lnTo>
                  <a:pt x="1326" y="2718"/>
                </a:lnTo>
                <a:lnTo>
                  <a:pt x="1370" y="2706"/>
                </a:lnTo>
                <a:lnTo>
                  <a:pt x="1414" y="2700"/>
                </a:lnTo>
                <a:lnTo>
                  <a:pt x="1460" y="2698"/>
                </a:lnTo>
                <a:lnTo>
                  <a:pt x="1460" y="2698"/>
                </a:lnTo>
                <a:lnTo>
                  <a:pt x="1506" y="2700"/>
                </a:lnTo>
                <a:lnTo>
                  <a:pt x="1552" y="2706"/>
                </a:lnTo>
                <a:lnTo>
                  <a:pt x="1594" y="2718"/>
                </a:lnTo>
                <a:lnTo>
                  <a:pt x="1636" y="2732"/>
                </a:lnTo>
                <a:lnTo>
                  <a:pt x="1676" y="2752"/>
                </a:lnTo>
                <a:lnTo>
                  <a:pt x="1712" y="2774"/>
                </a:lnTo>
                <a:lnTo>
                  <a:pt x="1748" y="2800"/>
                </a:lnTo>
                <a:lnTo>
                  <a:pt x="1780" y="2830"/>
                </a:lnTo>
                <a:lnTo>
                  <a:pt x="1808" y="2862"/>
                </a:lnTo>
                <a:lnTo>
                  <a:pt x="1834" y="2896"/>
                </a:lnTo>
                <a:lnTo>
                  <a:pt x="1856" y="2934"/>
                </a:lnTo>
                <a:lnTo>
                  <a:pt x="1876" y="2972"/>
                </a:lnTo>
                <a:lnTo>
                  <a:pt x="1892" y="3014"/>
                </a:lnTo>
                <a:lnTo>
                  <a:pt x="1902" y="3058"/>
                </a:lnTo>
                <a:lnTo>
                  <a:pt x="1910" y="3102"/>
                </a:lnTo>
                <a:lnTo>
                  <a:pt x="1912" y="3148"/>
                </a:lnTo>
                <a:lnTo>
                  <a:pt x="1912" y="3148"/>
                </a:lnTo>
                <a:lnTo>
                  <a:pt x="1910" y="3194"/>
                </a:lnTo>
                <a:lnTo>
                  <a:pt x="1902" y="3238"/>
                </a:lnTo>
                <a:lnTo>
                  <a:pt x="1892" y="3282"/>
                </a:lnTo>
                <a:lnTo>
                  <a:pt x="1876" y="3324"/>
                </a:lnTo>
                <a:lnTo>
                  <a:pt x="1856" y="3362"/>
                </a:lnTo>
                <a:lnTo>
                  <a:pt x="1834" y="3400"/>
                </a:lnTo>
                <a:lnTo>
                  <a:pt x="1808" y="3434"/>
                </a:lnTo>
                <a:lnTo>
                  <a:pt x="1780" y="3466"/>
                </a:lnTo>
                <a:lnTo>
                  <a:pt x="1748" y="3496"/>
                </a:lnTo>
                <a:lnTo>
                  <a:pt x="1712" y="3522"/>
                </a:lnTo>
                <a:lnTo>
                  <a:pt x="1676" y="3544"/>
                </a:lnTo>
                <a:lnTo>
                  <a:pt x="1636" y="3564"/>
                </a:lnTo>
                <a:lnTo>
                  <a:pt x="1594" y="3578"/>
                </a:lnTo>
                <a:lnTo>
                  <a:pt x="1552" y="3590"/>
                </a:lnTo>
                <a:lnTo>
                  <a:pt x="1506" y="3596"/>
                </a:lnTo>
                <a:lnTo>
                  <a:pt x="1460" y="3598"/>
                </a:lnTo>
                <a:lnTo>
                  <a:pt x="1460" y="3598"/>
                </a:lnTo>
                <a:lnTo>
                  <a:pt x="1414" y="3596"/>
                </a:lnTo>
                <a:lnTo>
                  <a:pt x="1370" y="3590"/>
                </a:lnTo>
                <a:lnTo>
                  <a:pt x="1326" y="3578"/>
                </a:lnTo>
                <a:lnTo>
                  <a:pt x="1286" y="3564"/>
                </a:lnTo>
                <a:lnTo>
                  <a:pt x="1246" y="3544"/>
                </a:lnTo>
                <a:lnTo>
                  <a:pt x="1210" y="3522"/>
                </a:lnTo>
                <a:lnTo>
                  <a:pt x="1174" y="3496"/>
                </a:lnTo>
                <a:lnTo>
                  <a:pt x="1142" y="3466"/>
                </a:lnTo>
                <a:lnTo>
                  <a:pt x="1114" y="3434"/>
                </a:lnTo>
                <a:lnTo>
                  <a:pt x="1088" y="3400"/>
                </a:lnTo>
                <a:lnTo>
                  <a:pt x="1064" y="3362"/>
                </a:lnTo>
                <a:lnTo>
                  <a:pt x="1046" y="3324"/>
                </a:lnTo>
                <a:lnTo>
                  <a:pt x="1030" y="3282"/>
                </a:lnTo>
                <a:lnTo>
                  <a:pt x="1020" y="3238"/>
                </a:lnTo>
                <a:lnTo>
                  <a:pt x="1012" y="3194"/>
                </a:lnTo>
                <a:lnTo>
                  <a:pt x="1010" y="3148"/>
                </a:lnTo>
                <a:lnTo>
                  <a:pt x="1010" y="3148"/>
                </a:lnTo>
                <a:close/>
              </a:path>
            </a:pathLst>
          </a:custGeom>
          <a:solidFill>
            <a:schemeClr val="accent4">
              <a:lumMod val="50000"/>
            </a:schemeClr>
          </a:solidFill>
          <a:ln>
            <a:noFill/>
          </a:ln>
        </p:spPr>
        <p:txBody>
          <a:bodyPr spcFirstLastPara="1" wrap="square" lIns="78175" tIns="39075" rIns="78175" bIns="390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14" name="Google Shape;3899;p94">
            <a:extLst>
              <a:ext uri="{FF2B5EF4-FFF2-40B4-BE49-F238E27FC236}">
                <a16:creationId xmlns:a16="http://schemas.microsoft.com/office/drawing/2014/main" id="{D5E8B45E-E950-48AC-A67F-80751FC56371}"/>
              </a:ext>
            </a:extLst>
          </p:cNvPr>
          <p:cNvSpPr/>
          <p:nvPr/>
        </p:nvSpPr>
        <p:spPr>
          <a:xfrm>
            <a:off x="2740949" y="2615033"/>
            <a:ext cx="7314943"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Задержка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перехода от</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 оценки к плану действий (&gt; 400 дней от СВО до NAPHS)</a:t>
            </a:r>
            <a:endParaRPr kumimoji="0" lang="en-US" b="0" i="0" u="none" strike="noStrike" kern="1200" cap="none" spc="0" normalizeH="0" baseline="0" noProof="0" dirty="0">
              <a:ln>
                <a:noFill/>
              </a:ln>
              <a:solidFill>
                <a:srgbClr val="000000"/>
              </a:solidFill>
              <a:effectLst/>
              <a:uLnTx/>
              <a:uFillTx/>
              <a:latin typeface="Calibri"/>
              <a:ea typeface="Arial"/>
              <a:cs typeface="Arial"/>
              <a:sym typeface="Arial"/>
            </a:endParaRPr>
          </a:p>
        </p:txBody>
      </p:sp>
      <p:sp>
        <p:nvSpPr>
          <p:cNvPr id="115" name="Google Shape;3899;p94">
            <a:extLst>
              <a:ext uri="{FF2B5EF4-FFF2-40B4-BE49-F238E27FC236}">
                <a16:creationId xmlns:a16="http://schemas.microsoft.com/office/drawing/2014/main" id="{35532880-1AB8-42E4-AE21-A94B31C5C730}"/>
              </a:ext>
            </a:extLst>
          </p:cNvPr>
          <p:cNvSpPr/>
          <p:nvPr/>
        </p:nvSpPr>
        <p:spPr>
          <a:xfrm>
            <a:off x="2752764" y="3417052"/>
            <a:ext cx="7314943"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Ограниченная связь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с другими </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инструментами MEF ММСП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помимо СВО </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например, SPAR, </a:t>
            </a:r>
            <a:r>
              <a:rPr kumimoji="0" lang="ru-RU" b="1" i="0" u="none" strike="noStrike" kern="1200" cap="none" spc="0" normalizeH="0" baseline="0" noProof="0" dirty="0" err="1">
                <a:ln>
                  <a:noFill/>
                </a:ln>
                <a:solidFill>
                  <a:srgbClr val="000000"/>
                </a:solidFill>
                <a:effectLst/>
                <a:uLnTx/>
                <a:uFillTx/>
                <a:latin typeface="Calibri"/>
                <a:ea typeface="Arial"/>
                <a:cs typeface="Arial"/>
                <a:sym typeface="Arial"/>
              </a:rPr>
              <a:t>SimEx</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 и AAR)</a:t>
            </a:r>
            <a:endParaRPr kumimoji="0" lang="en-US" b="0" i="0" u="none" strike="noStrike" kern="1200" cap="none" spc="0" normalizeH="0" baseline="0" noProof="0" dirty="0">
              <a:ln>
                <a:noFill/>
              </a:ln>
              <a:solidFill>
                <a:srgbClr val="000000"/>
              </a:solidFill>
              <a:effectLst/>
              <a:uLnTx/>
              <a:uFillTx/>
              <a:latin typeface="Calibri"/>
              <a:ea typeface="Arial"/>
              <a:cs typeface="Arial"/>
              <a:sym typeface="Arial"/>
            </a:endParaRPr>
          </a:p>
        </p:txBody>
      </p:sp>
      <p:sp>
        <p:nvSpPr>
          <p:cNvPr id="116" name="Google Shape;3899;p94">
            <a:extLst>
              <a:ext uri="{FF2B5EF4-FFF2-40B4-BE49-F238E27FC236}">
                <a16:creationId xmlns:a16="http://schemas.microsoft.com/office/drawing/2014/main" id="{EB76A0F9-B273-4E57-A544-6E053F93D0D4}"/>
              </a:ext>
            </a:extLst>
          </p:cNvPr>
          <p:cNvSpPr/>
          <p:nvPr/>
        </p:nvSpPr>
        <p:spPr>
          <a:xfrm>
            <a:off x="2764580" y="4169476"/>
            <a:ext cx="7270680"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Упущенная возможность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включить</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 уроки реальных чрезвычайных ситуаций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например</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 COVID-19)</a:t>
            </a:r>
            <a:endParaRPr kumimoji="0" lang="en-US" b="0" i="0" u="none" strike="noStrike" kern="1200" cap="none" spc="0" normalizeH="0" baseline="0" noProof="0" dirty="0">
              <a:ln>
                <a:noFill/>
              </a:ln>
              <a:solidFill>
                <a:srgbClr val="000000"/>
              </a:solidFill>
              <a:effectLst/>
              <a:uLnTx/>
              <a:uFillTx/>
              <a:latin typeface="Calibri"/>
              <a:ea typeface="Arial"/>
              <a:cs typeface="Arial"/>
              <a:sym typeface="Arial"/>
            </a:endParaRPr>
          </a:p>
        </p:txBody>
      </p:sp>
      <p:sp>
        <p:nvSpPr>
          <p:cNvPr id="117" name="Google Shape;3899;p94">
            <a:extLst>
              <a:ext uri="{FF2B5EF4-FFF2-40B4-BE49-F238E27FC236}">
                <a16:creationId xmlns:a16="http://schemas.microsoft.com/office/drawing/2014/main" id="{33D0C58A-F7A9-4122-B5F7-D1AA15C0B0DA}"/>
              </a:ext>
            </a:extLst>
          </p:cNvPr>
          <p:cNvSpPr/>
          <p:nvPr/>
        </p:nvSpPr>
        <p:spPr>
          <a:xfrm>
            <a:off x="2728788" y="5683154"/>
            <a:ext cx="7314943"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Согласование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с другими </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существующими процессами планирования и внутренними бюджетными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циклами</a:t>
            </a:r>
            <a:endParaRPr kumimoji="0" lang="en-US" b="0" i="0" u="none" strike="noStrike" kern="1200" cap="none" spc="0" normalizeH="0" baseline="0" noProof="0" dirty="0">
              <a:ln>
                <a:noFill/>
              </a:ln>
              <a:solidFill>
                <a:srgbClr val="000000"/>
              </a:solidFill>
              <a:effectLst/>
              <a:uLnTx/>
              <a:uFillTx/>
              <a:latin typeface="Calibri"/>
              <a:ea typeface="Arial"/>
              <a:cs typeface="Arial"/>
              <a:sym typeface="Arial"/>
            </a:endParaRPr>
          </a:p>
        </p:txBody>
      </p:sp>
      <p:sp>
        <p:nvSpPr>
          <p:cNvPr id="118" name="Google Shape;3899;p94">
            <a:extLst>
              <a:ext uri="{FF2B5EF4-FFF2-40B4-BE49-F238E27FC236}">
                <a16:creationId xmlns:a16="http://schemas.microsoft.com/office/drawing/2014/main" id="{47A0099F-212F-4ACD-BE6A-B00D338475B3}"/>
              </a:ext>
            </a:extLst>
          </p:cNvPr>
          <p:cNvSpPr/>
          <p:nvPr/>
        </p:nvSpPr>
        <p:spPr>
          <a:xfrm>
            <a:off x="2740949" y="4949675"/>
            <a:ext cx="7490187" cy="46166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Статичный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план</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 против актуализируемого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плана</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 (нет мониторинга и ежегодной корректировки </a:t>
            </a:r>
            <a:r>
              <a:rPr kumimoji="0" lang="ru-RU" i="0" u="none" strike="noStrike" kern="1200" cap="none" spc="0" normalizeH="0" baseline="0" noProof="0" dirty="0">
                <a:ln>
                  <a:noFill/>
                </a:ln>
                <a:solidFill>
                  <a:srgbClr val="000000"/>
                </a:solidFill>
                <a:effectLst/>
                <a:uLnTx/>
                <a:uFillTx/>
                <a:latin typeface="Calibri"/>
                <a:ea typeface="Arial"/>
                <a:cs typeface="Arial"/>
                <a:sym typeface="Arial"/>
              </a:rPr>
              <a:t>планов</a:t>
            </a:r>
            <a:r>
              <a:rPr kumimoji="0" lang="ru-RU" b="1" i="0" u="none" strike="noStrike" kern="1200" cap="none" spc="0" normalizeH="0" baseline="0" noProof="0" dirty="0">
                <a:ln>
                  <a:noFill/>
                </a:ln>
                <a:solidFill>
                  <a:srgbClr val="000000"/>
                </a:solidFill>
                <a:effectLst/>
                <a:uLnTx/>
                <a:uFillTx/>
                <a:latin typeface="Calibri"/>
                <a:ea typeface="Arial"/>
                <a:cs typeface="Arial"/>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Calibri"/>
                <a:ea typeface="Arial"/>
                <a:cs typeface="Arial"/>
                <a:sym typeface="Arial"/>
              </a:rPr>
              <a:t> </a:t>
            </a:r>
          </a:p>
        </p:txBody>
      </p:sp>
    </p:spTree>
    <p:extLst>
      <p:ext uri="{BB962C8B-B14F-4D97-AF65-F5344CB8AC3E}">
        <p14:creationId xmlns:p14="http://schemas.microsoft.com/office/powerpoint/2010/main" val="4416879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B7BA8EE-DBF7-4E1C-AFB9-154F012740CA}"/>
              </a:ext>
            </a:extLst>
          </p:cNvPr>
          <p:cNvSpPr>
            <a:spLocks noGrp="1"/>
          </p:cNvSpPr>
          <p:nvPr>
            <p:ph type="title"/>
          </p:nvPr>
        </p:nvSpPr>
        <p:spPr>
          <a:xfrm>
            <a:off x="277368" y="368808"/>
            <a:ext cx="11277600" cy="1004888"/>
          </a:xfrm>
        </p:spPr>
        <p:txBody>
          <a:bodyPr/>
          <a:lstStyle/>
          <a:p>
            <a:r>
              <a:rPr lang="ru-RU" sz="2800" b="1" dirty="0">
                <a:solidFill>
                  <a:srgbClr val="002060"/>
                </a:solidFill>
              </a:rPr>
              <a:t>Обновление статуса NAPHS в Европейском регионе</a:t>
            </a:r>
            <a:br>
              <a:rPr lang="en-US" sz="2800" dirty="0">
                <a:solidFill>
                  <a:srgbClr val="002060"/>
                </a:solidFill>
              </a:rPr>
            </a:br>
            <a:endParaRPr lang="en-US" dirty="0">
              <a:solidFill>
                <a:srgbClr val="002060"/>
              </a:solidFill>
            </a:endParaRPr>
          </a:p>
        </p:txBody>
      </p:sp>
      <p:sp>
        <p:nvSpPr>
          <p:cNvPr id="2" name="Content Placeholder 1">
            <a:extLst>
              <a:ext uri="{FF2B5EF4-FFF2-40B4-BE49-F238E27FC236}">
                <a16:creationId xmlns:a16="http://schemas.microsoft.com/office/drawing/2014/main" id="{CB0A5B5A-9CDE-411A-9CAD-54F1C0B36FC1}"/>
              </a:ext>
            </a:extLst>
          </p:cNvPr>
          <p:cNvSpPr>
            <a:spLocks noGrp="1"/>
          </p:cNvSpPr>
          <p:nvPr>
            <p:ph idx="1"/>
          </p:nvPr>
        </p:nvSpPr>
        <p:spPr>
          <a:xfrm>
            <a:off x="277368" y="2439048"/>
            <a:ext cx="4794504" cy="2369880"/>
          </a:xfrm>
        </p:spPr>
        <p:txBody>
          <a:bodyPr/>
          <a:lstStyle/>
          <a:p>
            <a:pPr marL="0" indent="0">
              <a:buNone/>
            </a:pPr>
            <a:r>
              <a:rPr lang="ru-RU" sz="2400" b="1" dirty="0"/>
              <a:t>Другие</a:t>
            </a:r>
            <a:r>
              <a:rPr lang="en-US" sz="2400" b="1" dirty="0"/>
              <a:t>: </a:t>
            </a:r>
          </a:p>
          <a:p>
            <a:pPr marL="342900" indent="-342900">
              <a:buFont typeface="Arial" panose="020B0604020202020204" pitchFamily="34" charset="0"/>
              <a:buChar char="•"/>
            </a:pPr>
            <a:r>
              <a:rPr lang="ru-RU" sz="2000" dirty="0"/>
              <a:t>Проект NAPHS разработан и обсужден с заинтересованными сторонами </a:t>
            </a:r>
            <a:r>
              <a:rPr lang="en-PH" sz="2000" dirty="0"/>
              <a:t>(2)</a:t>
            </a:r>
          </a:p>
          <a:p>
            <a:pPr marL="342900" indent="-342900">
              <a:buFont typeface="Arial" panose="020B0604020202020204" pitchFamily="34" charset="0"/>
              <a:buChar char="•"/>
            </a:pPr>
            <a:r>
              <a:rPr lang="ru-RU" sz="2000" dirty="0"/>
              <a:t>NAPHS разработан и регулярно обновляется для внутреннего использования с заинтересованными сторонами</a:t>
            </a:r>
            <a:endParaRPr lang="en-US" sz="2400" dirty="0"/>
          </a:p>
        </p:txBody>
      </p:sp>
      <p:graphicFrame>
        <p:nvGraphicFramePr>
          <p:cNvPr id="3" name="Chart 3">
            <a:extLst>
              <a:ext uri="{FF2B5EF4-FFF2-40B4-BE49-F238E27FC236}">
                <a16:creationId xmlns:a16="http://schemas.microsoft.com/office/drawing/2014/main" id="{5A2C29D8-4D77-9DBB-6AC8-AA248FAF0D8B}"/>
              </a:ext>
            </a:extLst>
          </p:cNvPr>
          <p:cNvGraphicFramePr>
            <a:graphicFrameLocks/>
          </p:cNvGraphicFramePr>
          <p:nvPr>
            <p:extLst>
              <p:ext uri="{D42A27DB-BD31-4B8C-83A1-F6EECF244321}">
                <p14:modId xmlns:p14="http://schemas.microsoft.com/office/powerpoint/2010/main" val="2515746722"/>
              </p:ext>
            </p:extLst>
          </p:nvPr>
        </p:nvGraphicFramePr>
        <p:xfrm>
          <a:off x="3628761" y="1011407"/>
          <a:ext cx="8285871" cy="5311936"/>
        </p:xfrm>
        <a:graphic>
          <a:graphicData uri="http://schemas.openxmlformats.org/drawingml/2006/chart">
            <c:chart xmlns:c="http://schemas.openxmlformats.org/drawingml/2006/chart" xmlns:r="http://schemas.openxmlformats.org/officeDocument/2006/relationships" r:id="rId2"/>
          </a:graphicData>
        </a:graphic>
      </p:graphicFrame>
      <p:sp>
        <p:nvSpPr>
          <p:cNvPr id="5" name="Прямоугольник 4">
            <a:extLst>
              <a:ext uri="{FF2B5EF4-FFF2-40B4-BE49-F238E27FC236}">
                <a16:creationId xmlns:a16="http://schemas.microsoft.com/office/drawing/2014/main" id="{A5F31B4B-187C-83A4-5863-2837D590F567}"/>
              </a:ext>
            </a:extLst>
          </p:cNvPr>
          <p:cNvSpPr/>
          <p:nvPr/>
        </p:nvSpPr>
        <p:spPr>
          <a:xfrm>
            <a:off x="5520552" y="2257755"/>
            <a:ext cx="1408176" cy="795528"/>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NAPHS </a:t>
            </a:r>
            <a:r>
              <a:rPr lang="ru-RU" sz="1600" b="1" dirty="0">
                <a:solidFill>
                  <a:schemeClr val="tx1"/>
                </a:solidFill>
              </a:rPr>
              <a:t>не разработаны (2, 15%)</a:t>
            </a:r>
            <a:endParaRPr lang="ru-KZ" sz="1600" b="1" dirty="0" err="1">
              <a:solidFill>
                <a:schemeClr val="tx1"/>
              </a:solidFill>
            </a:endParaRPr>
          </a:p>
        </p:txBody>
      </p:sp>
    </p:spTree>
    <p:extLst>
      <p:ext uri="{BB962C8B-B14F-4D97-AF65-F5344CB8AC3E}">
        <p14:creationId xmlns:p14="http://schemas.microsoft.com/office/powerpoint/2010/main" val="29495086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5">
            <a:extLst>
              <a:ext uri="{FF2B5EF4-FFF2-40B4-BE49-F238E27FC236}">
                <a16:creationId xmlns:a16="http://schemas.microsoft.com/office/drawing/2014/main" id="{28029D1F-E68C-4955-BCF8-08560FABA880}"/>
              </a:ext>
            </a:extLst>
          </p:cNvPr>
          <p:cNvSpPr>
            <a:spLocks noGrp="1"/>
          </p:cNvSpPr>
          <p:nvPr>
            <p:ph type="title"/>
          </p:nvPr>
        </p:nvSpPr>
        <p:spPr>
          <a:xfrm>
            <a:off x="457200" y="0"/>
            <a:ext cx="11277600" cy="1004888"/>
          </a:xfrm>
        </p:spPr>
        <p:txBody>
          <a:bodyPr/>
          <a:lstStyle/>
          <a:p>
            <a:r>
              <a:rPr lang="ru-RU" sz="2800" b="1" dirty="0">
                <a:solidFill>
                  <a:srgbClr val="002060"/>
                </a:solidFill>
                <a:ea typeface="MS PGothic" pitchFamily="34" charset="-128"/>
              </a:rPr>
              <a:t>Отзывы по NAPHS от государств-членов Европейского региона</a:t>
            </a:r>
            <a:endParaRPr lang="en-US" sz="2800" b="1" dirty="0">
              <a:solidFill>
                <a:srgbClr val="002060"/>
              </a:solidFill>
              <a:ea typeface="MS PGothic" pitchFamily="34" charset="-128"/>
            </a:endParaRPr>
          </a:p>
        </p:txBody>
      </p:sp>
      <p:graphicFrame>
        <p:nvGraphicFramePr>
          <p:cNvPr id="7" name="Chart 6">
            <a:extLst>
              <a:ext uri="{FF2B5EF4-FFF2-40B4-BE49-F238E27FC236}">
                <a16:creationId xmlns:a16="http://schemas.microsoft.com/office/drawing/2014/main" id="{DA822EAF-D366-4BB4-B896-A6353309E6F9}"/>
              </a:ext>
            </a:extLst>
          </p:cNvPr>
          <p:cNvGraphicFramePr>
            <a:graphicFrameLocks/>
          </p:cNvGraphicFramePr>
          <p:nvPr>
            <p:extLst>
              <p:ext uri="{D42A27DB-BD31-4B8C-83A1-F6EECF244321}">
                <p14:modId xmlns:p14="http://schemas.microsoft.com/office/powerpoint/2010/main" val="811625994"/>
              </p:ext>
            </p:extLst>
          </p:nvPr>
        </p:nvGraphicFramePr>
        <p:xfrm>
          <a:off x="1778848" y="837060"/>
          <a:ext cx="8986303" cy="56024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55667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8BB1367E-A04D-4D6E-8700-1FB107306743}"/>
              </a:ext>
            </a:extLst>
          </p:cNvPr>
          <p:cNvSpPr txBox="1">
            <a:spLocks/>
          </p:cNvSpPr>
          <p:nvPr/>
        </p:nvSpPr>
        <p:spPr>
          <a:xfrm>
            <a:off x="185026" y="586856"/>
            <a:ext cx="3465410" cy="4734384"/>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ru-RU" sz="3600" b="1" i="0" u="none" strike="noStrike" kern="1200" cap="none" spc="0" normalizeH="0" baseline="0" noProof="0" dirty="0">
                <a:ln>
                  <a:noFill/>
                </a:ln>
                <a:solidFill>
                  <a:prstClr val="white"/>
                </a:solidFill>
                <a:effectLst/>
                <a:uLnTx/>
                <a:uFillTx/>
                <a:latin typeface="Calibri Light" panose="020F0302020204030204"/>
                <a:ea typeface="+mj-ea"/>
                <a:cs typeface="Arial" panose="020B0604020202020204" pitchFamily="34" charset="0"/>
              </a:rPr>
              <a:t>Иерархия политики и планов на национальном уровне</a:t>
            </a:r>
            <a:endParaRPr kumimoji="0" lang="en-US" sz="3600" b="1" i="1" u="none" strike="noStrike" kern="1200" cap="none" spc="0" normalizeH="0" baseline="0" noProof="0" dirty="0">
              <a:ln>
                <a:noFill/>
              </a:ln>
              <a:solidFill>
                <a:prstClr val="white"/>
              </a:solidFill>
              <a:effectLst/>
              <a:uLnTx/>
              <a:uFillTx/>
              <a:latin typeface="Calibri Light" panose="020F0302020204030204"/>
              <a:ea typeface="+mj-ea"/>
              <a:cs typeface="Arial" panose="020B0604020202020204" pitchFamily="34" charset="0"/>
            </a:endParaRPr>
          </a:p>
        </p:txBody>
      </p:sp>
      <p:pic>
        <p:nvPicPr>
          <p:cNvPr id="54" name="Graphic 53" descr="House outline">
            <a:extLst>
              <a:ext uri="{FF2B5EF4-FFF2-40B4-BE49-F238E27FC236}">
                <a16:creationId xmlns:a16="http://schemas.microsoft.com/office/drawing/2014/main" id="{C90DE82E-D676-4F60-B4AB-80D54A619E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8574" y="4713819"/>
            <a:ext cx="1937310" cy="1937310"/>
          </a:xfrm>
          <a:prstGeom prst="rect">
            <a:avLst/>
          </a:prstGeom>
        </p:spPr>
      </p:pic>
      <p:sp>
        <p:nvSpPr>
          <p:cNvPr id="2" name="Oval 1">
            <a:extLst>
              <a:ext uri="{FF2B5EF4-FFF2-40B4-BE49-F238E27FC236}">
                <a16:creationId xmlns:a16="http://schemas.microsoft.com/office/drawing/2014/main" id="{F8D1F587-FBA9-819E-BB4F-3948F1D1ED4F}"/>
              </a:ext>
            </a:extLst>
          </p:cNvPr>
          <p:cNvSpPr/>
          <p:nvPr/>
        </p:nvSpPr>
        <p:spPr>
          <a:xfrm>
            <a:off x="6166764" y="976595"/>
            <a:ext cx="3795026" cy="3795024"/>
          </a:xfrm>
          <a:prstGeom prst="ellipse">
            <a:avLst/>
          </a:prstGeom>
          <a:solidFill>
            <a:schemeClr val="accent1">
              <a:lumMod val="40000"/>
              <a:lumOff val="60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3" name="TextBox 2">
            <a:extLst>
              <a:ext uri="{FF2B5EF4-FFF2-40B4-BE49-F238E27FC236}">
                <a16:creationId xmlns:a16="http://schemas.microsoft.com/office/drawing/2014/main" id="{B541A4C7-67F2-FC25-5ECB-1E6A1718E9C3}"/>
              </a:ext>
            </a:extLst>
          </p:cNvPr>
          <p:cNvSpPr txBox="1"/>
          <p:nvPr/>
        </p:nvSpPr>
        <p:spPr>
          <a:xfrm>
            <a:off x="6965168" y="997202"/>
            <a:ext cx="2187413" cy="4001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4472C4">
                    <a:lumMod val="75000"/>
                  </a:srgbClr>
                </a:solidFill>
                <a:effectLst/>
                <a:uLnTx/>
                <a:uFillTx/>
                <a:latin typeface="Calibri Light" panose="020F0302020204030204"/>
                <a:ea typeface="+mn-ea"/>
                <a:cs typeface="Arial" panose="020B0604020202020204" pitchFamily="34" charset="0"/>
              </a:rPr>
              <a:t>Национальная политика, стратегия и план здравоохранения (NHPSP)</a:t>
            </a:r>
            <a:endParaRPr kumimoji="0" lang="en-US" sz="1000" b="1" i="0" u="none" strike="noStrike" kern="1200" cap="none" spc="0" normalizeH="0" baseline="0" noProof="0" dirty="0">
              <a:ln>
                <a:noFill/>
              </a:ln>
              <a:solidFill>
                <a:srgbClr val="4472C4">
                  <a:lumMod val="75000"/>
                </a:srgbClr>
              </a:solidFill>
              <a:effectLst/>
              <a:uLnTx/>
              <a:uFillTx/>
              <a:latin typeface="Calibri Light" panose="020F0302020204030204"/>
              <a:ea typeface="+mn-ea"/>
              <a:cs typeface="Arial" panose="020B0604020202020204" pitchFamily="34" charset="0"/>
            </a:endParaRPr>
          </a:p>
        </p:txBody>
      </p:sp>
      <p:sp>
        <p:nvSpPr>
          <p:cNvPr id="4" name="Oval 3">
            <a:extLst>
              <a:ext uri="{FF2B5EF4-FFF2-40B4-BE49-F238E27FC236}">
                <a16:creationId xmlns:a16="http://schemas.microsoft.com/office/drawing/2014/main" id="{4EA722B6-AA7D-C4C3-2599-099B981ACA7D}"/>
              </a:ext>
            </a:extLst>
          </p:cNvPr>
          <p:cNvSpPr/>
          <p:nvPr/>
        </p:nvSpPr>
        <p:spPr>
          <a:xfrm>
            <a:off x="6395270" y="1432192"/>
            <a:ext cx="3276355" cy="3276355"/>
          </a:xfrm>
          <a:prstGeom prst="ellipse">
            <a:avLst/>
          </a:prstGeom>
          <a:solidFill>
            <a:srgbClr val="DA115D"/>
          </a:solidFill>
          <a:ln>
            <a:solidFill>
              <a:schemeClr val="tx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5" name="Oval 4">
            <a:extLst>
              <a:ext uri="{FF2B5EF4-FFF2-40B4-BE49-F238E27FC236}">
                <a16:creationId xmlns:a16="http://schemas.microsoft.com/office/drawing/2014/main" id="{4130762C-1A14-D0E2-BF0D-9D5C153CC238}"/>
              </a:ext>
            </a:extLst>
          </p:cNvPr>
          <p:cNvSpPr/>
          <p:nvPr/>
        </p:nvSpPr>
        <p:spPr>
          <a:xfrm>
            <a:off x="6682624" y="1921009"/>
            <a:ext cx="2701647" cy="2701647"/>
          </a:xfrm>
          <a:prstGeom prst="ellipse">
            <a:avLst/>
          </a:prstGeom>
          <a:solidFill>
            <a:srgbClr val="DA115D"/>
          </a:solidFill>
          <a:ln>
            <a:solidFill>
              <a:schemeClr val="tx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6" name="Oval 5">
            <a:extLst>
              <a:ext uri="{FF2B5EF4-FFF2-40B4-BE49-F238E27FC236}">
                <a16:creationId xmlns:a16="http://schemas.microsoft.com/office/drawing/2014/main" id="{EA3B3CB6-CF7E-EBC5-1834-537337A991CB}"/>
              </a:ext>
            </a:extLst>
          </p:cNvPr>
          <p:cNvSpPr/>
          <p:nvPr/>
        </p:nvSpPr>
        <p:spPr>
          <a:xfrm>
            <a:off x="6953048" y="2412979"/>
            <a:ext cx="2160798" cy="2160798"/>
          </a:xfrm>
          <a:prstGeom prst="ellipse">
            <a:avLst/>
          </a:prstGeom>
          <a:solidFill>
            <a:schemeClr val="accent1"/>
          </a:solidFill>
          <a:ln>
            <a:solidFill>
              <a:schemeClr val="tx2">
                <a:lumMod val="75000"/>
              </a:schemeClr>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7" name="Oval 6">
            <a:extLst>
              <a:ext uri="{FF2B5EF4-FFF2-40B4-BE49-F238E27FC236}">
                <a16:creationId xmlns:a16="http://schemas.microsoft.com/office/drawing/2014/main" id="{897323CF-0C1F-AE17-2E0E-093393BD1F79}"/>
              </a:ext>
            </a:extLst>
          </p:cNvPr>
          <p:cNvSpPr/>
          <p:nvPr/>
        </p:nvSpPr>
        <p:spPr>
          <a:xfrm>
            <a:off x="7226957" y="2904642"/>
            <a:ext cx="1612981" cy="1612981"/>
          </a:xfrm>
          <a:prstGeom prst="ellipse">
            <a:avLst/>
          </a:prstGeom>
          <a:solidFill>
            <a:schemeClr val="accent1"/>
          </a:solidFill>
          <a:ln>
            <a:solidFill>
              <a:schemeClr val="tx2">
                <a:lumMod val="75000"/>
              </a:schemeClr>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9" name="Oval 8">
            <a:extLst>
              <a:ext uri="{FF2B5EF4-FFF2-40B4-BE49-F238E27FC236}">
                <a16:creationId xmlns:a16="http://schemas.microsoft.com/office/drawing/2014/main" id="{A4F7E24D-0CD7-360C-0D50-730B6AABC1A8}"/>
              </a:ext>
            </a:extLst>
          </p:cNvPr>
          <p:cNvSpPr/>
          <p:nvPr/>
        </p:nvSpPr>
        <p:spPr>
          <a:xfrm>
            <a:off x="7515583" y="3429533"/>
            <a:ext cx="1035728" cy="1035728"/>
          </a:xfrm>
          <a:prstGeom prst="ellipse">
            <a:avLst/>
          </a:prstGeom>
          <a:solidFill>
            <a:srgbClr val="FFC0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Профиль рисков страны</a:t>
            </a:r>
            <a:endParaRPr kumimoji="0" lang="en-US" sz="1100" b="1"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p:txBody>
      </p:sp>
      <p:sp>
        <p:nvSpPr>
          <p:cNvPr id="19" name="TextBox 18">
            <a:extLst>
              <a:ext uri="{FF2B5EF4-FFF2-40B4-BE49-F238E27FC236}">
                <a16:creationId xmlns:a16="http://schemas.microsoft.com/office/drawing/2014/main" id="{9EA20578-B67D-74A5-6DCA-C812A5954680}"/>
              </a:ext>
            </a:extLst>
          </p:cNvPr>
          <p:cNvSpPr txBox="1"/>
          <p:nvPr/>
        </p:nvSpPr>
        <p:spPr>
          <a:xfrm>
            <a:off x="7465824" y="2992818"/>
            <a:ext cx="1135247" cy="261610"/>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rPr>
              <a:t>Резервный план</a:t>
            </a:r>
            <a:endParaRPr kumimoji="0" lang="en-US" sz="11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sp>
        <p:nvSpPr>
          <p:cNvPr id="27" name="TextBox 26">
            <a:extLst>
              <a:ext uri="{FF2B5EF4-FFF2-40B4-BE49-F238E27FC236}">
                <a16:creationId xmlns:a16="http://schemas.microsoft.com/office/drawing/2014/main" id="{6C09BA53-1880-31F3-A50B-15E3C85A159B}"/>
              </a:ext>
            </a:extLst>
          </p:cNvPr>
          <p:cNvSpPr txBox="1"/>
          <p:nvPr/>
        </p:nvSpPr>
        <p:spPr>
          <a:xfrm>
            <a:off x="7699927" y="2557141"/>
            <a:ext cx="660758" cy="2616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Light" panose="020F0302020204030204"/>
                <a:ea typeface="+mn-ea"/>
                <a:cs typeface="Arial" panose="020B0604020202020204" pitchFamily="34" charset="0"/>
              </a:rPr>
              <a:t>NHEROP</a:t>
            </a:r>
          </a:p>
        </p:txBody>
      </p:sp>
      <p:sp>
        <p:nvSpPr>
          <p:cNvPr id="29" name="TextBox 28">
            <a:extLst>
              <a:ext uri="{FF2B5EF4-FFF2-40B4-BE49-F238E27FC236}">
                <a16:creationId xmlns:a16="http://schemas.microsoft.com/office/drawing/2014/main" id="{EE592289-9692-F87B-EE5C-A93063337688}"/>
              </a:ext>
            </a:extLst>
          </p:cNvPr>
          <p:cNvSpPr txBox="1"/>
          <p:nvPr/>
        </p:nvSpPr>
        <p:spPr>
          <a:xfrm>
            <a:off x="7678392" y="1475101"/>
            <a:ext cx="745717"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Light" panose="020F0302020204030204"/>
                <a:ea typeface="+mn-ea"/>
                <a:cs typeface="Arial" panose="020B0604020202020204" pitchFamily="34" charset="0"/>
              </a:rPr>
              <a:t>NAPHS</a:t>
            </a:r>
          </a:p>
        </p:txBody>
      </p:sp>
      <p:sp>
        <p:nvSpPr>
          <p:cNvPr id="38" name="TextBox 37">
            <a:extLst>
              <a:ext uri="{FF2B5EF4-FFF2-40B4-BE49-F238E27FC236}">
                <a16:creationId xmlns:a16="http://schemas.microsoft.com/office/drawing/2014/main" id="{807D6D13-673D-DCD1-3A4A-D3B0EF9D4C1A}"/>
              </a:ext>
            </a:extLst>
          </p:cNvPr>
          <p:cNvSpPr txBox="1"/>
          <p:nvPr/>
        </p:nvSpPr>
        <p:spPr>
          <a:xfrm>
            <a:off x="7404910" y="1969201"/>
            <a:ext cx="1196161" cy="400110"/>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rPr>
              <a:t>Годовой план </a:t>
            </a:r>
            <a:endParaRPr kumimoji="0" lang="en-US" sz="10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rPr>
              <a:t>реализации </a:t>
            </a:r>
            <a:r>
              <a:rPr kumimoji="0" lang="en-US" sz="10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rPr>
              <a:t>NAPHS</a:t>
            </a:r>
          </a:p>
        </p:txBody>
      </p:sp>
      <p:sp>
        <p:nvSpPr>
          <p:cNvPr id="39" name="Rectangle: Rounded Corners 38">
            <a:extLst>
              <a:ext uri="{FF2B5EF4-FFF2-40B4-BE49-F238E27FC236}">
                <a16:creationId xmlns:a16="http://schemas.microsoft.com/office/drawing/2014/main" id="{607281CC-35EA-3DFA-35F7-95BCF303FA4C}"/>
              </a:ext>
            </a:extLst>
          </p:cNvPr>
          <p:cNvSpPr/>
          <p:nvPr/>
        </p:nvSpPr>
        <p:spPr>
          <a:xfrm>
            <a:off x="4379893" y="258222"/>
            <a:ext cx="1555444" cy="3609443"/>
          </a:xfrm>
          <a:prstGeom prst="roundRect">
            <a:avLst>
              <a:gd name="adj" fmla="val 0"/>
            </a:avLst>
          </a:prstGeom>
          <a:solidFill>
            <a:schemeClr val="bg1">
              <a:lumMod val="95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ПОДХОД</a:t>
            </a:r>
            <a:endParaRPr kumimoji="0" lang="en-US" sz="12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sp>
        <p:nvSpPr>
          <p:cNvPr id="40" name="Rectangle: Rounded Corners 39">
            <a:extLst>
              <a:ext uri="{FF2B5EF4-FFF2-40B4-BE49-F238E27FC236}">
                <a16:creationId xmlns:a16="http://schemas.microsoft.com/office/drawing/2014/main" id="{0A26D4A1-1DA0-DCBA-5F9C-FF76D741B33B}"/>
              </a:ext>
            </a:extLst>
          </p:cNvPr>
          <p:cNvSpPr/>
          <p:nvPr/>
        </p:nvSpPr>
        <p:spPr>
          <a:xfrm>
            <a:off x="10182412" y="259492"/>
            <a:ext cx="1555200" cy="3608173"/>
          </a:xfrm>
          <a:prstGeom prst="roundRect">
            <a:avLst>
              <a:gd name="adj" fmla="val 0"/>
            </a:avLst>
          </a:prstGeom>
          <a:solidFill>
            <a:schemeClr val="bg1">
              <a:lumMod val="95000"/>
            </a:schemeClr>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УПРАВЛЕНИЕ</a:t>
            </a:r>
            <a:endParaRPr kumimoji="0" lang="en-US" sz="12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cxnSp>
        <p:nvCxnSpPr>
          <p:cNvPr id="41" name="Straight Arrow Connector 40">
            <a:extLst>
              <a:ext uri="{FF2B5EF4-FFF2-40B4-BE49-F238E27FC236}">
                <a16:creationId xmlns:a16="http://schemas.microsoft.com/office/drawing/2014/main" id="{93A9FABA-2B3F-1A0A-67E8-CD61008B5425}"/>
              </a:ext>
            </a:extLst>
          </p:cNvPr>
          <p:cNvCxnSpPr>
            <a:cxnSpLocks/>
          </p:cNvCxnSpPr>
          <p:nvPr/>
        </p:nvCxnSpPr>
        <p:spPr>
          <a:xfrm>
            <a:off x="5702643" y="3279090"/>
            <a:ext cx="1902941" cy="7807"/>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4E51018-6B7D-535D-BD68-5441B09781F5}"/>
              </a:ext>
            </a:extLst>
          </p:cNvPr>
          <p:cNvCxnSpPr>
            <a:cxnSpLocks/>
          </p:cNvCxnSpPr>
          <p:nvPr/>
        </p:nvCxnSpPr>
        <p:spPr>
          <a:xfrm flipV="1">
            <a:off x="5702643" y="2687946"/>
            <a:ext cx="1893023" cy="5964"/>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30CD66BF-3D7F-F824-D34A-F2508067EAB6}"/>
              </a:ext>
            </a:extLst>
          </p:cNvPr>
          <p:cNvCxnSpPr>
            <a:cxnSpLocks/>
          </p:cNvCxnSpPr>
          <p:nvPr/>
        </p:nvCxnSpPr>
        <p:spPr>
          <a:xfrm>
            <a:off x="5573491" y="1742838"/>
            <a:ext cx="2016590" cy="2764"/>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D13BBF5C-753C-0A31-6CF2-BDD0CA0DEB61}"/>
              </a:ext>
            </a:extLst>
          </p:cNvPr>
          <p:cNvCxnSpPr>
            <a:cxnSpLocks/>
          </p:cNvCxnSpPr>
          <p:nvPr/>
        </p:nvCxnSpPr>
        <p:spPr>
          <a:xfrm>
            <a:off x="5586218" y="1271509"/>
            <a:ext cx="1558109" cy="0"/>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CE722498-67D5-BB50-6281-5AB47A4AC363}"/>
              </a:ext>
            </a:extLst>
          </p:cNvPr>
          <p:cNvSpPr/>
          <p:nvPr/>
        </p:nvSpPr>
        <p:spPr>
          <a:xfrm>
            <a:off x="4474199" y="761394"/>
            <a:ext cx="1396315" cy="576000"/>
          </a:xfrm>
          <a:prstGeom prst="roundRect">
            <a:avLst/>
          </a:prstGeom>
          <a:solidFill>
            <a:schemeClr val="accent6">
              <a:lumMod val="40000"/>
              <a:lumOff val="60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Все опасности</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Все общество</a:t>
            </a:r>
            <a:endPar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sp>
        <p:nvSpPr>
          <p:cNvPr id="53" name="Rectangle: Rounded Corners 52">
            <a:extLst>
              <a:ext uri="{FF2B5EF4-FFF2-40B4-BE49-F238E27FC236}">
                <a16:creationId xmlns:a16="http://schemas.microsoft.com/office/drawing/2014/main" id="{108F3405-387D-293E-F34B-FAFEB1136625}"/>
              </a:ext>
            </a:extLst>
          </p:cNvPr>
          <p:cNvSpPr/>
          <p:nvPr/>
        </p:nvSpPr>
        <p:spPr>
          <a:xfrm>
            <a:off x="4458822" y="1543021"/>
            <a:ext cx="1396315" cy="576000"/>
          </a:xfrm>
          <a:prstGeom prst="roundRect">
            <a:avLst/>
          </a:prstGeom>
          <a:solidFill>
            <a:schemeClr val="accent6">
              <a:lumMod val="40000"/>
              <a:lumOff val="60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Несколько опасностей</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Многоотраслевой</a:t>
            </a:r>
            <a:endPar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sp>
        <p:nvSpPr>
          <p:cNvPr id="55" name="Rectangle: Rounded Corners 54">
            <a:extLst>
              <a:ext uri="{FF2B5EF4-FFF2-40B4-BE49-F238E27FC236}">
                <a16:creationId xmlns:a16="http://schemas.microsoft.com/office/drawing/2014/main" id="{5B5F7274-965C-147B-6C72-00AF3FCE53F4}"/>
              </a:ext>
            </a:extLst>
          </p:cNvPr>
          <p:cNvSpPr/>
          <p:nvPr/>
        </p:nvSpPr>
        <p:spPr>
          <a:xfrm>
            <a:off x="4454944" y="2397003"/>
            <a:ext cx="1396315" cy="576000"/>
          </a:xfrm>
          <a:prstGeom prst="roundRect">
            <a:avLst/>
          </a:prstGeom>
          <a:solidFill>
            <a:schemeClr val="accent6">
              <a:lumMod val="40000"/>
              <a:lumOff val="60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Все опасности</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Все общество</a:t>
            </a:r>
            <a:endPar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sp>
        <p:nvSpPr>
          <p:cNvPr id="56" name="Rectangle: Rounded Corners 55">
            <a:extLst>
              <a:ext uri="{FF2B5EF4-FFF2-40B4-BE49-F238E27FC236}">
                <a16:creationId xmlns:a16="http://schemas.microsoft.com/office/drawing/2014/main" id="{DA19B36E-A229-5C05-8578-B32D23127261}"/>
              </a:ext>
            </a:extLst>
          </p:cNvPr>
          <p:cNvSpPr/>
          <p:nvPr/>
        </p:nvSpPr>
        <p:spPr>
          <a:xfrm>
            <a:off x="4454944" y="3084174"/>
            <a:ext cx="1396315" cy="576000"/>
          </a:xfrm>
          <a:prstGeom prst="roundRect">
            <a:avLst/>
          </a:prstGeom>
          <a:solidFill>
            <a:schemeClr val="accent6">
              <a:lumMod val="40000"/>
              <a:lumOff val="60000"/>
            </a:schemeClr>
          </a:solidFill>
          <a:ln w="95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Конкретная опасность /Тип опасности</a:t>
            </a:r>
            <a:endPar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cxnSp>
        <p:nvCxnSpPr>
          <p:cNvPr id="57" name="Straight Arrow Connector 56">
            <a:extLst>
              <a:ext uri="{FF2B5EF4-FFF2-40B4-BE49-F238E27FC236}">
                <a16:creationId xmlns:a16="http://schemas.microsoft.com/office/drawing/2014/main" id="{5E5DCF2B-AA38-8709-7BF1-0D19FBB6C4A2}"/>
              </a:ext>
            </a:extLst>
          </p:cNvPr>
          <p:cNvCxnSpPr>
            <a:cxnSpLocks/>
          </p:cNvCxnSpPr>
          <p:nvPr/>
        </p:nvCxnSpPr>
        <p:spPr>
          <a:xfrm flipH="1">
            <a:off x="8470205" y="3271832"/>
            <a:ext cx="1850799" cy="7258"/>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3366D8AD-3A5C-C43B-5C41-C0DE542D5C99}"/>
              </a:ext>
            </a:extLst>
          </p:cNvPr>
          <p:cNvCxnSpPr>
            <a:cxnSpLocks/>
          </p:cNvCxnSpPr>
          <p:nvPr/>
        </p:nvCxnSpPr>
        <p:spPr>
          <a:xfrm flipH="1">
            <a:off x="8457851" y="2687946"/>
            <a:ext cx="1863153" cy="4884"/>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0CFFB0F1-6757-00B8-5690-BEAC0C44A0FB}"/>
              </a:ext>
            </a:extLst>
          </p:cNvPr>
          <p:cNvCxnSpPr>
            <a:cxnSpLocks/>
          </p:cNvCxnSpPr>
          <p:nvPr/>
        </p:nvCxnSpPr>
        <p:spPr>
          <a:xfrm flipH="1">
            <a:off x="8470205" y="1742838"/>
            <a:ext cx="1995968" cy="0"/>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C185151-A1A0-A2FD-7637-371EBD86DD49}"/>
              </a:ext>
            </a:extLst>
          </p:cNvPr>
          <p:cNvCxnSpPr>
            <a:cxnSpLocks/>
          </p:cNvCxnSpPr>
          <p:nvPr/>
        </p:nvCxnSpPr>
        <p:spPr>
          <a:xfrm flipH="1">
            <a:off x="9014691" y="1250994"/>
            <a:ext cx="1685354" cy="0"/>
          </a:xfrm>
          <a:prstGeom prst="straightConnector1">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sp>
        <p:nvSpPr>
          <p:cNvPr id="61" name="Rectangle: Rounded Corners 60">
            <a:extLst>
              <a:ext uri="{FF2B5EF4-FFF2-40B4-BE49-F238E27FC236}">
                <a16:creationId xmlns:a16="http://schemas.microsoft.com/office/drawing/2014/main" id="{3A0C7844-2FB7-C209-2368-D795B50A2558}"/>
              </a:ext>
            </a:extLst>
          </p:cNvPr>
          <p:cNvSpPr/>
          <p:nvPr/>
        </p:nvSpPr>
        <p:spPr>
          <a:xfrm>
            <a:off x="10241773" y="761394"/>
            <a:ext cx="1396315" cy="576000"/>
          </a:xfrm>
          <a:prstGeom prst="roundRect">
            <a:avLst/>
          </a:prstGeom>
          <a:solidFill>
            <a:srgbClr val="C5E0B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Высший госорган</a:t>
            </a:r>
            <a:endPar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КПМ,</a:t>
            </a:r>
            <a:r>
              <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 </a:t>
            </a: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МВД</a:t>
            </a:r>
            <a:r>
              <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 </a:t>
            </a: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МГО</a:t>
            </a:r>
            <a:endPar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sp>
        <p:nvSpPr>
          <p:cNvPr id="62" name="Rectangle: Rounded Corners 61">
            <a:extLst>
              <a:ext uri="{FF2B5EF4-FFF2-40B4-BE49-F238E27FC236}">
                <a16:creationId xmlns:a16="http://schemas.microsoft.com/office/drawing/2014/main" id="{F7DAE2D8-1260-ADA9-1D8F-E1BFCA7F387E}"/>
              </a:ext>
            </a:extLst>
          </p:cNvPr>
          <p:cNvSpPr/>
          <p:nvPr/>
        </p:nvSpPr>
        <p:spPr>
          <a:xfrm>
            <a:off x="10247674" y="1536723"/>
            <a:ext cx="1396315" cy="576000"/>
          </a:xfrm>
          <a:prstGeom prst="roundRect">
            <a:avLst/>
          </a:prstGeom>
          <a:solidFill>
            <a:srgbClr val="C5E0B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Минздрав</a:t>
            </a:r>
            <a:endPar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sp>
        <p:nvSpPr>
          <p:cNvPr id="63" name="Rectangle: Rounded Corners 62">
            <a:extLst>
              <a:ext uri="{FF2B5EF4-FFF2-40B4-BE49-F238E27FC236}">
                <a16:creationId xmlns:a16="http://schemas.microsoft.com/office/drawing/2014/main" id="{980188DF-4D88-BE3B-1876-AD39BB3E101B}"/>
              </a:ext>
            </a:extLst>
          </p:cNvPr>
          <p:cNvSpPr/>
          <p:nvPr/>
        </p:nvSpPr>
        <p:spPr>
          <a:xfrm>
            <a:off x="10249972" y="2397003"/>
            <a:ext cx="1396315" cy="576000"/>
          </a:xfrm>
          <a:prstGeom prst="roundRect">
            <a:avLst/>
          </a:prstGeom>
          <a:solidFill>
            <a:srgbClr val="C5E0B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Минздрав</a:t>
            </a:r>
            <a:endPar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sp>
        <p:nvSpPr>
          <p:cNvPr id="64" name="Rectangle: Rounded Corners 63">
            <a:extLst>
              <a:ext uri="{FF2B5EF4-FFF2-40B4-BE49-F238E27FC236}">
                <a16:creationId xmlns:a16="http://schemas.microsoft.com/office/drawing/2014/main" id="{992DC1AB-5557-2A93-8305-CA4B1CE24186}"/>
              </a:ext>
            </a:extLst>
          </p:cNvPr>
          <p:cNvSpPr/>
          <p:nvPr/>
        </p:nvSpPr>
        <p:spPr>
          <a:xfrm>
            <a:off x="10267082" y="3084174"/>
            <a:ext cx="1396315" cy="576000"/>
          </a:xfrm>
          <a:prstGeom prst="roundRect">
            <a:avLst/>
          </a:prstGeom>
          <a:solidFill>
            <a:srgbClr val="C5E0B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Национальный</a:t>
            </a:r>
            <a:r>
              <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 / </a:t>
            </a: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субнациональный</a:t>
            </a:r>
            <a:r>
              <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 / </a:t>
            </a:r>
            <a:r>
              <a:rPr kumimoji="0" lang="ru-RU"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местный</a:t>
            </a:r>
            <a:endParaRPr kumimoji="0" lang="en-US" sz="11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sp>
        <p:nvSpPr>
          <p:cNvPr id="65" name="Rectangle: Rounded Corners 64">
            <a:extLst>
              <a:ext uri="{FF2B5EF4-FFF2-40B4-BE49-F238E27FC236}">
                <a16:creationId xmlns:a16="http://schemas.microsoft.com/office/drawing/2014/main" id="{0894FE51-5625-CE9D-C0C7-04EF1ED2F6B4}"/>
              </a:ext>
            </a:extLst>
          </p:cNvPr>
          <p:cNvSpPr/>
          <p:nvPr/>
        </p:nvSpPr>
        <p:spPr>
          <a:xfrm>
            <a:off x="4905054" y="4925699"/>
            <a:ext cx="6832558" cy="833427"/>
          </a:xfrm>
          <a:prstGeom prst="roundRect">
            <a:avLst>
              <a:gd name="adj" fmla="val 0"/>
            </a:avLst>
          </a:prstGeom>
          <a:solidFill>
            <a:srgbClr val="F2F2F2"/>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rPr>
              <a:t>ТИП</a:t>
            </a:r>
            <a:endParaRPr kumimoji="0" lang="en-US" sz="1200" b="1" i="0" u="none" strike="noStrike" kern="1200" cap="none" spc="0" normalizeH="0" baseline="0" noProof="0" dirty="0">
              <a:ln>
                <a:noFill/>
              </a:ln>
              <a:solidFill>
                <a:srgbClr val="70AD47">
                  <a:lumMod val="75000"/>
                </a:srgbClr>
              </a:solidFill>
              <a:effectLst/>
              <a:uLnTx/>
              <a:uFillTx/>
              <a:latin typeface="Calibri Light" panose="020F0302020204030204"/>
              <a:ea typeface="+mn-ea"/>
              <a:cs typeface="Arial" panose="020B0604020202020204" pitchFamily="34" charset="0"/>
            </a:endParaRPr>
          </a:p>
        </p:txBody>
      </p:sp>
      <p:grpSp>
        <p:nvGrpSpPr>
          <p:cNvPr id="66" name="Group 65">
            <a:extLst>
              <a:ext uri="{FF2B5EF4-FFF2-40B4-BE49-F238E27FC236}">
                <a16:creationId xmlns:a16="http://schemas.microsoft.com/office/drawing/2014/main" id="{AD1DB77C-C51E-83C3-7F06-84D2BFDDC18B}"/>
              </a:ext>
            </a:extLst>
          </p:cNvPr>
          <p:cNvGrpSpPr/>
          <p:nvPr/>
        </p:nvGrpSpPr>
        <p:grpSpPr>
          <a:xfrm>
            <a:off x="5036324" y="5211569"/>
            <a:ext cx="6593412" cy="414347"/>
            <a:chOff x="3385536" y="5940620"/>
            <a:chExt cx="6593412" cy="414347"/>
          </a:xfrm>
        </p:grpSpPr>
        <p:sp>
          <p:nvSpPr>
            <p:cNvPr id="67" name="Rectangle: Rounded Corners 66">
              <a:extLst>
                <a:ext uri="{FF2B5EF4-FFF2-40B4-BE49-F238E27FC236}">
                  <a16:creationId xmlns:a16="http://schemas.microsoft.com/office/drawing/2014/main" id="{4440E8D3-F121-12C2-49D3-0B71534C94C9}"/>
                </a:ext>
              </a:extLst>
            </p:cNvPr>
            <p:cNvSpPr/>
            <p:nvPr/>
          </p:nvSpPr>
          <p:spPr>
            <a:xfrm>
              <a:off x="8877348" y="5946962"/>
              <a:ext cx="1101600" cy="39750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4472C4"/>
                  </a:solidFill>
                  <a:effectLst/>
                  <a:uLnTx/>
                  <a:uFillTx/>
                  <a:latin typeface="Calibri Light" panose="020F0302020204030204"/>
                  <a:ea typeface="+mn-ea"/>
                  <a:cs typeface="Arial" panose="020B0604020202020204" pitchFamily="34" charset="0"/>
                </a:rPr>
                <a:t>Политика</a:t>
              </a:r>
              <a:endParaRPr kumimoji="0" lang="en-US" sz="1100" b="1" i="0" u="none" strike="noStrike" kern="1200" cap="none" spc="0" normalizeH="0" baseline="0" noProof="0" dirty="0">
                <a:ln>
                  <a:noFill/>
                </a:ln>
                <a:solidFill>
                  <a:srgbClr val="4472C4"/>
                </a:solidFill>
                <a:effectLst/>
                <a:uLnTx/>
                <a:uFillTx/>
                <a:latin typeface="Calibri Light" panose="020F0302020204030204"/>
                <a:ea typeface="+mn-ea"/>
                <a:cs typeface="Arial" panose="020B0604020202020204" pitchFamily="34" charset="0"/>
              </a:endParaRPr>
            </a:p>
          </p:txBody>
        </p:sp>
        <p:sp>
          <p:nvSpPr>
            <p:cNvPr id="68" name="Rectangle: Rounded Corners 67">
              <a:extLst>
                <a:ext uri="{FF2B5EF4-FFF2-40B4-BE49-F238E27FC236}">
                  <a16:creationId xmlns:a16="http://schemas.microsoft.com/office/drawing/2014/main" id="{5053AD9F-63EA-948D-DDB3-B60A68A98B5B}"/>
                </a:ext>
              </a:extLst>
            </p:cNvPr>
            <p:cNvSpPr/>
            <p:nvPr/>
          </p:nvSpPr>
          <p:spPr>
            <a:xfrm>
              <a:off x="4672688" y="5940620"/>
              <a:ext cx="1901616" cy="404680"/>
            </a:xfrm>
            <a:prstGeom prst="roundRect">
              <a:avLst/>
            </a:prstGeom>
            <a:solidFill>
              <a:srgbClr val="DA115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rPr>
                <a:t>План развития потенциала</a:t>
              </a:r>
              <a:endParaRPr kumimoji="0" lang="en-US" sz="11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sp>
          <p:nvSpPr>
            <p:cNvPr id="69" name="Rectangle: Rounded Corners 68">
              <a:extLst>
                <a:ext uri="{FF2B5EF4-FFF2-40B4-BE49-F238E27FC236}">
                  <a16:creationId xmlns:a16="http://schemas.microsoft.com/office/drawing/2014/main" id="{885D16DB-68A3-2641-5F98-2FC4616E1027}"/>
                </a:ext>
              </a:extLst>
            </p:cNvPr>
            <p:cNvSpPr/>
            <p:nvPr/>
          </p:nvSpPr>
          <p:spPr>
            <a:xfrm>
              <a:off x="6768600" y="5950287"/>
              <a:ext cx="1901616" cy="404680"/>
            </a:xfrm>
            <a:prstGeom prst="roundRect">
              <a:avLst/>
            </a:prstGeom>
            <a:solidFill>
              <a:srgbClr val="4472C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rPr>
                <a:t>План операций по реагированию</a:t>
              </a:r>
              <a:endParaRPr kumimoji="0" lang="en-US" sz="1100" b="1" i="0" u="none" strike="noStrike" kern="1200" cap="none" spc="0" normalizeH="0" baseline="0" noProof="0" dirty="0">
                <a:ln>
                  <a:noFill/>
                </a:ln>
                <a:solidFill>
                  <a:prstClr val="white"/>
                </a:solidFill>
                <a:effectLst/>
                <a:uLnTx/>
                <a:uFillTx/>
                <a:latin typeface="Calibri Light" panose="020F0302020204030204"/>
                <a:ea typeface="+mn-ea"/>
                <a:cs typeface="Arial" panose="020B0604020202020204" pitchFamily="34" charset="0"/>
              </a:endParaRPr>
            </a:p>
          </p:txBody>
        </p:sp>
        <p:sp>
          <p:nvSpPr>
            <p:cNvPr id="70" name="Rectangle: Rounded Corners 69">
              <a:extLst>
                <a:ext uri="{FF2B5EF4-FFF2-40B4-BE49-F238E27FC236}">
                  <a16:creationId xmlns:a16="http://schemas.microsoft.com/office/drawing/2014/main" id="{CBA1AD5B-8854-1689-49A9-83B7951A3C62}"/>
                </a:ext>
              </a:extLst>
            </p:cNvPr>
            <p:cNvSpPr/>
            <p:nvPr/>
          </p:nvSpPr>
          <p:spPr>
            <a:xfrm>
              <a:off x="3385536" y="5950287"/>
              <a:ext cx="1099788" cy="404680"/>
            </a:xfrm>
            <a:prstGeom prst="round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1" dirty="0">
                  <a:solidFill>
                    <a:prstClr val="black"/>
                  </a:solidFill>
                  <a:latin typeface="Calibri Light" panose="020F0302020204030204"/>
                  <a:cs typeface="Arial" panose="020B0604020202020204" pitchFamily="34" charset="0"/>
                </a:rPr>
                <a:t>Оценка</a:t>
              </a:r>
              <a:endParaRPr kumimoji="0" lang="en-US" sz="1100" b="1"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p:txBody>
        </p:sp>
      </p:grpSp>
      <p:sp>
        <p:nvSpPr>
          <p:cNvPr id="71" name="TextBox 70">
            <a:extLst>
              <a:ext uri="{FF2B5EF4-FFF2-40B4-BE49-F238E27FC236}">
                <a16:creationId xmlns:a16="http://schemas.microsoft.com/office/drawing/2014/main" id="{06BA554A-14AF-125E-03D1-5C4548CC6F9E}"/>
              </a:ext>
            </a:extLst>
          </p:cNvPr>
          <p:cNvSpPr txBox="1"/>
          <p:nvPr/>
        </p:nvSpPr>
        <p:spPr>
          <a:xfrm>
            <a:off x="4474199" y="6367465"/>
            <a:ext cx="439291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NAPHS: </a:t>
            </a:r>
            <a:r>
              <a:rPr kumimoji="0" lang="ru-RU"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Национальный план действий по охране здоровья</a:t>
            </a:r>
            <a:endPar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NHEROP: </a:t>
            </a:r>
            <a:r>
              <a:rPr kumimoji="0" lang="ru-RU"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Национальный план операций по реагированию на чрезвычайные ситуации в области здравоохранения</a:t>
            </a:r>
            <a:endPar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p:txBody>
      </p:sp>
      <p:sp>
        <p:nvSpPr>
          <p:cNvPr id="72" name="TextBox 71">
            <a:extLst>
              <a:ext uri="{FF2B5EF4-FFF2-40B4-BE49-F238E27FC236}">
                <a16:creationId xmlns:a16="http://schemas.microsoft.com/office/drawing/2014/main" id="{1D227538-3FCD-ADC0-7A71-15C46ABA18B6}"/>
              </a:ext>
            </a:extLst>
          </p:cNvPr>
          <p:cNvSpPr txBox="1"/>
          <p:nvPr/>
        </p:nvSpPr>
        <p:spPr>
          <a:xfrm>
            <a:off x="8834189" y="6367465"/>
            <a:ext cx="294534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КПМ</a:t>
            </a:r>
            <a:r>
              <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 </a:t>
            </a:r>
            <a:r>
              <a:rPr kumimoji="0" lang="ru-RU"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Канцелярия Премьер-Министра</a:t>
            </a:r>
            <a:endPar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МВД</a:t>
            </a:r>
            <a:r>
              <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 </a:t>
            </a:r>
            <a:r>
              <a:rPr kumimoji="0" lang="ru-RU"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Министерство внутренних дел</a:t>
            </a:r>
            <a:endPar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МГО</a:t>
            </a:r>
            <a:r>
              <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 </a:t>
            </a:r>
            <a:r>
              <a:rPr kumimoji="0" lang="ru-RU" sz="8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rPr>
              <a:t>Министерство гражданской обороны</a:t>
            </a:r>
            <a:endParaRPr kumimoji="0" lang="en-US" sz="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cxnSp>
        <p:nvCxnSpPr>
          <p:cNvPr id="73" name="Connector: Elbow 72">
            <a:extLst>
              <a:ext uri="{FF2B5EF4-FFF2-40B4-BE49-F238E27FC236}">
                <a16:creationId xmlns:a16="http://schemas.microsoft.com/office/drawing/2014/main" id="{38043BDA-D60A-78DE-984A-5A575CF454D0}"/>
              </a:ext>
            </a:extLst>
          </p:cNvPr>
          <p:cNvCxnSpPr/>
          <p:nvPr/>
        </p:nvCxnSpPr>
        <p:spPr>
          <a:xfrm>
            <a:off x="6833286" y="1742838"/>
            <a:ext cx="756795" cy="388703"/>
          </a:xfrm>
          <a:prstGeom prst="bentConnector3">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C29557AE-ED26-AD06-44D8-2B390FEBB516}"/>
              </a:ext>
            </a:extLst>
          </p:cNvPr>
          <p:cNvCxnSpPr>
            <a:cxnSpLocks/>
          </p:cNvCxnSpPr>
          <p:nvPr/>
        </p:nvCxnSpPr>
        <p:spPr>
          <a:xfrm rot="10800000" flipV="1">
            <a:off x="8470205" y="1743888"/>
            <a:ext cx="396912" cy="373180"/>
          </a:xfrm>
          <a:prstGeom prst="bentConnector3">
            <a:avLst/>
          </a:prstGeom>
          <a:ln w="9525">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00965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Documenttype">
            <a:extLst>
              <a:ext uri="{FF2B5EF4-FFF2-40B4-BE49-F238E27FC236}">
                <a16:creationId xmlns:a16="http://schemas.microsoft.com/office/drawing/2014/main" id="{C77EDD2F-62F5-42DD-AB67-9E0454CEEF1D}"/>
              </a:ext>
            </a:extLst>
          </p:cNvPr>
          <p:cNvSpPr>
            <a:spLocks noGrp="1"/>
          </p:cNvSpPr>
          <p:nvPr>
            <p:ph type="body" sz="quarter" idx="13"/>
            <p:custDataLst>
              <p:tags r:id="rId2"/>
            </p:custDataLst>
          </p:nvPr>
        </p:nvSpPr>
        <p:spPr>
          <a:xfrm>
            <a:off x="3509065" y="6186486"/>
            <a:ext cx="8281261" cy="215444"/>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pPr marL="0" indent="0">
              <a:buNone/>
            </a:pPr>
            <a:endParaRPr lang="en-US"/>
          </a:p>
        </p:txBody>
      </p:sp>
      <p:sp>
        <p:nvSpPr>
          <p:cNvPr id="3" name="Title">
            <a:extLst>
              <a:ext uri="{FF2B5EF4-FFF2-40B4-BE49-F238E27FC236}">
                <a16:creationId xmlns:a16="http://schemas.microsoft.com/office/drawing/2014/main" id="{AC191921-D073-4F0B-9651-2824DD5A8CAD}"/>
              </a:ext>
            </a:extLst>
          </p:cNvPr>
          <p:cNvSpPr>
            <a:spLocks noGrp="1"/>
          </p:cNvSpPr>
          <p:nvPr>
            <p:ph type="title"/>
            <p:custDataLst>
              <p:tags r:id="rId3"/>
            </p:custDataLst>
          </p:nvPr>
        </p:nvSpPr>
        <p:spPr>
          <a:xfrm>
            <a:off x="1417739" y="1406486"/>
            <a:ext cx="10379079" cy="243759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ru-RU" dirty="0">
                <a:solidFill>
                  <a:schemeClr val="bg1"/>
                </a:solidFill>
              </a:rPr>
              <a:t>Укрепление Глобальной архитектуры готовности к чрезвычайным ситуациям в области здравоохранения и реагирования на них (HEPR)</a:t>
            </a:r>
            <a:endParaRPr lang="en-GB" dirty="0">
              <a:solidFill>
                <a:schemeClr val="bg1"/>
              </a:solidFill>
            </a:endParaRPr>
          </a:p>
        </p:txBody>
      </p:sp>
      <p:sp>
        <p:nvSpPr>
          <p:cNvPr id="4" name="Subtitle 3">
            <a:extLst>
              <a:ext uri="{FF2B5EF4-FFF2-40B4-BE49-F238E27FC236}">
                <a16:creationId xmlns:a16="http://schemas.microsoft.com/office/drawing/2014/main" id="{1990A93F-91DA-A044-935A-6FFCAC2F0297}"/>
              </a:ext>
            </a:extLst>
          </p:cNvPr>
          <p:cNvSpPr>
            <a:spLocks noGrp="1"/>
          </p:cNvSpPr>
          <p:nvPr>
            <p:ph type="subTitle" idx="1"/>
          </p:nvPr>
        </p:nvSpPr>
        <p:spPr/>
        <p:txBody>
          <a:bodyPr/>
          <a:lstStyle/>
          <a:p>
            <a:endParaRPr lang="en-FI"/>
          </a:p>
        </p:txBody>
      </p:sp>
    </p:spTree>
    <p:extLst>
      <p:ext uri="{BB962C8B-B14F-4D97-AF65-F5344CB8AC3E}">
        <p14:creationId xmlns:p14="http://schemas.microsoft.com/office/powerpoint/2010/main" val="768225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E51E17-417E-4026-84DC-FC90B87C027B}"/>
              </a:ext>
            </a:extLst>
          </p:cNvPr>
          <p:cNvSpPr/>
          <p:nvPr/>
        </p:nvSpPr>
        <p:spPr>
          <a:xfrm>
            <a:off x="7146524" y="3176"/>
            <a:ext cx="5045476" cy="685482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5" name="Object 6" hidden="1">
            <a:extLst>
              <a:ext uri="{FF2B5EF4-FFF2-40B4-BE49-F238E27FC236}">
                <a16:creationId xmlns:a16="http://schemas.microsoft.com/office/drawing/2014/main" id="{0B52C5AC-330D-4BC7-985E-A3F294E95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5" name="Object 6" hidden="1">
                        <a:extLst>
                          <a:ext uri="{FF2B5EF4-FFF2-40B4-BE49-F238E27FC236}">
                            <a16:creationId xmlns:a16="http://schemas.microsoft.com/office/drawing/2014/main" id="{0B52C5AC-330D-4BC7-985E-A3F294E95E6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5" name="2. Slide Title">
            <a:extLst>
              <a:ext uri="{FF2B5EF4-FFF2-40B4-BE49-F238E27FC236}">
                <a16:creationId xmlns:a16="http://schemas.microsoft.com/office/drawing/2014/main" id="{F1D8048E-C766-489C-B6F7-98C098CF7915}"/>
              </a:ext>
            </a:extLst>
          </p:cNvPr>
          <p:cNvSpPr txBox="1">
            <a:spLocks/>
          </p:cNvSpPr>
          <p:nvPr>
            <p:custDataLst>
              <p:tags r:id="rId2"/>
            </p:custDataLst>
          </p:nvPr>
        </p:nvSpPr>
        <p:spPr>
          <a:xfrm>
            <a:off x="509513" y="836721"/>
            <a:ext cx="6048247"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0" kern="1200" spc="0" baseline="0">
                <a:ln w="6350" cap="flat">
                  <a:noFill/>
                  <a:miter lim="800000"/>
                </a:ln>
                <a:solidFill>
                  <a:schemeClr val="bg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500" b="0" i="0" u="none" strike="noStrike" kern="1200" cap="none" spc="0" normalizeH="0" baseline="0" noProof="0" dirty="0">
                <a:ln w="6350" cap="flat">
                  <a:noFill/>
                  <a:miter lim="800000"/>
                </a:ln>
                <a:solidFill>
                  <a:srgbClr val="002060"/>
                </a:solidFill>
                <a:effectLst/>
                <a:uLnTx/>
                <a:uFillTx/>
                <a:latin typeface="Calibri"/>
                <a:ea typeface="+mj-ea"/>
                <a:cs typeface="+mj-cs"/>
              </a:rPr>
              <a:t>По этой теме было подготовлено несколько отчетов, и другие параллельные процессы направлены на укрепление экосистемы HEPR.</a:t>
            </a:r>
            <a:endParaRPr kumimoji="0" lang="en-US" sz="2500" b="0" i="0" u="none" strike="noStrike" kern="1200" cap="none" spc="0" normalizeH="0" baseline="0" noProof="0" dirty="0">
              <a:ln w="6350" cap="flat">
                <a:noFill/>
                <a:miter lim="800000"/>
              </a:ln>
              <a:solidFill>
                <a:srgbClr val="002060"/>
              </a:solidFill>
              <a:effectLst/>
              <a:uLnTx/>
              <a:uFillTx/>
              <a:latin typeface="Calibri"/>
              <a:ea typeface="+mj-ea"/>
              <a:cs typeface="+mj-cs"/>
            </a:endParaRPr>
          </a:p>
        </p:txBody>
      </p:sp>
      <p:sp>
        <p:nvSpPr>
          <p:cNvPr id="96" name="Title 2">
            <a:extLst>
              <a:ext uri="{FF2B5EF4-FFF2-40B4-BE49-F238E27FC236}">
                <a16:creationId xmlns:a16="http://schemas.microsoft.com/office/drawing/2014/main" id="{F6E1DD40-BEE9-4F1C-88D2-CEC722BD4516}"/>
              </a:ext>
            </a:extLst>
          </p:cNvPr>
          <p:cNvSpPr txBox="1">
            <a:spLocks/>
          </p:cNvSpPr>
          <p:nvPr/>
        </p:nvSpPr>
        <p:spPr>
          <a:xfrm>
            <a:off x="7699262" y="5787394"/>
            <a:ext cx="3940000" cy="610198"/>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mj-lt"/>
              </a:defRPr>
            </a:lvl1pPr>
          </a:lstStyle>
          <a:p>
            <a:pPr algn="ctr">
              <a:defRPr/>
            </a:pPr>
            <a:r>
              <a:rPr kumimoji="0" lang="ru-RU" sz="1800" b="0" i="0" u="none" strike="noStrike" kern="1200" cap="none" spc="0" normalizeH="0" baseline="0" noProof="0" dirty="0">
                <a:ln>
                  <a:noFill/>
                </a:ln>
                <a:solidFill>
                  <a:prstClr val="white"/>
                </a:solidFill>
                <a:effectLst/>
                <a:uLnTx/>
                <a:uFillTx/>
                <a:latin typeface="Calibri"/>
                <a:ea typeface="+mj-ea"/>
                <a:cs typeface="+mj-cs"/>
                <a:sym typeface="+mj-lt"/>
              </a:rPr>
              <a:t>Эти пробелы в системе должны быть поддержаны соответствующим финансированием и управлением</a:t>
            </a:r>
            <a:endParaRPr kumimoji="0" lang="en-US" sz="1800" b="0" i="0" u="none" strike="noStrike" kern="1200" cap="none" spc="0" normalizeH="0" baseline="0" noProof="0" dirty="0">
              <a:ln>
                <a:noFill/>
              </a:ln>
              <a:solidFill>
                <a:prstClr val="white"/>
              </a:solidFill>
              <a:effectLst/>
              <a:uLnTx/>
              <a:uFillTx/>
              <a:latin typeface="Calibri"/>
              <a:ea typeface="+mj-ea"/>
              <a:cs typeface="+mj-cs"/>
              <a:sym typeface="+mj-lt"/>
            </a:endParaRPr>
          </a:p>
        </p:txBody>
      </p:sp>
      <p:pic>
        <p:nvPicPr>
          <p:cNvPr id="97" name="Picture 96">
            <a:extLst>
              <a:ext uri="{FF2B5EF4-FFF2-40B4-BE49-F238E27FC236}">
                <a16:creationId xmlns:a16="http://schemas.microsoft.com/office/drawing/2014/main" id="{9AF433F1-2793-49E3-A27A-4C33A1E06530}"/>
              </a:ext>
            </a:extLst>
          </p:cNvPr>
          <p:cNvPicPr>
            <a:picLocks noChangeAspect="1"/>
          </p:cNvPicPr>
          <p:nvPr/>
        </p:nvPicPr>
        <p:blipFill>
          <a:blip r:embed="rId8"/>
          <a:stretch>
            <a:fillRect/>
          </a:stretch>
        </p:blipFill>
        <p:spPr>
          <a:xfrm>
            <a:off x="7484457" y="1756129"/>
            <a:ext cx="4305039" cy="4162488"/>
          </a:xfrm>
          <a:prstGeom prst="rect">
            <a:avLst/>
          </a:prstGeom>
        </p:spPr>
      </p:pic>
      <p:sp>
        <p:nvSpPr>
          <p:cNvPr id="98" name="Title 2">
            <a:extLst>
              <a:ext uri="{FF2B5EF4-FFF2-40B4-BE49-F238E27FC236}">
                <a16:creationId xmlns:a16="http://schemas.microsoft.com/office/drawing/2014/main" id="{2AC3F51A-236B-444B-ABF8-0CD88724B7CC}"/>
              </a:ext>
            </a:extLst>
          </p:cNvPr>
          <p:cNvSpPr txBox="1">
            <a:spLocks/>
          </p:cNvSpPr>
          <p:nvPr/>
        </p:nvSpPr>
        <p:spPr>
          <a:xfrm>
            <a:off x="7959554" y="1070606"/>
            <a:ext cx="3354843" cy="521714"/>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Calibri"/>
                <a:ea typeface="+mj-ea"/>
                <a:cs typeface="+mj-cs"/>
                <a:sym typeface="+mj-lt"/>
              </a:rPr>
              <a:t>Основные системные пробелы, отмеченные во многих отчетах</a:t>
            </a:r>
            <a:endParaRPr kumimoji="0" lang="en-US" sz="1800" b="0" i="0" u="none" strike="noStrike" kern="1200" cap="none" spc="0" normalizeH="0" baseline="0" noProof="0" dirty="0">
              <a:ln>
                <a:noFill/>
              </a:ln>
              <a:solidFill>
                <a:prstClr val="white"/>
              </a:solidFill>
              <a:effectLst/>
              <a:uLnTx/>
              <a:uFillTx/>
              <a:latin typeface="Calibri"/>
              <a:ea typeface="+mj-ea"/>
              <a:cs typeface="+mj-cs"/>
              <a:sym typeface="+mj-lt"/>
            </a:endParaRPr>
          </a:p>
        </p:txBody>
      </p:sp>
      <p:sp>
        <p:nvSpPr>
          <p:cNvPr id="99" name="4. Footnote">
            <a:extLst>
              <a:ext uri="{FF2B5EF4-FFF2-40B4-BE49-F238E27FC236}">
                <a16:creationId xmlns:a16="http://schemas.microsoft.com/office/drawing/2014/main" id="{653133FB-4EBF-4FBD-89E2-FFD508CBED15}"/>
              </a:ext>
            </a:extLst>
          </p:cNvPr>
          <p:cNvSpPr txBox="1"/>
          <p:nvPr>
            <p:custDataLst>
              <p:tags r:id="rId3"/>
            </p:custDataLst>
          </p:nvPr>
        </p:nvSpPr>
        <p:spPr>
          <a:xfrm>
            <a:off x="163307" y="6526496"/>
            <a:ext cx="5805690"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marR="0" lvl="0" indent="-228600" defTabSz="914400" eaLnBrk="1" fontAlgn="auto" latinLnBrk="0" hangingPunct="1">
              <a:lnSpc>
                <a:spcPct val="100000"/>
              </a:lnSpc>
              <a:spcBef>
                <a:spcPts val="0"/>
              </a:spcBef>
              <a:spcAft>
                <a:spcPts val="0"/>
              </a:spcAft>
              <a:buClrTx/>
              <a:buSzTx/>
              <a:buFontTx/>
              <a:buAutoNum type="arabicPeriod"/>
              <a:tabLst/>
              <a:defRPr/>
            </a:pPr>
            <a:r>
              <a:rPr kumimoji="0" lang="en-GB" sz="800" b="0" i="0" u="none" strike="noStrike" kern="0" cap="none" spc="0" normalizeH="0" baseline="0" noProof="0">
                <a:ln>
                  <a:noFill/>
                </a:ln>
                <a:solidFill>
                  <a:srgbClr val="000000"/>
                </a:solidFill>
                <a:effectLst/>
                <a:uLnTx/>
                <a:uFillTx/>
                <a:cs typeface="Arial" panose="020B0604020202020204" pitchFamily="34" charset="0"/>
              </a:rPr>
              <a:t>Intergovernmental negotiating body to strengthen pandemic prevention, preparedness and response (INB), </a:t>
            </a:r>
            <a:r>
              <a:rPr kumimoji="0" lang="en-US" sz="800" b="0" i="0" u="none" strike="noStrike" kern="0" cap="none" spc="0" normalizeH="0" baseline="0" noProof="0">
                <a:ln>
                  <a:noFill/>
                </a:ln>
                <a:solidFill>
                  <a:srgbClr val="000000"/>
                </a:solidFill>
                <a:effectLst/>
                <a:uLnTx/>
                <a:uFillTx/>
                <a:cs typeface="Arial" panose="020B0604020202020204" pitchFamily="34" charset="0"/>
              </a:rPr>
              <a:t>Member States Working Group on Strengthening WHO Preparedness and Response to Health Emergencies  (WGPR)	</a:t>
            </a:r>
          </a:p>
        </p:txBody>
      </p:sp>
      <p:grpSp>
        <p:nvGrpSpPr>
          <p:cNvPr id="100" name="Group 99">
            <a:extLst>
              <a:ext uri="{FF2B5EF4-FFF2-40B4-BE49-F238E27FC236}">
                <a16:creationId xmlns:a16="http://schemas.microsoft.com/office/drawing/2014/main" id="{9FF00684-C9E8-4666-94C6-01C6F2DC1349}"/>
              </a:ext>
            </a:extLst>
          </p:cNvPr>
          <p:cNvGrpSpPr>
            <a:grpSpLocks noChangeAspect="1"/>
          </p:cNvGrpSpPr>
          <p:nvPr/>
        </p:nvGrpSpPr>
        <p:grpSpPr>
          <a:xfrm>
            <a:off x="5148423" y="3099511"/>
            <a:ext cx="1515394" cy="1356972"/>
            <a:chOff x="5273675" y="2606675"/>
            <a:chExt cx="1646238" cy="1644650"/>
          </a:xfrm>
        </p:grpSpPr>
        <p:sp>
          <p:nvSpPr>
            <p:cNvPr id="101" name="AutoShape 3">
              <a:extLst>
                <a:ext uri="{FF2B5EF4-FFF2-40B4-BE49-F238E27FC236}">
                  <a16:creationId xmlns:a16="http://schemas.microsoft.com/office/drawing/2014/main" id="{2B86BE20-802E-47EE-B054-E902DD308D00}"/>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02" name="Group 101">
              <a:extLst>
                <a:ext uri="{FF2B5EF4-FFF2-40B4-BE49-F238E27FC236}">
                  <a16:creationId xmlns:a16="http://schemas.microsoft.com/office/drawing/2014/main" id="{8D0DCEB6-82F6-4B61-8E4E-587CBB67C071}"/>
                </a:ext>
              </a:extLst>
            </p:cNvPr>
            <p:cNvGrpSpPr/>
            <p:nvPr/>
          </p:nvGrpSpPr>
          <p:grpSpPr>
            <a:xfrm>
              <a:off x="5651500" y="2971800"/>
              <a:ext cx="892175" cy="1109663"/>
              <a:chOff x="5651500" y="2971800"/>
              <a:chExt cx="892175" cy="1109663"/>
            </a:xfrm>
          </p:grpSpPr>
          <p:sp>
            <p:nvSpPr>
              <p:cNvPr id="103" name="Freeform 20">
                <a:extLst>
                  <a:ext uri="{FF2B5EF4-FFF2-40B4-BE49-F238E27FC236}">
                    <a16:creationId xmlns:a16="http://schemas.microsoft.com/office/drawing/2014/main" id="{BFBBAE41-ACDE-4D4C-8F42-DE935B5108E2}"/>
                  </a:ext>
                </a:extLst>
              </p:cNvPr>
              <p:cNvSpPr>
                <a:spLocks/>
              </p:cNvSpPr>
              <p:nvPr/>
            </p:nvSpPr>
            <p:spPr bwMode="auto">
              <a:xfrm>
                <a:off x="5651500" y="2971800"/>
                <a:ext cx="892175" cy="1109663"/>
              </a:xfrm>
              <a:custGeom>
                <a:avLst/>
                <a:gdLst>
                  <a:gd name="connsiteX0" fmla="*/ 30163 w 892175"/>
                  <a:gd name="connsiteY0" fmla="*/ 198438 h 1109663"/>
                  <a:gd name="connsiteX1" fmla="*/ 30163 w 892175"/>
                  <a:gd name="connsiteY1" fmla="*/ 1077913 h 1109663"/>
                  <a:gd name="connsiteX2" fmla="*/ 654051 w 892175"/>
                  <a:gd name="connsiteY2" fmla="*/ 1077913 h 1109663"/>
                  <a:gd name="connsiteX3" fmla="*/ 654051 w 892175"/>
                  <a:gd name="connsiteY3" fmla="*/ 942976 h 1109663"/>
                  <a:gd name="connsiteX4" fmla="*/ 654051 w 892175"/>
                  <a:gd name="connsiteY4" fmla="*/ 927101 h 1109663"/>
                  <a:gd name="connsiteX5" fmla="*/ 654051 w 892175"/>
                  <a:gd name="connsiteY5" fmla="*/ 911226 h 1109663"/>
                  <a:gd name="connsiteX6" fmla="*/ 654051 w 892175"/>
                  <a:gd name="connsiteY6" fmla="*/ 198438 h 1109663"/>
                  <a:gd name="connsiteX7" fmla="*/ 238126 w 892175"/>
                  <a:gd name="connsiteY7" fmla="*/ 198438 h 1109663"/>
                  <a:gd name="connsiteX8" fmla="*/ 222251 w 892175"/>
                  <a:gd name="connsiteY8" fmla="*/ 198438 h 1109663"/>
                  <a:gd name="connsiteX9" fmla="*/ 206376 w 892175"/>
                  <a:gd name="connsiteY9" fmla="*/ 198438 h 1109663"/>
                  <a:gd name="connsiteX10" fmla="*/ 238125 w 892175"/>
                  <a:gd name="connsiteY10" fmla="*/ 31750 h 1109663"/>
                  <a:gd name="connsiteX11" fmla="*/ 238125 w 892175"/>
                  <a:gd name="connsiteY11" fmla="*/ 166670 h 1109663"/>
                  <a:gd name="connsiteX12" fmla="*/ 670100 w 892175"/>
                  <a:gd name="connsiteY12" fmla="*/ 166670 h 1109663"/>
                  <a:gd name="connsiteX13" fmla="*/ 685782 w 892175"/>
                  <a:gd name="connsiteY13" fmla="*/ 182375 h 1109663"/>
                  <a:gd name="connsiteX14" fmla="*/ 685782 w 892175"/>
                  <a:gd name="connsiteY14" fmla="*/ 911225 h 1109663"/>
                  <a:gd name="connsiteX15" fmla="*/ 860425 w 892175"/>
                  <a:gd name="connsiteY15" fmla="*/ 911225 h 1109663"/>
                  <a:gd name="connsiteX16" fmla="*/ 860425 w 892175"/>
                  <a:gd name="connsiteY16" fmla="*/ 31750 h 1109663"/>
                  <a:gd name="connsiteX17" fmla="*/ 238125 w 892175"/>
                  <a:gd name="connsiteY17" fmla="*/ 31750 h 1109663"/>
                  <a:gd name="connsiteX18" fmla="*/ 221973 w 892175"/>
                  <a:gd name="connsiteY18" fmla="*/ 0 h 1109663"/>
                  <a:gd name="connsiteX19" fmla="*/ 876473 w 892175"/>
                  <a:gd name="connsiteY19" fmla="*/ 0 h 1109663"/>
                  <a:gd name="connsiteX20" fmla="*/ 892175 w 892175"/>
                  <a:gd name="connsiteY20" fmla="*/ 15720 h 1109663"/>
                  <a:gd name="connsiteX21" fmla="*/ 892175 w 892175"/>
                  <a:gd name="connsiteY21" fmla="*/ 927458 h 1109663"/>
                  <a:gd name="connsiteX22" fmla="*/ 876473 w 892175"/>
                  <a:gd name="connsiteY22" fmla="*/ 943178 h 1109663"/>
                  <a:gd name="connsiteX23" fmla="*/ 685904 w 892175"/>
                  <a:gd name="connsiteY23" fmla="*/ 943178 h 1109663"/>
                  <a:gd name="connsiteX24" fmla="*/ 685904 w 892175"/>
                  <a:gd name="connsiteY24" fmla="*/ 1093944 h 1109663"/>
                  <a:gd name="connsiteX25" fmla="*/ 670202 w 892175"/>
                  <a:gd name="connsiteY25" fmla="*/ 1109663 h 1109663"/>
                  <a:gd name="connsiteX26" fmla="*/ 15703 w 892175"/>
                  <a:gd name="connsiteY26" fmla="*/ 1109663 h 1109663"/>
                  <a:gd name="connsiteX27" fmla="*/ 0 w 892175"/>
                  <a:gd name="connsiteY27" fmla="*/ 1093944 h 1109663"/>
                  <a:gd name="connsiteX28" fmla="*/ 0 w 892175"/>
                  <a:gd name="connsiteY28" fmla="*/ 182205 h 1109663"/>
                  <a:gd name="connsiteX29" fmla="*/ 15703 w 892175"/>
                  <a:gd name="connsiteY29" fmla="*/ 166485 h 1109663"/>
                  <a:gd name="connsiteX30" fmla="*/ 206271 w 892175"/>
                  <a:gd name="connsiteY30" fmla="*/ 166485 h 1109663"/>
                  <a:gd name="connsiteX31" fmla="*/ 206271 w 892175"/>
                  <a:gd name="connsiteY31" fmla="*/ 15720 h 1109663"/>
                  <a:gd name="connsiteX32" fmla="*/ 221973 w 892175"/>
                  <a:gd name="connsiteY32" fmla="*/ 0 h 110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92175" h="1109663">
                    <a:moveTo>
                      <a:pt x="30163" y="198438"/>
                    </a:moveTo>
                    <a:lnTo>
                      <a:pt x="30163" y="1077913"/>
                    </a:lnTo>
                    <a:lnTo>
                      <a:pt x="654051" y="1077913"/>
                    </a:lnTo>
                    <a:lnTo>
                      <a:pt x="654051" y="942976"/>
                    </a:lnTo>
                    <a:lnTo>
                      <a:pt x="654051" y="927101"/>
                    </a:lnTo>
                    <a:lnTo>
                      <a:pt x="654051" y="911226"/>
                    </a:lnTo>
                    <a:lnTo>
                      <a:pt x="654051" y="198438"/>
                    </a:lnTo>
                    <a:lnTo>
                      <a:pt x="238126" y="198438"/>
                    </a:lnTo>
                    <a:lnTo>
                      <a:pt x="222251" y="198438"/>
                    </a:lnTo>
                    <a:lnTo>
                      <a:pt x="206376" y="198438"/>
                    </a:lnTo>
                    <a:close/>
                    <a:moveTo>
                      <a:pt x="238125" y="31750"/>
                    </a:moveTo>
                    <a:lnTo>
                      <a:pt x="238125" y="166670"/>
                    </a:lnTo>
                    <a:cubicBezTo>
                      <a:pt x="238125" y="166670"/>
                      <a:pt x="238125" y="166670"/>
                      <a:pt x="670100" y="166670"/>
                    </a:cubicBezTo>
                    <a:cubicBezTo>
                      <a:pt x="678654" y="166670"/>
                      <a:pt x="685782" y="173808"/>
                      <a:pt x="685782" y="182375"/>
                    </a:cubicBezTo>
                    <a:cubicBezTo>
                      <a:pt x="685782" y="182375"/>
                      <a:pt x="685782" y="182375"/>
                      <a:pt x="685782" y="911225"/>
                    </a:cubicBezTo>
                    <a:cubicBezTo>
                      <a:pt x="685782" y="911225"/>
                      <a:pt x="685782" y="911225"/>
                      <a:pt x="860425" y="911225"/>
                    </a:cubicBezTo>
                    <a:cubicBezTo>
                      <a:pt x="860425" y="911225"/>
                      <a:pt x="860425" y="911225"/>
                      <a:pt x="860425" y="31750"/>
                    </a:cubicBezTo>
                    <a:cubicBezTo>
                      <a:pt x="860425" y="31750"/>
                      <a:pt x="860425" y="31750"/>
                      <a:pt x="238125" y="31750"/>
                    </a:cubicBezTo>
                    <a:close/>
                    <a:moveTo>
                      <a:pt x="221973" y="0"/>
                    </a:moveTo>
                    <a:cubicBezTo>
                      <a:pt x="221973" y="0"/>
                      <a:pt x="221973" y="0"/>
                      <a:pt x="876473" y="0"/>
                    </a:cubicBezTo>
                    <a:cubicBezTo>
                      <a:pt x="885752" y="0"/>
                      <a:pt x="892175" y="7145"/>
                      <a:pt x="892175" y="15720"/>
                    </a:cubicBezTo>
                    <a:cubicBezTo>
                      <a:pt x="892175" y="15720"/>
                      <a:pt x="892175" y="15720"/>
                      <a:pt x="892175" y="927458"/>
                    </a:cubicBezTo>
                    <a:cubicBezTo>
                      <a:pt x="892175" y="936033"/>
                      <a:pt x="885752" y="943178"/>
                      <a:pt x="876473" y="943178"/>
                    </a:cubicBezTo>
                    <a:cubicBezTo>
                      <a:pt x="876473" y="943178"/>
                      <a:pt x="876473" y="943178"/>
                      <a:pt x="685904" y="943178"/>
                    </a:cubicBezTo>
                    <a:cubicBezTo>
                      <a:pt x="685904" y="943178"/>
                      <a:pt x="685904" y="943178"/>
                      <a:pt x="685904" y="1093944"/>
                    </a:cubicBezTo>
                    <a:cubicBezTo>
                      <a:pt x="685904" y="1102518"/>
                      <a:pt x="678767" y="1109663"/>
                      <a:pt x="670202" y="1109663"/>
                    </a:cubicBezTo>
                    <a:cubicBezTo>
                      <a:pt x="670202" y="1109663"/>
                      <a:pt x="670202" y="1109663"/>
                      <a:pt x="15703" y="1109663"/>
                    </a:cubicBezTo>
                    <a:cubicBezTo>
                      <a:pt x="6424" y="1109663"/>
                      <a:pt x="0" y="1102518"/>
                      <a:pt x="0" y="1093944"/>
                    </a:cubicBezTo>
                    <a:cubicBezTo>
                      <a:pt x="0" y="1093944"/>
                      <a:pt x="0" y="1093944"/>
                      <a:pt x="0" y="182205"/>
                    </a:cubicBezTo>
                    <a:cubicBezTo>
                      <a:pt x="0" y="173631"/>
                      <a:pt x="6424" y="166485"/>
                      <a:pt x="15703" y="166485"/>
                    </a:cubicBezTo>
                    <a:cubicBezTo>
                      <a:pt x="15703" y="166485"/>
                      <a:pt x="15703" y="166485"/>
                      <a:pt x="206271" y="166485"/>
                    </a:cubicBezTo>
                    <a:cubicBezTo>
                      <a:pt x="206271" y="166485"/>
                      <a:pt x="206271" y="166485"/>
                      <a:pt x="206271" y="15720"/>
                    </a:cubicBezTo>
                    <a:cubicBezTo>
                      <a:pt x="206271" y="7145"/>
                      <a:pt x="213409" y="0"/>
                      <a:pt x="221973" y="0"/>
                    </a:cubicBezTo>
                    <a:close/>
                  </a:path>
                </a:pathLst>
              </a:custGeom>
              <a:solidFill>
                <a:srgbClr val="0012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4" name="Freeform 21">
                <a:extLst>
                  <a:ext uri="{FF2B5EF4-FFF2-40B4-BE49-F238E27FC236}">
                    <a16:creationId xmlns:a16="http://schemas.microsoft.com/office/drawing/2014/main" id="{709CAF62-E58C-4E24-B178-22770A7CE35C}"/>
                  </a:ext>
                </a:extLst>
              </p:cNvPr>
              <p:cNvSpPr>
                <a:spLocks/>
              </p:cNvSpPr>
              <p:nvPr/>
            </p:nvSpPr>
            <p:spPr bwMode="auto">
              <a:xfrm>
                <a:off x="5767388" y="3287713"/>
                <a:ext cx="454025" cy="646113"/>
              </a:xfrm>
              <a:custGeom>
                <a:avLst/>
                <a:gdLst>
                  <a:gd name="connsiteX0" fmla="*/ 15681 w 454025"/>
                  <a:gd name="connsiteY0" fmla="*/ 615950 h 646113"/>
                  <a:gd name="connsiteX1" fmla="*/ 91233 w 454025"/>
                  <a:gd name="connsiteY1" fmla="*/ 615950 h 646113"/>
                  <a:gd name="connsiteX2" fmla="*/ 439057 w 454025"/>
                  <a:gd name="connsiteY2" fmla="*/ 615950 h 646113"/>
                  <a:gd name="connsiteX3" fmla="*/ 453312 w 454025"/>
                  <a:gd name="connsiteY3" fmla="*/ 626472 h 646113"/>
                  <a:gd name="connsiteX4" fmla="*/ 454025 w 454025"/>
                  <a:gd name="connsiteY4" fmla="*/ 631382 h 646113"/>
                  <a:gd name="connsiteX5" fmla="*/ 454025 w 454025"/>
                  <a:gd name="connsiteY5" fmla="*/ 632785 h 646113"/>
                  <a:gd name="connsiteX6" fmla="*/ 444047 w 454025"/>
                  <a:gd name="connsiteY6" fmla="*/ 645412 h 646113"/>
                  <a:gd name="connsiteX7" fmla="*/ 442621 w 454025"/>
                  <a:gd name="connsiteY7" fmla="*/ 646113 h 646113"/>
                  <a:gd name="connsiteX8" fmla="*/ 441908 w 454025"/>
                  <a:gd name="connsiteY8" fmla="*/ 646113 h 646113"/>
                  <a:gd name="connsiteX9" fmla="*/ 439057 w 454025"/>
                  <a:gd name="connsiteY9" fmla="*/ 646113 h 646113"/>
                  <a:gd name="connsiteX10" fmla="*/ 15681 w 454025"/>
                  <a:gd name="connsiteY10" fmla="*/ 646113 h 646113"/>
                  <a:gd name="connsiteX11" fmla="*/ 14968 w 454025"/>
                  <a:gd name="connsiteY11" fmla="*/ 646113 h 646113"/>
                  <a:gd name="connsiteX12" fmla="*/ 0 w 454025"/>
                  <a:gd name="connsiteY12" fmla="*/ 631382 h 646113"/>
                  <a:gd name="connsiteX13" fmla="*/ 15681 w 454025"/>
                  <a:gd name="connsiteY13" fmla="*/ 615950 h 646113"/>
                  <a:gd name="connsiteX14" fmla="*/ 15681 w 454025"/>
                  <a:gd name="connsiteY14" fmla="*/ 512762 h 646113"/>
                  <a:gd name="connsiteX15" fmla="*/ 90520 w 454025"/>
                  <a:gd name="connsiteY15" fmla="*/ 512762 h 646113"/>
                  <a:gd name="connsiteX16" fmla="*/ 106201 w 454025"/>
                  <a:gd name="connsiteY16" fmla="*/ 512762 h 646113"/>
                  <a:gd name="connsiteX17" fmla="*/ 121881 w 454025"/>
                  <a:gd name="connsiteY17" fmla="*/ 512762 h 646113"/>
                  <a:gd name="connsiteX18" fmla="*/ 439057 w 454025"/>
                  <a:gd name="connsiteY18" fmla="*/ 512762 h 646113"/>
                  <a:gd name="connsiteX19" fmla="*/ 454025 w 454025"/>
                  <a:gd name="connsiteY19" fmla="*/ 528637 h 646113"/>
                  <a:gd name="connsiteX20" fmla="*/ 454025 w 454025"/>
                  <a:gd name="connsiteY20" fmla="*/ 531523 h 646113"/>
                  <a:gd name="connsiteX21" fmla="*/ 453312 w 454025"/>
                  <a:gd name="connsiteY21" fmla="*/ 532967 h 646113"/>
                  <a:gd name="connsiteX22" fmla="*/ 453312 w 454025"/>
                  <a:gd name="connsiteY22" fmla="*/ 533688 h 646113"/>
                  <a:gd name="connsiteX23" fmla="*/ 444047 w 454025"/>
                  <a:gd name="connsiteY23" fmla="*/ 543791 h 646113"/>
                  <a:gd name="connsiteX24" fmla="*/ 443334 w 454025"/>
                  <a:gd name="connsiteY24" fmla="*/ 543791 h 646113"/>
                  <a:gd name="connsiteX25" fmla="*/ 441908 w 454025"/>
                  <a:gd name="connsiteY25" fmla="*/ 544512 h 646113"/>
                  <a:gd name="connsiteX26" fmla="*/ 439057 w 454025"/>
                  <a:gd name="connsiteY26" fmla="*/ 544512 h 646113"/>
                  <a:gd name="connsiteX27" fmla="*/ 121881 w 454025"/>
                  <a:gd name="connsiteY27" fmla="*/ 544512 h 646113"/>
                  <a:gd name="connsiteX28" fmla="*/ 106201 w 454025"/>
                  <a:gd name="connsiteY28" fmla="*/ 544512 h 646113"/>
                  <a:gd name="connsiteX29" fmla="*/ 90520 w 454025"/>
                  <a:gd name="connsiteY29" fmla="*/ 544512 h 646113"/>
                  <a:gd name="connsiteX30" fmla="*/ 15681 w 454025"/>
                  <a:gd name="connsiteY30" fmla="*/ 544512 h 646113"/>
                  <a:gd name="connsiteX31" fmla="*/ 0 w 454025"/>
                  <a:gd name="connsiteY31" fmla="*/ 528637 h 646113"/>
                  <a:gd name="connsiteX32" fmla="*/ 15681 w 454025"/>
                  <a:gd name="connsiteY32" fmla="*/ 512762 h 646113"/>
                  <a:gd name="connsiteX33" fmla="*/ 15681 w 454025"/>
                  <a:gd name="connsiteY33" fmla="*/ 411162 h 646113"/>
                  <a:gd name="connsiteX34" fmla="*/ 90520 w 454025"/>
                  <a:gd name="connsiteY34" fmla="*/ 411162 h 646113"/>
                  <a:gd name="connsiteX35" fmla="*/ 106201 w 454025"/>
                  <a:gd name="connsiteY35" fmla="*/ 411162 h 646113"/>
                  <a:gd name="connsiteX36" fmla="*/ 121881 w 454025"/>
                  <a:gd name="connsiteY36" fmla="*/ 411162 h 646113"/>
                  <a:gd name="connsiteX37" fmla="*/ 439057 w 454025"/>
                  <a:gd name="connsiteY37" fmla="*/ 411162 h 646113"/>
                  <a:gd name="connsiteX38" fmla="*/ 454025 w 454025"/>
                  <a:gd name="connsiteY38" fmla="*/ 426594 h 646113"/>
                  <a:gd name="connsiteX39" fmla="*/ 439057 w 454025"/>
                  <a:gd name="connsiteY39" fmla="*/ 441325 h 646113"/>
                  <a:gd name="connsiteX40" fmla="*/ 121881 w 454025"/>
                  <a:gd name="connsiteY40" fmla="*/ 441325 h 646113"/>
                  <a:gd name="connsiteX41" fmla="*/ 106201 w 454025"/>
                  <a:gd name="connsiteY41" fmla="*/ 441325 h 646113"/>
                  <a:gd name="connsiteX42" fmla="*/ 90520 w 454025"/>
                  <a:gd name="connsiteY42" fmla="*/ 441325 h 646113"/>
                  <a:gd name="connsiteX43" fmla="*/ 15681 w 454025"/>
                  <a:gd name="connsiteY43" fmla="*/ 441325 h 646113"/>
                  <a:gd name="connsiteX44" fmla="*/ 0 w 454025"/>
                  <a:gd name="connsiteY44" fmla="*/ 426594 h 646113"/>
                  <a:gd name="connsiteX45" fmla="*/ 15681 w 454025"/>
                  <a:gd name="connsiteY45" fmla="*/ 411162 h 646113"/>
                  <a:gd name="connsiteX46" fmla="*/ 15681 w 454025"/>
                  <a:gd name="connsiteY46" fmla="*/ 307975 h 646113"/>
                  <a:gd name="connsiteX47" fmla="*/ 90520 w 454025"/>
                  <a:gd name="connsiteY47" fmla="*/ 307975 h 646113"/>
                  <a:gd name="connsiteX48" fmla="*/ 106201 w 454025"/>
                  <a:gd name="connsiteY48" fmla="*/ 307975 h 646113"/>
                  <a:gd name="connsiteX49" fmla="*/ 121881 w 454025"/>
                  <a:gd name="connsiteY49" fmla="*/ 307975 h 646113"/>
                  <a:gd name="connsiteX50" fmla="*/ 439057 w 454025"/>
                  <a:gd name="connsiteY50" fmla="*/ 307975 h 646113"/>
                  <a:gd name="connsiteX51" fmla="*/ 454025 w 454025"/>
                  <a:gd name="connsiteY51" fmla="*/ 323057 h 646113"/>
                  <a:gd name="connsiteX52" fmla="*/ 439057 w 454025"/>
                  <a:gd name="connsiteY52" fmla="*/ 338138 h 646113"/>
                  <a:gd name="connsiteX53" fmla="*/ 121881 w 454025"/>
                  <a:gd name="connsiteY53" fmla="*/ 338138 h 646113"/>
                  <a:gd name="connsiteX54" fmla="*/ 106201 w 454025"/>
                  <a:gd name="connsiteY54" fmla="*/ 338138 h 646113"/>
                  <a:gd name="connsiteX55" fmla="*/ 90520 w 454025"/>
                  <a:gd name="connsiteY55" fmla="*/ 338138 h 646113"/>
                  <a:gd name="connsiteX56" fmla="*/ 15681 w 454025"/>
                  <a:gd name="connsiteY56" fmla="*/ 338138 h 646113"/>
                  <a:gd name="connsiteX57" fmla="*/ 0 w 454025"/>
                  <a:gd name="connsiteY57" fmla="*/ 323057 h 646113"/>
                  <a:gd name="connsiteX58" fmla="*/ 15681 w 454025"/>
                  <a:gd name="connsiteY58" fmla="*/ 307975 h 646113"/>
                  <a:gd name="connsiteX59" fmla="*/ 15681 w 454025"/>
                  <a:gd name="connsiteY59" fmla="*/ 204787 h 646113"/>
                  <a:gd name="connsiteX60" fmla="*/ 90520 w 454025"/>
                  <a:gd name="connsiteY60" fmla="*/ 204787 h 646113"/>
                  <a:gd name="connsiteX61" fmla="*/ 106201 w 454025"/>
                  <a:gd name="connsiteY61" fmla="*/ 204787 h 646113"/>
                  <a:gd name="connsiteX62" fmla="*/ 121881 w 454025"/>
                  <a:gd name="connsiteY62" fmla="*/ 204787 h 646113"/>
                  <a:gd name="connsiteX63" fmla="*/ 439057 w 454025"/>
                  <a:gd name="connsiteY63" fmla="*/ 204787 h 646113"/>
                  <a:gd name="connsiteX64" fmla="*/ 454025 w 454025"/>
                  <a:gd name="connsiteY64" fmla="*/ 220219 h 646113"/>
                  <a:gd name="connsiteX65" fmla="*/ 439057 w 454025"/>
                  <a:gd name="connsiteY65" fmla="*/ 234950 h 646113"/>
                  <a:gd name="connsiteX66" fmla="*/ 121881 w 454025"/>
                  <a:gd name="connsiteY66" fmla="*/ 234950 h 646113"/>
                  <a:gd name="connsiteX67" fmla="*/ 106201 w 454025"/>
                  <a:gd name="connsiteY67" fmla="*/ 234950 h 646113"/>
                  <a:gd name="connsiteX68" fmla="*/ 90520 w 454025"/>
                  <a:gd name="connsiteY68" fmla="*/ 234950 h 646113"/>
                  <a:gd name="connsiteX69" fmla="*/ 15681 w 454025"/>
                  <a:gd name="connsiteY69" fmla="*/ 234950 h 646113"/>
                  <a:gd name="connsiteX70" fmla="*/ 0 w 454025"/>
                  <a:gd name="connsiteY70" fmla="*/ 220219 h 646113"/>
                  <a:gd name="connsiteX71" fmla="*/ 15681 w 454025"/>
                  <a:gd name="connsiteY71" fmla="*/ 204787 h 646113"/>
                  <a:gd name="connsiteX72" fmla="*/ 15681 w 454025"/>
                  <a:gd name="connsiteY72" fmla="*/ 101600 h 646113"/>
                  <a:gd name="connsiteX73" fmla="*/ 90520 w 454025"/>
                  <a:gd name="connsiteY73" fmla="*/ 101600 h 646113"/>
                  <a:gd name="connsiteX74" fmla="*/ 106201 w 454025"/>
                  <a:gd name="connsiteY74" fmla="*/ 101600 h 646113"/>
                  <a:gd name="connsiteX75" fmla="*/ 121881 w 454025"/>
                  <a:gd name="connsiteY75" fmla="*/ 101600 h 646113"/>
                  <a:gd name="connsiteX76" fmla="*/ 439057 w 454025"/>
                  <a:gd name="connsiteY76" fmla="*/ 101600 h 646113"/>
                  <a:gd name="connsiteX77" fmla="*/ 454025 w 454025"/>
                  <a:gd name="connsiteY77" fmla="*/ 117475 h 646113"/>
                  <a:gd name="connsiteX78" fmla="*/ 439057 w 454025"/>
                  <a:gd name="connsiteY78" fmla="*/ 133350 h 646113"/>
                  <a:gd name="connsiteX79" fmla="*/ 121881 w 454025"/>
                  <a:gd name="connsiteY79" fmla="*/ 133350 h 646113"/>
                  <a:gd name="connsiteX80" fmla="*/ 106201 w 454025"/>
                  <a:gd name="connsiteY80" fmla="*/ 133350 h 646113"/>
                  <a:gd name="connsiteX81" fmla="*/ 90520 w 454025"/>
                  <a:gd name="connsiteY81" fmla="*/ 133350 h 646113"/>
                  <a:gd name="connsiteX82" fmla="*/ 15681 w 454025"/>
                  <a:gd name="connsiteY82" fmla="*/ 133350 h 646113"/>
                  <a:gd name="connsiteX83" fmla="*/ 0 w 454025"/>
                  <a:gd name="connsiteY83" fmla="*/ 117475 h 646113"/>
                  <a:gd name="connsiteX84" fmla="*/ 15681 w 454025"/>
                  <a:gd name="connsiteY84" fmla="*/ 101600 h 646113"/>
                  <a:gd name="connsiteX85" fmla="*/ 15681 w 454025"/>
                  <a:gd name="connsiteY85" fmla="*/ 0 h 646113"/>
                  <a:gd name="connsiteX86" fmla="*/ 90520 w 454025"/>
                  <a:gd name="connsiteY86" fmla="*/ 0 h 646113"/>
                  <a:gd name="connsiteX87" fmla="*/ 106201 w 454025"/>
                  <a:gd name="connsiteY87" fmla="*/ 0 h 646113"/>
                  <a:gd name="connsiteX88" fmla="*/ 121881 w 454025"/>
                  <a:gd name="connsiteY88" fmla="*/ 0 h 646113"/>
                  <a:gd name="connsiteX89" fmla="*/ 439057 w 454025"/>
                  <a:gd name="connsiteY89" fmla="*/ 0 h 646113"/>
                  <a:gd name="connsiteX90" fmla="*/ 454025 w 454025"/>
                  <a:gd name="connsiteY90" fmla="*/ 15432 h 646113"/>
                  <a:gd name="connsiteX91" fmla="*/ 439057 w 454025"/>
                  <a:gd name="connsiteY91" fmla="*/ 30163 h 646113"/>
                  <a:gd name="connsiteX92" fmla="*/ 121881 w 454025"/>
                  <a:gd name="connsiteY92" fmla="*/ 30163 h 646113"/>
                  <a:gd name="connsiteX93" fmla="*/ 106201 w 454025"/>
                  <a:gd name="connsiteY93" fmla="*/ 30163 h 646113"/>
                  <a:gd name="connsiteX94" fmla="*/ 90520 w 454025"/>
                  <a:gd name="connsiteY94" fmla="*/ 30163 h 646113"/>
                  <a:gd name="connsiteX95" fmla="*/ 15681 w 454025"/>
                  <a:gd name="connsiteY95" fmla="*/ 30163 h 646113"/>
                  <a:gd name="connsiteX96" fmla="*/ 0 w 454025"/>
                  <a:gd name="connsiteY96" fmla="*/ 15432 h 646113"/>
                  <a:gd name="connsiteX97" fmla="*/ 15681 w 454025"/>
                  <a:gd name="connsiteY97"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54025" h="646113">
                    <a:moveTo>
                      <a:pt x="15681" y="615950"/>
                    </a:moveTo>
                    <a:cubicBezTo>
                      <a:pt x="42766" y="615950"/>
                      <a:pt x="67712" y="615950"/>
                      <a:pt x="91233" y="615950"/>
                    </a:cubicBezTo>
                    <a:cubicBezTo>
                      <a:pt x="439057" y="615950"/>
                      <a:pt x="439057" y="615950"/>
                      <a:pt x="439057" y="615950"/>
                    </a:cubicBezTo>
                    <a:cubicBezTo>
                      <a:pt x="446185" y="615950"/>
                      <a:pt x="451887" y="620159"/>
                      <a:pt x="453312" y="626472"/>
                    </a:cubicBezTo>
                    <a:cubicBezTo>
                      <a:pt x="454025" y="627875"/>
                      <a:pt x="454025" y="629278"/>
                      <a:pt x="454025" y="631382"/>
                    </a:cubicBezTo>
                    <a:cubicBezTo>
                      <a:pt x="454025" y="632084"/>
                      <a:pt x="454025" y="632084"/>
                      <a:pt x="454025" y="632785"/>
                    </a:cubicBezTo>
                    <a:cubicBezTo>
                      <a:pt x="453312" y="638397"/>
                      <a:pt x="449749" y="643307"/>
                      <a:pt x="444047" y="645412"/>
                    </a:cubicBezTo>
                    <a:cubicBezTo>
                      <a:pt x="444047" y="645412"/>
                      <a:pt x="443334" y="646113"/>
                      <a:pt x="442621" y="646113"/>
                    </a:cubicBezTo>
                    <a:cubicBezTo>
                      <a:pt x="442621" y="646113"/>
                      <a:pt x="441908" y="646113"/>
                      <a:pt x="441908" y="646113"/>
                    </a:cubicBezTo>
                    <a:cubicBezTo>
                      <a:pt x="441196" y="646113"/>
                      <a:pt x="439770" y="646113"/>
                      <a:pt x="439057" y="646113"/>
                    </a:cubicBezTo>
                    <a:cubicBezTo>
                      <a:pt x="15681" y="646113"/>
                      <a:pt x="15681" y="646113"/>
                      <a:pt x="15681" y="646113"/>
                    </a:cubicBezTo>
                    <a:cubicBezTo>
                      <a:pt x="15681" y="646113"/>
                      <a:pt x="14968" y="646113"/>
                      <a:pt x="14968" y="646113"/>
                    </a:cubicBezTo>
                    <a:cubicBezTo>
                      <a:pt x="7128" y="646113"/>
                      <a:pt x="713" y="639800"/>
                      <a:pt x="0" y="631382"/>
                    </a:cubicBezTo>
                    <a:cubicBezTo>
                      <a:pt x="0" y="622965"/>
                      <a:pt x="7128" y="615950"/>
                      <a:pt x="15681" y="615950"/>
                    </a:cubicBezTo>
                    <a:close/>
                    <a:moveTo>
                      <a:pt x="15681" y="512762"/>
                    </a:moveTo>
                    <a:cubicBezTo>
                      <a:pt x="42053" y="512762"/>
                      <a:pt x="67712" y="512762"/>
                      <a:pt x="90520" y="512762"/>
                    </a:cubicBezTo>
                    <a:cubicBezTo>
                      <a:pt x="96222" y="512762"/>
                      <a:pt x="101211" y="512762"/>
                      <a:pt x="106201" y="512762"/>
                    </a:cubicBezTo>
                    <a:cubicBezTo>
                      <a:pt x="111903" y="512762"/>
                      <a:pt x="116892" y="512762"/>
                      <a:pt x="121881" y="512762"/>
                    </a:cubicBezTo>
                    <a:cubicBezTo>
                      <a:pt x="439057" y="512762"/>
                      <a:pt x="439057" y="512762"/>
                      <a:pt x="439057" y="512762"/>
                    </a:cubicBezTo>
                    <a:cubicBezTo>
                      <a:pt x="447610" y="512762"/>
                      <a:pt x="454025" y="519978"/>
                      <a:pt x="454025" y="528637"/>
                    </a:cubicBezTo>
                    <a:cubicBezTo>
                      <a:pt x="454025" y="530080"/>
                      <a:pt x="454025" y="530802"/>
                      <a:pt x="454025" y="531523"/>
                    </a:cubicBezTo>
                    <a:cubicBezTo>
                      <a:pt x="454025" y="532245"/>
                      <a:pt x="454025" y="532967"/>
                      <a:pt x="453312" y="532967"/>
                    </a:cubicBezTo>
                    <a:cubicBezTo>
                      <a:pt x="453312" y="533688"/>
                      <a:pt x="453312" y="533688"/>
                      <a:pt x="453312" y="533688"/>
                    </a:cubicBezTo>
                    <a:cubicBezTo>
                      <a:pt x="451887" y="538739"/>
                      <a:pt x="449036" y="542347"/>
                      <a:pt x="444047" y="543791"/>
                    </a:cubicBezTo>
                    <a:cubicBezTo>
                      <a:pt x="443334" y="543791"/>
                      <a:pt x="443334" y="543791"/>
                      <a:pt x="443334" y="543791"/>
                    </a:cubicBezTo>
                    <a:cubicBezTo>
                      <a:pt x="442621" y="543791"/>
                      <a:pt x="441908" y="543791"/>
                      <a:pt x="441908" y="544512"/>
                    </a:cubicBezTo>
                    <a:cubicBezTo>
                      <a:pt x="440483" y="544512"/>
                      <a:pt x="439770" y="544512"/>
                      <a:pt x="439057" y="544512"/>
                    </a:cubicBezTo>
                    <a:cubicBezTo>
                      <a:pt x="282964" y="544512"/>
                      <a:pt x="184604" y="544512"/>
                      <a:pt x="121881" y="544512"/>
                    </a:cubicBezTo>
                    <a:cubicBezTo>
                      <a:pt x="116892" y="544512"/>
                      <a:pt x="111190" y="544512"/>
                      <a:pt x="106201" y="544512"/>
                    </a:cubicBezTo>
                    <a:cubicBezTo>
                      <a:pt x="101211" y="544512"/>
                      <a:pt x="95509" y="544512"/>
                      <a:pt x="90520" y="544512"/>
                    </a:cubicBezTo>
                    <a:cubicBezTo>
                      <a:pt x="15681" y="544512"/>
                      <a:pt x="15681" y="544512"/>
                      <a:pt x="15681" y="544512"/>
                    </a:cubicBezTo>
                    <a:cubicBezTo>
                      <a:pt x="7128" y="544512"/>
                      <a:pt x="0" y="538018"/>
                      <a:pt x="0" y="528637"/>
                    </a:cubicBezTo>
                    <a:cubicBezTo>
                      <a:pt x="0" y="519978"/>
                      <a:pt x="7128" y="512762"/>
                      <a:pt x="15681" y="512762"/>
                    </a:cubicBezTo>
                    <a:close/>
                    <a:moveTo>
                      <a:pt x="15681" y="411162"/>
                    </a:moveTo>
                    <a:cubicBezTo>
                      <a:pt x="42053" y="411162"/>
                      <a:pt x="67712" y="411162"/>
                      <a:pt x="90520" y="411162"/>
                    </a:cubicBezTo>
                    <a:cubicBezTo>
                      <a:pt x="96222" y="411162"/>
                      <a:pt x="101211" y="411162"/>
                      <a:pt x="106201" y="411162"/>
                    </a:cubicBezTo>
                    <a:cubicBezTo>
                      <a:pt x="111903" y="411162"/>
                      <a:pt x="116892" y="411162"/>
                      <a:pt x="121881" y="411162"/>
                    </a:cubicBezTo>
                    <a:cubicBezTo>
                      <a:pt x="439057" y="411162"/>
                      <a:pt x="439057" y="411162"/>
                      <a:pt x="439057" y="411162"/>
                    </a:cubicBezTo>
                    <a:cubicBezTo>
                      <a:pt x="447610" y="411162"/>
                      <a:pt x="454025" y="418177"/>
                      <a:pt x="454025" y="426594"/>
                    </a:cubicBezTo>
                    <a:cubicBezTo>
                      <a:pt x="454025" y="435012"/>
                      <a:pt x="447610" y="441325"/>
                      <a:pt x="439057" y="441325"/>
                    </a:cubicBezTo>
                    <a:cubicBezTo>
                      <a:pt x="282964" y="441325"/>
                      <a:pt x="184604" y="441325"/>
                      <a:pt x="121881" y="441325"/>
                    </a:cubicBezTo>
                    <a:cubicBezTo>
                      <a:pt x="116892" y="441325"/>
                      <a:pt x="111190" y="441325"/>
                      <a:pt x="106201" y="441325"/>
                    </a:cubicBezTo>
                    <a:cubicBezTo>
                      <a:pt x="101211" y="441325"/>
                      <a:pt x="95509" y="441325"/>
                      <a:pt x="90520" y="441325"/>
                    </a:cubicBezTo>
                    <a:cubicBezTo>
                      <a:pt x="15681" y="441325"/>
                      <a:pt x="15681" y="441325"/>
                      <a:pt x="15681" y="441325"/>
                    </a:cubicBezTo>
                    <a:cubicBezTo>
                      <a:pt x="7128" y="441325"/>
                      <a:pt x="0" y="435012"/>
                      <a:pt x="0" y="426594"/>
                    </a:cubicBezTo>
                    <a:cubicBezTo>
                      <a:pt x="0" y="418177"/>
                      <a:pt x="7128" y="411162"/>
                      <a:pt x="15681" y="411162"/>
                    </a:cubicBezTo>
                    <a:close/>
                    <a:moveTo>
                      <a:pt x="15681" y="307975"/>
                    </a:moveTo>
                    <a:cubicBezTo>
                      <a:pt x="42053" y="307975"/>
                      <a:pt x="67712" y="307975"/>
                      <a:pt x="90520" y="307975"/>
                    </a:cubicBezTo>
                    <a:cubicBezTo>
                      <a:pt x="96222" y="307975"/>
                      <a:pt x="101211" y="307975"/>
                      <a:pt x="106201" y="307975"/>
                    </a:cubicBezTo>
                    <a:cubicBezTo>
                      <a:pt x="111903" y="307975"/>
                      <a:pt x="116892" y="307975"/>
                      <a:pt x="121881" y="307975"/>
                    </a:cubicBezTo>
                    <a:cubicBezTo>
                      <a:pt x="439057" y="307975"/>
                      <a:pt x="439057" y="307975"/>
                      <a:pt x="439057" y="307975"/>
                    </a:cubicBezTo>
                    <a:cubicBezTo>
                      <a:pt x="447610" y="307975"/>
                      <a:pt x="454025" y="315157"/>
                      <a:pt x="454025" y="323057"/>
                    </a:cubicBezTo>
                    <a:cubicBezTo>
                      <a:pt x="454025" y="330956"/>
                      <a:pt x="447610" y="338138"/>
                      <a:pt x="439057" y="338138"/>
                    </a:cubicBezTo>
                    <a:cubicBezTo>
                      <a:pt x="282964" y="338138"/>
                      <a:pt x="184604" y="338138"/>
                      <a:pt x="121881" y="338138"/>
                    </a:cubicBezTo>
                    <a:cubicBezTo>
                      <a:pt x="116892" y="338138"/>
                      <a:pt x="111190" y="338138"/>
                      <a:pt x="106201" y="338138"/>
                    </a:cubicBezTo>
                    <a:cubicBezTo>
                      <a:pt x="101211" y="338138"/>
                      <a:pt x="95509" y="338138"/>
                      <a:pt x="90520" y="338138"/>
                    </a:cubicBezTo>
                    <a:cubicBezTo>
                      <a:pt x="15681" y="338138"/>
                      <a:pt x="15681" y="338138"/>
                      <a:pt x="15681" y="338138"/>
                    </a:cubicBezTo>
                    <a:cubicBezTo>
                      <a:pt x="7128" y="338138"/>
                      <a:pt x="0" y="330956"/>
                      <a:pt x="0" y="323057"/>
                    </a:cubicBezTo>
                    <a:cubicBezTo>
                      <a:pt x="0" y="315157"/>
                      <a:pt x="7128" y="307975"/>
                      <a:pt x="15681" y="307975"/>
                    </a:cubicBezTo>
                    <a:close/>
                    <a:moveTo>
                      <a:pt x="15681" y="204787"/>
                    </a:moveTo>
                    <a:cubicBezTo>
                      <a:pt x="42053" y="204787"/>
                      <a:pt x="67712" y="204787"/>
                      <a:pt x="90520" y="204787"/>
                    </a:cubicBezTo>
                    <a:cubicBezTo>
                      <a:pt x="96222" y="204787"/>
                      <a:pt x="101211" y="204787"/>
                      <a:pt x="106201" y="204787"/>
                    </a:cubicBezTo>
                    <a:cubicBezTo>
                      <a:pt x="111903" y="204787"/>
                      <a:pt x="116892" y="204787"/>
                      <a:pt x="121881" y="204787"/>
                    </a:cubicBezTo>
                    <a:cubicBezTo>
                      <a:pt x="439057" y="204787"/>
                      <a:pt x="439057" y="204787"/>
                      <a:pt x="439057" y="204787"/>
                    </a:cubicBezTo>
                    <a:cubicBezTo>
                      <a:pt x="447610" y="204787"/>
                      <a:pt x="454025" y="211802"/>
                      <a:pt x="454025" y="220219"/>
                    </a:cubicBezTo>
                    <a:cubicBezTo>
                      <a:pt x="454025" y="227935"/>
                      <a:pt x="447610" y="234950"/>
                      <a:pt x="439057" y="234950"/>
                    </a:cubicBezTo>
                    <a:cubicBezTo>
                      <a:pt x="282964" y="234950"/>
                      <a:pt x="184604" y="234950"/>
                      <a:pt x="121881" y="234950"/>
                    </a:cubicBezTo>
                    <a:cubicBezTo>
                      <a:pt x="116892" y="234950"/>
                      <a:pt x="111190" y="234950"/>
                      <a:pt x="106201" y="234950"/>
                    </a:cubicBezTo>
                    <a:cubicBezTo>
                      <a:pt x="101211" y="234950"/>
                      <a:pt x="95509" y="234950"/>
                      <a:pt x="90520" y="234950"/>
                    </a:cubicBezTo>
                    <a:cubicBezTo>
                      <a:pt x="15681" y="234950"/>
                      <a:pt x="15681" y="234950"/>
                      <a:pt x="15681" y="234950"/>
                    </a:cubicBezTo>
                    <a:cubicBezTo>
                      <a:pt x="7128" y="234950"/>
                      <a:pt x="0" y="227935"/>
                      <a:pt x="0" y="220219"/>
                    </a:cubicBezTo>
                    <a:cubicBezTo>
                      <a:pt x="0" y="211802"/>
                      <a:pt x="7128" y="204787"/>
                      <a:pt x="15681" y="204787"/>
                    </a:cubicBezTo>
                    <a:close/>
                    <a:moveTo>
                      <a:pt x="15681" y="101600"/>
                    </a:moveTo>
                    <a:cubicBezTo>
                      <a:pt x="42053" y="101600"/>
                      <a:pt x="67712" y="101600"/>
                      <a:pt x="90520" y="101600"/>
                    </a:cubicBezTo>
                    <a:cubicBezTo>
                      <a:pt x="96222" y="101600"/>
                      <a:pt x="101211" y="101600"/>
                      <a:pt x="106201" y="101600"/>
                    </a:cubicBezTo>
                    <a:cubicBezTo>
                      <a:pt x="111903" y="101600"/>
                      <a:pt x="116892" y="101600"/>
                      <a:pt x="121881" y="101600"/>
                    </a:cubicBezTo>
                    <a:cubicBezTo>
                      <a:pt x="439057" y="101600"/>
                      <a:pt x="439057" y="101600"/>
                      <a:pt x="439057" y="101600"/>
                    </a:cubicBezTo>
                    <a:cubicBezTo>
                      <a:pt x="447610" y="101600"/>
                      <a:pt x="454025" y="108816"/>
                      <a:pt x="454025" y="117475"/>
                    </a:cubicBezTo>
                    <a:cubicBezTo>
                      <a:pt x="454025" y="126134"/>
                      <a:pt x="447610" y="133350"/>
                      <a:pt x="439057" y="133350"/>
                    </a:cubicBezTo>
                    <a:cubicBezTo>
                      <a:pt x="282964" y="133350"/>
                      <a:pt x="184604" y="133350"/>
                      <a:pt x="121881" y="133350"/>
                    </a:cubicBezTo>
                    <a:cubicBezTo>
                      <a:pt x="116892" y="133350"/>
                      <a:pt x="111190" y="133350"/>
                      <a:pt x="106201" y="133350"/>
                    </a:cubicBezTo>
                    <a:cubicBezTo>
                      <a:pt x="101211" y="133350"/>
                      <a:pt x="95509" y="133350"/>
                      <a:pt x="90520" y="133350"/>
                    </a:cubicBezTo>
                    <a:cubicBezTo>
                      <a:pt x="15681" y="133350"/>
                      <a:pt x="15681" y="133350"/>
                      <a:pt x="15681" y="133350"/>
                    </a:cubicBezTo>
                    <a:cubicBezTo>
                      <a:pt x="7128" y="133350"/>
                      <a:pt x="0" y="126134"/>
                      <a:pt x="0" y="117475"/>
                    </a:cubicBezTo>
                    <a:cubicBezTo>
                      <a:pt x="0" y="108816"/>
                      <a:pt x="7128" y="101600"/>
                      <a:pt x="15681" y="101600"/>
                    </a:cubicBezTo>
                    <a:close/>
                    <a:moveTo>
                      <a:pt x="15681" y="0"/>
                    </a:moveTo>
                    <a:cubicBezTo>
                      <a:pt x="42053" y="0"/>
                      <a:pt x="67712" y="0"/>
                      <a:pt x="90520" y="0"/>
                    </a:cubicBezTo>
                    <a:cubicBezTo>
                      <a:pt x="96222" y="0"/>
                      <a:pt x="101211" y="0"/>
                      <a:pt x="106201" y="0"/>
                    </a:cubicBezTo>
                    <a:cubicBezTo>
                      <a:pt x="111903" y="0"/>
                      <a:pt x="116892" y="0"/>
                      <a:pt x="121881" y="0"/>
                    </a:cubicBezTo>
                    <a:cubicBezTo>
                      <a:pt x="439057" y="0"/>
                      <a:pt x="439057" y="0"/>
                      <a:pt x="439057" y="0"/>
                    </a:cubicBezTo>
                    <a:cubicBezTo>
                      <a:pt x="447610" y="0"/>
                      <a:pt x="454025" y="6313"/>
                      <a:pt x="454025" y="15432"/>
                    </a:cubicBezTo>
                    <a:cubicBezTo>
                      <a:pt x="454025" y="23148"/>
                      <a:pt x="447610" y="30163"/>
                      <a:pt x="439057" y="30163"/>
                    </a:cubicBezTo>
                    <a:cubicBezTo>
                      <a:pt x="282964" y="30163"/>
                      <a:pt x="184604" y="30163"/>
                      <a:pt x="121881" y="30163"/>
                    </a:cubicBezTo>
                    <a:cubicBezTo>
                      <a:pt x="116892" y="30163"/>
                      <a:pt x="111190" y="30163"/>
                      <a:pt x="106201" y="30163"/>
                    </a:cubicBezTo>
                    <a:cubicBezTo>
                      <a:pt x="101211" y="30163"/>
                      <a:pt x="95509" y="30163"/>
                      <a:pt x="90520" y="30163"/>
                    </a:cubicBezTo>
                    <a:cubicBezTo>
                      <a:pt x="15681" y="30163"/>
                      <a:pt x="15681" y="30163"/>
                      <a:pt x="15681" y="30163"/>
                    </a:cubicBezTo>
                    <a:cubicBezTo>
                      <a:pt x="7128" y="30163"/>
                      <a:pt x="0" y="23148"/>
                      <a:pt x="0" y="15432"/>
                    </a:cubicBezTo>
                    <a:cubicBezTo>
                      <a:pt x="0" y="6313"/>
                      <a:pt x="7128" y="0"/>
                      <a:pt x="15681" y="0"/>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125" name="TextBox 124">
            <a:extLst>
              <a:ext uri="{FF2B5EF4-FFF2-40B4-BE49-F238E27FC236}">
                <a16:creationId xmlns:a16="http://schemas.microsoft.com/office/drawing/2014/main" id="{CEBFF1FD-9584-446D-844C-8CAA8E8AB231}"/>
              </a:ext>
            </a:extLst>
          </p:cNvPr>
          <p:cNvSpPr txBox="1"/>
          <p:nvPr/>
        </p:nvSpPr>
        <p:spPr>
          <a:xfrm>
            <a:off x="5442495" y="2766455"/>
            <a:ext cx="994292"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000000"/>
                </a:solidFill>
                <a:effectLst/>
                <a:uLnTx/>
                <a:uFillTx/>
              </a:rPr>
              <a:t>+300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000000"/>
                </a:solidFill>
                <a:effectLst/>
                <a:uLnTx/>
                <a:uFillTx/>
              </a:rPr>
              <a:t>рекомендаций</a:t>
            </a:r>
            <a:endParaRPr kumimoji="0" lang="en-US" sz="2000" b="1" i="0" u="none" strike="noStrike" kern="0" cap="none" spc="0" normalizeH="0" baseline="0" noProof="0" dirty="0">
              <a:ln>
                <a:noFill/>
              </a:ln>
              <a:solidFill>
                <a:srgbClr val="000000"/>
              </a:solidFill>
              <a:effectLst/>
              <a:uLnTx/>
              <a:uFillTx/>
            </a:endParaRPr>
          </a:p>
        </p:txBody>
      </p:sp>
      <p:cxnSp>
        <p:nvCxnSpPr>
          <p:cNvPr id="130" name="Straight Connector 129">
            <a:extLst>
              <a:ext uri="{FF2B5EF4-FFF2-40B4-BE49-F238E27FC236}">
                <a16:creationId xmlns:a16="http://schemas.microsoft.com/office/drawing/2014/main" id="{F45256BB-DFB3-490A-ACA8-FA642F0373CB}"/>
              </a:ext>
            </a:extLst>
          </p:cNvPr>
          <p:cNvCxnSpPr>
            <a:cxnSpLocks/>
          </p:cNvCxnSpPr>
          <p:nvPr/>
        </p:nvCxnSpPr>
        <p:spPr>
          <a:xfrm>
            <a:off x="4667704" y="1883218"/>
            <a:ext cx="0" cy="2205780"/>
          </a:xfrm>
          <a:prstGeom prst="line">
            <a:avLst/>
          </a:prstGeom>
          <a:noFill/>
          <a:ln w="28575" cap="rnd" cmpd="sng" algn="ctr">
            <a:solidFill>
              <a:srgbClr val="04A4EC"/>
            </a:solidFill>
            <a:prstDash val="solid"/>
            <a:round/>
          </a:ln>
          <a:effectLst/>
        </p:spPr>
      </p:cxnSp>
      <p:sp>
        <p:nvSpPr>
          <p:cNvPr id="131" name="TextBox 130">
            <a:extLst>
              <a:ext uri="{FF2B5EF4-FFF2-40B4-BE49-F238E27FC236}">
                <a16:creationId xmlns:a16="http://schemas.microsoft.com/office/drawing/2014/main" id="{D5563F17-6F68-4AF5-9DE6-0E3280734ED6}"/>
              </a:ext>
            </a:extLst>
          </p:cNvPr>
          <p:cNvSpPr txBox="1"/>
          <p:nvPr/>
        </p:nvSpPr>
        <p:spPr>
          <a:xfrm>
            <a:off x="336862" y="2155915"/>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Отчеты </a:t>
            </a:r>
            <a:r>
              <a:rPr kumimoji="0" lang="en-GB" sz="1600" b="0" i="0" u="none" strike="noStrike" kern="0" cap="none" spc="0" normalizeH="0" baseline="0" noProof="0" dirty="0">
                <a:ln>
                  <a:noFill/>
                </a:ln>
                <a:solidFill>
                  <a:srgbClr val="000000"/>
                </a:solidFill>
                <a:effectLst/>
                <a:uLnTx/>
                <a:uFillTx/>
              </a:rPr>
              <a:t>GPMB </a:t>
            </a:r>
            <a:r>
              <a:rPr kumimoji="0" lang="ru-RU" sz="1600" b="0" i="0" u="none" strike="noStrike" kern="0" cap="none" spc="0" normalizeH="0" baseline="0" noProof="0" dirty="0">
                <a:ln>
                  <a:noFill/>
                </a:ln>
                <a:solidFill>
                  <a:srgbClr val="000000"/>
                </a:solidFill>
                <a:effectLst/>
                <a:uLnTx/>
                <a:uFillTx/>
              </a:rPr>
              <a:t>и </a:t>
            </a:r>
            <a:r>
              <a:rPr kumimoji="0" lang="en-GB" sz="1600" b="0" i="0" u="none" strike="noStrike" kern="0" cap="none" spc="0" normalizeH="0" baseline="0" noProof="0" dirty="0">
                <a:ln>
                  <a:noFill/>
                </a:ln>
                <a:solidFill>
                  <a:srgbClr val="000000"/>
                </a:solidFill>
                <a:effectLst/>
                <a:uLnTx/>
                <a:uFillTx/>
              </a:rPr>
              <a:t>IOAC</a:t>
            </a:r>
            <a:endParaRPr kumimoji="0" lang="en-US" sz="1600" b="0" i="0" u="none" strike="noStrike" kern="0" cap="none" spc="0" normalizeH="0" baseline="0" noProof="0" dirty="0">
              <a:ln>
                <a:noFill/>
              </a:ln>
              <a:solidFill>
                <a:srgbClr val="000000"/>
              </a:solidFill>
              <a:effectLst/>
              <a:uLnTx/>
              <a:uFillTx/>
            </a:endParaRPr>
          </a:p>
        </p:txBody>
      </p:sp>
      <p:sp>
        <p:nvSpPr>
          <p:cNvPr id="132" name="TextBox 131">
            <a:extLst>
              <a:ext uri="{FF2B5EF4-FFF2-40B4-BE49-F238E27FC236}">
                <a16:creationId xmlns:a16="http://schemas.microsoft.com/office/drawing/2014/main" id="{5080223A-4A80-47DB-A4CC-FEED9453A7FE}"/>
              </a:ext>
            </a:extLst>
          </p:cNvPr>
          <p:cNvSpPr txBox="1"/>
          <p:nvPr/>
        </p:nvSpPr>
        <p:spPr>
          <a:xfrm>
            <a:off x="336862" y="3454442"/>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Доклад независимой группы высокого уровня</a:t>
            </a:r>
            <a:endParaRPr kumimoji="0" lang="en-US" sz="1600" b="0" i="0" u="none" strike="noStrike" kern="0" cap="none" spc="0" normalizeH="0" baseline="0" noProof="0" dirty="0">
              <a:ln>
                <a:noFill/>
              </a:ln>
              <a:solidFill>
                <a:srgbClr val="000000"/>
              </a:solidFill>
              <a:effectLst/>
              <a:uLnTx/>
              <a:uFillTx/>
            </a:endParaRPr>
          </a:p>
        </p:txBody>
      </p:sp>
      <p:sp>
        <p:nvSpPr>
          <p:cNvPr id="133" name="TextBox 132">
            <a:extLst>
              <a:ext uri="{FF2B5EF4-FFF2-40B4-BE49-F238E27FC236}">
                <a16:creationId xmlns:a16="http://schemas.microsoft.com/office/drawing/2014/main" id="{0A0CE744-6839-4E55-B5FE-73DFC0AE9DD7}"/>
              </a:ext>
            </a:extLst>
          </p:cNvPr>
          <p:cNvSpPr txBox="1"/>
          <p:nvPr/>
        </p:nvSpPr>
        <p:spPr>
          <a:xfrm>
            <a:off x="336862" y="3015882"/>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Панъевропейская комиссия по здоровью </a:t>
            </a:r>
            <a:endParaRPr kumimoji="0" lang="en-US" sz="1600" b="0" i="0" u="none" strike="noStrike" kern="0" cap="none" spc="0" normalizeH="0" baseline="0" noProof="0" dirty="0">
              <a:ln>
                <a:noFill/>
              </a:ln>
              <a:solidFill>
                <a:srgbClr val="000000"/>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и устойчивому развитию</a:t>
            </a:r>
            <a:endParaRPr kumimoji="0" lang="en-US" sz="1600" b="0" i="0" u="none" strike="noStrike" kern="0" cap="none" spc="0" normalizeH="0" baseline="0" noProof="0" dirty="0">
              <a:ln>
                <a:noFill/>
              </a:ln>
              <a:solidFill>
                <a:srgbClr val="000000"/>
              </a:solidFill>
              <a:effectLst/>
              <a:uLnTx/>
              <a:uFillTx/>
            </a:endParaRPr>
          </a:p>
        </p:txBody>
      </p:sp>
      <p:cxnSp>
        <p:nvCxnSpPr>
          <p:cNvPr id="134" name="Straight Connector 133">
            <a:extLst>
              <a:ext uri="{FF2B5EF4-FFF2-40B4-BE49-F238E27FC236}">
                <a16:creationId xmlns:a16="http://schemas.microsoft.com/office/drawing/2014/main" id="{55189258-CB03-4B22-B7E0-3402ED320D9A}"/>
              </a:ext>
            </a:extLst>
          </p:cNvPr>
          <p:cNvCxnSpPr>
            <a:cxnSpLocks/>
          </p:cNvCxnSpPr>
          <p:nvPr/>
        </p:nvCxnSpPr>
        <p:spPr>
          <a:xfrm>
            <a:off x="4091349" y="2327045"/>
            <a:ext cx="576355" cy="0"/>
          </a:xfrm>
          <a:prstGeom prst="line">
            <a:avLst/>
          </a:prstGeom>
          <a:noFill/>
          <a:ln w="28575" cap="rnd" cmpd="sng" algn="ctr">
            <a:solidFill>
              <a:srgbClr val="04A4EC"/>
            </a:solidFill>
            <a:prstDash val="solid"/>
            <a:headEnd type="oval"/>
          </a:ln>
          <a:effectLst/>
        </p:spPr>
      </p:cxnSp>
      <p:sp>
        <p:nvSpPr>
          <p:cNvPr id="135" name="TextBox 134">
            <a:extLst>
              <a:ext uri="{FF2B5EF4-FFF2-40B4-BE49-F238E27FC236}">
                <a16:creationId xmlns:a16="http://schemas.microsoft.com/office/drawing/2014/main" id="{13EC7F53-3845-4528-99C4-5490F0BCED5D}"/>
              </a:ext>
            </a:extLst>
          </p:cNvPr>
          <p:cNvSpPr txBox="1"/>
          <p:nvPr/>
        </p:nvSpPr>
        <p:spPr>
          <a:xfrm>
            <a:off x="336862" y="4330876"/>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Процессы </a:t>
            </a:r>
            <a:r>
              <a:rPr kumimoji="0" lang="en-GB" sz="1600" b="0" i="0" u="none" strike="noStrike" kern="0" cap="none" spc="0" normalizeH="0" baseline="0" noProof="0" dirty="0">
                <a:ln>
                  <a:noFill/>
                </a:ln>
                <a:solidFill>
                  <a:srgbClr val="000000"/>
                </a:solidFill>
                <a:effectLst/>
                <a:uLnTx/>
                <a:uFillTx/>
              </a:rPr>
              <a:t>INB </a:t>
            </a:r>
            <a:r>
              <a:rPr kumimoji="0" lang="ru-RU" sz="1600" b="0" i="0" u="none" strike="noStrike" kern="0" cap="none" spc="0" normalizeH="0" baseline="0" noProof="0" dirty="0">
                <a:ln>
                  <a:noFill/>
                </a:ln>
                <a:solidFill>
                  <a:srgbClr val="000000"/>
                </a:solidFill>
                <a:effectLst/>
                <a:uLnTx/>
                <a:uFillTx/>
              </a:rPr>
              <a:t>и </a:t>
            </a:r>
            <a:r>
              <a:rPr kumimoji="0" lang="en-GB" sz="1600" b="0" i="0" u="none" strike="noStrike" kern="0" cap="none" spc="0" normalizeH="0" baseline="0" noProof="0" dirty="0">
                <a:ln>
                  <a:noFill/>
                </a:ln>
                <a:solidFill>
                  <a:srgbClr val="000000"/>
                </a:solidFill>
                <a:effectLst/>
                <a:uLnTx/>
                <a:uFillTx/>
              </a:rPr>
              <a:t>WGPR</a:t>
            </a:r>
            <a:r>
              <a:rPr kumimoji="0" lang="en-GB" sz="1600" b="0" i="0" u="none" strike="noStrike" kern="0" cap="none" spc="0" normalizeH="0" baseline="30000" noProof="0" dirty="0">
                <a:ln>
                  <a:noFill/>
                </a:ln>
                <a:solidFill>
                  <a:srgbClr val="000000"/>
                </a:solidFill>
                <a:effectLst/>
                <a:uLnTx/>
                <a:uFillTx/>
              </a:rPr>
              <a:t>1</a:t>
            </a:r>
            <a:endParaRPr kumimoji="0" lang="en-US" sz="1600" b="0" i="0" u="none" strike="noStrike" kern="0" cap="none" spc="0" normalizeH="0" baseline="30000" noProof="0" dirty="0">
              <a:ln>
                <a:noFill/>
              </a:ln>
              <a:solidFill>
                <a:srgbClr val="000000"/>
              </a:solidFill>
              <a:effectLst/>
              <a:uLnTx/>
              <a:uFillTx/>
            </a:endParaRPr>
          </a:p>
        </p:txBody>
      </p:sp>
      <p:cxnSp>
        <p:nvCxnSpPr>
          <p:cNvPr id="136" name="Straight Connector 135">
            <a:extLst>
              <a:ext uri="{FF2B5EF4-FFF2-40B4-BE49-F238E27FC236}">
                <a16:creationId xmlns:a16="http://schemas.microsoft.com/office/drawing/2014/main" id="{5C66B816-4A19-46D6-8EE0-8E73F4A674A6}"/>
              </a:ext>
            </a:extLst>
          </p:cNvPr>
          <p:cNvCxnSpPr>
            <a:cxnSpLocks/>
          </p:cNvCxnSpPr>
          <p:nvPr/>
        </p:nvCxnSpPr>
        <p:spPr>
          <a:xfrm>
            <a:off x="4091349" y="3214701"/>
            <a:ext cx="576355" cy="0"/>
          </a:xfrm>
          <a:prstGeom prst="line">
            <a:avLst/>
          </a:prstGeom>
          <a:noFill/>
          <a:ln w="28575" cap="rnd" cmpd="sng" algn="ctr">
            <a:solidFill>
              <a:srgbClr val="04A4EC"/>
            </a:solidFill>
            <a:prstDash val="solid"/>
            <a:headEnd type="oval"/>
          </a:ln>
          <a:effectLst/>
        </p:spPr>
      </p:cxnSp>
      <p:cxnSp>
        <p:nvCxnSpPr>
          <p:cNvPr id="137" name="Straight Connector 136">
            <a:extLst>
              <a:ext uri="{FF2B5EF4-FFF2-40B4-BE49-F238E27FC236}">
                <a16:creationId xmlns:a16="http://schemas.microsoft.com/office/drawing/2014/main" id="{E809387B-10CA-465B-8E97-1AB97A4C5182}"/>
              </a:ext>
            </a:extLst>
          </p:cNvPr>
          <p:cNvCxnSpPr>
            <a:cxnSpLocks/>
          </p:cNvCxnSpPr>
          <p:nvPr/>
        </p:nvCxnSpPr>
        <p:spPr>
          <a:xfrm>
            <a:off x="4091349" y="3658528"/>
            <a:ext cx="576355" cy="0"/>
          </a:xfrm>
          <a:prstGeom prst="line">
            <a:avLst/>
          </a:prstGeom>
          <a:noFill/>
          <a:ln w="28575" cap="rnd" cmpd="sng" algn="ctr">
            <a:solidFill>
              <a:srgbClr val="04A4EC"/>
            </a:solidFill>
            <a:prstDash val="solid"/>
            <a:headEnd type="oval"/>
          </a:ln>
          <a:effectLst/>
        </p:spPr>
      </p:cxnSp>
      <p:cxnSp>
        <p:nvCxnSpPr>
          <p:cNvPr id="138" name="Straight Connector 137">
            <a:extLst>
              <a:ext uri="{FF2B5EF4-FFF2-40B4-BE49-F238E27FC236}">
                <a16:creationId xmlns:a16="http://schemas.microsoft.com/office/drawing/2014/main" id="{8F8DE814-30DA-42FB-BE26-F09B974555C3}"/>
              </a:ext>
            </a:extLst>
          </p:cNvPr>
          <p:cNvCxnSpPr>
            <a:cxnSpLocks/>
          </p:cNvCxnSpPr>
          <p:nvPr/>
        </p:nvCxnSpPr>
        <p:spPr>
          <a:xfrm>
            <a:off x="4091349" y="4498769"/>
            <a:ext cx="576355" cy="0"/>
          </a:xfrm>
          <a:prstGeom prst="line">
            <a:avLst/>
          </a:prstGeom>
          <a:noFill/>
          <a:ln w="28575" cap="rnd" cmpd="sng" algn="ctr">
            <a:solidFill>
              <a:srgbClr val="002060"/>
            </a:solidFill>
            <a:prstDash val="solid"/>
            <a:headEnd type="oval"/>
          </a:ln>
          <a:effectLst/>
        </p:spPr>
      </p:cxnSp>
      <p:cxnSp>
        <p:nvCxnSpPr>
          <p:cNvPr id="139" name="Straight Connector 138">
            <a:extLst>
              <a:ext uri="{FF2B5EF4-FFF2-40B4-BE49-F238E27FC236}">
                <a16:creationId xmlns:a16="http://schemas.microsoft.com/office/drawing/2014/main" id="{9FCEB6E7-B9B2-47C7-AA20-F65D43D96315}"/>
              </a:ext>
            </a:extLst>
          </p:cNvPr>
          <p:cNvCxnSpPr>
            <a:cxnSpLocks/>
          </p:cNvCxnSpPr>
          <p:nvPr/>
        </p:nvCxnSpPr>
        <p:spPr>
          <a:xfrm>
            <a:off x="4091349" y="2770872"/>
            <a:ext cx="576355" cy="0"/>
          </a:xfrm>
          <a:prstGeom prst="line">
            <a:avLst/>
          </a:prstGeom>
          <a:noFill/>
          <a:ln w="28575" cap="rnd" cmpd="sng" algn="ctr">
            <a:solidFill>
              <a:srgbClr val="04A4EC"/>
            </a:solidFill>
            <a:prstDash val="solid"/>
            <a:headEnd type="oval"/>
          </a:ln>
          <a:effectLst/>
        </p:spPr>
      </p:cxnSp>
      <p:sp>
        <p:nvSpPr>
          <p:cNvPr id="140" name="TextBox 139">
            <a:extLst>
              <a:ext uri="{FF2B5EF4-FFF2-40B4-BE49-F238E27FC236}">
                <a16:creationId xmlns:a16="http://schemas.microsoft.com/office/drawing/2014/main" id="{FD687BF8-1890-4CE8-BE75-18DD2FAEFBC8}"/>
              </a:ext>
            </a:extLst>
          </p:cNvPr>
          <p:cNvSpPr txBox="1"/>
          <p:nvPr/>
        </p:nvSpPr>
        <p:spPr>
          <a:xfrm>
            <a:off x="568158" y="1717353"/>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Независимая группа по обеспечению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готовности к пандемии и реагированию на нее</a:t>
            </a:r>
            <a:endParaRPr kumimoji="0" lang="en-US" sz="1600" b="0" i="0" u="none" strike="noStrike" kern="0" cap="none" spc="0" normalizeH="0" baseline="0" noProof="0" dirty="0">
              <a:ln>
                <a:noFill/>
              </a:ln>
              <a:solidFill>
                <a:srgbClr val="000000"/>
              </a:solidFill>
              <a:effectLst/>
              <a:uLnTx/>
              <a:uFillTx/>
            </a:endParaRPr>
          </a:p>
        </p:txBody>
      </p:sp>
      <p:cxnSp>
        <p:nvCxnSpPr>
          <p:cNvPr id="141" name="Straight Connector 140">
            <a:extLst>
              <a:ext uri="{FF2B5EF4-FFF2-40B4-BE49-F238E27FC236}">
                <a16:creationId xmlns:a16="http://schemas.microsoft.com/office/drawing/2014/main" id="{AF96CC0D-FD2F-415E-B054-406E38C74DA2}"/>
              </a:ext>
            </a:extLst>
          </p:cNvPr>
          <p:cNvCxnSpPr>
            <a:cxnSpLocks/>
          </p:cNvCxnSpPr>
          <p:nvPr/>
        </p:nvCxnSpPr>
        <p:spPr>
          <a:xfrm>
            <a:off x="4091349" y="1883218"/>
            <a:ext cx="576355" cy="0"/>
          </a:xfrm>
          <a:prstGeom prst="line">
            <a:avLst/>
          </a:prstGeom>
          <a:noFill/>
          <a:ln w="28575" cap="rnd" cmpd="sng" algn="ctr">
            <a:solidFill>
              <a:srgbClr val="04A4EC"/>
            </a:solidFill>
            <a:prstDash val="solid"/>
            <a:headEnd type="oval"/>
          </a:ln>
          <a:effectLst/>
        </p:spPr>
      </p:cxnSp>
      <p:cxnSp>
        <p:nvCxnSpPr>
          <p:cNvPr id="142" name="Straight Connector 141">
            <a:extLst>
              <a:ext uri="{FF2B5EF4-FFF2-40B4-BE49-F238E27FC236}">
                <a16:creationId xmlns:a16="http://schemas.microsoft.com/office/drawing/2014/main" id="{48DC5659-D2A4-4B0A-86FA-E83419E10644}"/>
              </a:ext>
            </a:extLst>
          </p:cNvPr>
          <p:cNvCxnSpPr>
            <a:cxnSpLocks/>
          </p:cNvCxnSpPr>
          <p:nvPr/>
        </p:nvCxnSpPr>
        <p:spPr>
          <a:xfrm>
            <a:off x="4091349" y="4950650"/>
            <a:ext cx="576355" cy="0"/>
          </a:xfrm>
          <a:prstGeom prst="line">
            <a:avLst/>
          </a:prstGeom>
          <a:noFill/>
          <a:ln w="28575" cap="rnd" cmpd="sng" algn="ctr">
            <a:solidFill>
              <a:srgbClr val="002060"/>
            </a:solidFill>
            <a:prstDash val="solid"/>
            <a:headEnd type="oval"/>
          </a:ln>
          <a:effectLst/>
        </p:spPr>
      </p:cxnSp>
      <p:cxnSp>
        <p:nvCxnSpPr>
          <p:cNvPr id="143" name="Straight Connector 142">
            <a:extLst>
              <a:ext uri="{FF2B5EF4-FFF2-40B4-BE49-F238E27FC236}">
                <a16:creationId xmlns:a16="http://schemas.microsoft.com/office/drawing/2014/main" id="{45527875-016F-48DB-8A2D-00135FD6ECBC}"/>
              </a:ext>
            </a:extLst>
          </p:cNvPr>
          <p:cNvCxnSpPr>
            <a:cxnSpLocks/>
          </p:cNvCxnSpPr>
          <p:nvPr/>
        </p:nvCxnSpPr>
        <p:spPr>
          <a:xfrm>
            <a:off x="4091349" y="5394480"/>
            <a:ext cx="576355" cy="0"/>
          </a:xfrm>
          <a:prstGeom prst="line">
            <a:avLst/>
          </a:prstGeom>
          <a:noFill/>
          <a:ln w="28575" cap="rnd" cmpd="sng" algn="ctr">
            <a:solidFill>
              <a:srgbClr val="002060"/>
            </a:solidFill>
            <a:prstDash val="solid"/>
            <a:headEnd type="oval"/>
          </a:ln>
          <a:effectLst/>
        </p:spPr>
      </p:cxnSp>
      <p:sp>
        <p:nvSpPr>
          <p:cNvPr id="144" name="TextBox 143">
            <a:extLst>
              <a:ext uri="{FF2B5EF4-FFF2-40B4-BE49-F238E27FC236}">
                <a16:creationId xmlns:a16="http://schemas.microsoft.com/office/drawing/2014/main" id="{983F7CC5-BF86-406D-AFA3-D637013B2A88}"/>
              </a:ext>
            </a:extLst>
          </p:cNvPr>
          <p:cNvSpPr txBox="1"/>
          <p:nvPr/>
        </p:nvSpPr>
        <p:spPr>
          <a:xfrm>
            <a:off x="336862" y="5228618"/>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Другие процессы</a:t>
            </a:r>
            <a:endParaRPr kumimoji="0" lang="en-US" sz="1600" b="0" i="0" u="none" strike="noStrike" kern="0" cap="none" spc="0" normalizeH="0" baseline="0" noProof="0" dirty="0">
              <a:ln>
                <a:noFill/>
              </a:ln>
              <a:solidFill>
                <a:srgbClr val="000000"/>
              </a:solidFill>
              <a:effectLst/>
              <a:uLnTx/>
              <a:uFillTx/>
            </a:endParaRPr>
          </a:p>
        </p:txBody>
      </p:sp>
      <p:cxnSp>
        <p:nvCxnSpPr>
          <p:cNvPr id="145" name="Straight Connector 144">
            <a:extLst>
              <a:ext uri="{FF2B5EF4-FFF2-40B4-BE49-F238E27FC236}">
                <a16:creationId xmlns:a16="http://schemas.microsoft.com/office/drawing/2014/main" id="{C6FBF40C-D6F7-4322-8C11-F28B680063B1}"/>
              </a:ext>
            </a:extLst>
          </p:cNvPr>
          <p:cNvCxnSpPr>
            <a:cxnSpLocks/>
          </p:cNvCxnSpPr>
          <p:nvPr/>
        </p:nvCxnSpPr>
        <p:spPr>
          <a:xfrm>
            <a:off x="4091349" y="4088998"/>
            <a:ext cx="576355" cy="0"/>
          </a:xfrm>
          <a:prstGeom prst="line">
            <a:avLst/>
          </a:prstGeom>
          <a:noFill/>
          <a:ln w="28575" cap="rnd" cmpd="sng" algn="ctr">
            <a:solidFill>
              <a:srgbClr val="04A4EC"/>
            </a:solidFill>
            <a:prstDash val="solid"/>
            <a:headEnd type="oval"/>
          </a:ln>
          <a:effectLst/>
        </p:spPr>
      </p:cxnSp>
      <p:sp>
        <p:nvSpPr>
          <p:cNvPr id="146" name="TextBox 145">
            <a:extLst>
              <a:ext uri="{FF2B5EF4-FFF2-40B4-BE49-F238E27FC236}">
                <a16:creationId xmlns:a16="http://schemas.microsoft.com/office/drawing/2014/main" id="{F6A9429E-ABE5-4E9B-80A1-26ACE1FB3239}"/>
              </a:ext>
            </a:extLst>
          </p:cNvPr>
          <p:cNvSpPr txBox="1"/>
          <p:nvPr/>
        </p:nvSpPr>
        <p:spPr>
          <a:xfrm>
            <a:off x="336862" y="3893001"/>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Другие отчеты</a:t>
            </a:r>
            <a:endParaRPr kumimoji="0" lang="en-US" sz="1600" b="0" i="0" u="none" strike="noStrike" kern="0" cap="none" spc="0" normalizeH="0" baseline="0" noProof="0" dirty="0">
              <a:ln>
                <a:noFill/>
              </a:ln>
              <a:solidFill>
                <a:srgbClr val="000000"/>
              </a:solidFill>
              <a:effectLst/>
              <a:uLnTx/>
              <a:uFillTx/>
            </a:endParaRPr>
          </a:p>
        </p:txBody>
      </p:sp>
      <p:cxnSp>
        <p:nvCxnSpPr>
          <p:cNvPr id="147" name="Straight Connector 146">
            <a:extLst>
              <a:ext uri="{FF2B5EF4-FFF2-40B4-BE49-F238E27FC236}">
                <a16:creationId xmlns:a16="http://schemas.microsoft.com/office/drawing/2014/main" id="{4DED97AF-8670-4AFE-A3A2-D877F005E5FD}"/>
              </a:ext>
            </a:extLst>
          </p:cNvPr>
          <p:cNvCxnSpPr>
            <a:cxnSpLocks/>
          </p:cNvCxnSpPr>
          <p:nvPr/>
        </p:nvCxnSpPr>
        <p:spPr>
          <a:xfrm>
            <a:off x="4667704" y="4498769"/>
            <a:ext cx="0" cy="887655"/>
          </a:xfrm>
          <a:prstGeom prst="line">
            <a:avLst/>
          </a:prstGeom>
          <a:noFill/>
          <a:ln w="28575" cap="rnd" cmpd="sng" algn="ctr">
            <a:solidFill>
              <a:srgbClr val="002060"/>
            </a:solidFill>
            <a:prstDash val="solid"/>
            <a:round/>
          </a:ln>
          <a:effectLst/>
        </p:spPr>
      </p:cxnSp>
      <p:sp>
        <p:nvSpPr>
          <p:cNvPr id="148" name="TextBox 147">
            <a:extLst>
              <a:ext uri="{FF2B5EF4-FFF2-40B4-BE49-F238E27FC236}">
                <a16:creationId xmlns:a16="http://schemas.microsoft.com/office/drawing/2014/main" id="{EC9D5F1D-3660-4544-B635-38E0B10E514C}"/>
              </a:ext>
            </a:extLst>
          </p:cNvPr>
          <p:cNvSpPr txBox="1"/>
          <p:nvPr/>
        </p:nvSpPr>
        <p:spPr>
          <a:xfrm>
            <a:off x="336862" y="2600593"/>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Комитет по обзору ММСП</a:t>
            </a:r>
            <a:endParaRPr kumimoji="0" lang="en-US" sz="1600" b="0" i="0" u="none" strike="noStrike" kern="0" cap="none" spc="0" normalizeH="0" baseline="0" noProof="0" dirty="0">
              <a:ln>
                <a:noFill/>
              </a:ln>
              <a:solidFill>
                <a:srgbClr val="000000"/>
              </a:solidFill>
              <a:effectLst/>
              <a:uLnTx/>
              <a:uFillTx/>
            </a:endParaRPr>
          </a:p>
        </p:txBody>
      </p:sp>
      <p:sp>
        <p:nvSpPr>
          <p:cNvPr id="149" name="TextBox 148">
            <a:extLst>
              <a:ext uri="{FF2B5EF4-FFF2-40B4-BE49-F238E27FC236}">
                <a16:creationId xmlns:a16="http://schemas.microsoft.com/office/drawing/2014/main" id="{B7CEBEEE-667E-42DE-B6B6-7D6F30AD3F8D}"/>
              </a:ext>
            </a:extLst>
          </p:cNvPr>
          <p:cNvSpPr txBox="1"/>
          <p:nvPr/>
        </p:nvSpPr>
        <p:spPr>
          <a:xfrm>
            <a:off x="336862" y="4792259"/>
            <a:ext cx="3634035" cy="33172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rPr>
              <a:t>Процессы </a:t>
            </a:r>
            <a:r>
              <a:rPr kumimoji="0" lang="en-GB" sz="1600" b="0" i="0" u="none" strike="noStrike" kern="0" cap="none" spc="0" normalizeH="0" baseline="0" noProof="0" dirty="0">
                <a:ln>
                  <a:noFill/>
                </a:ln>
                <a:solidFill>
                  <a:srgbClr val="000000"/>
                </a:solidFill>
                <a:effectLst/>
                <a:uLnTx/>
                <a:uFillTx/>
              </a:rPr>
              <a:t>G20 </a:t>
            </a:r>
            <a:r>
              <a:rPr kumimoji="0" lang="ru-RU" sz="1600" b="0" i="0" u="none" strike="noStrike" kern="0" cap="none" spc="0" normalizeH="0" baseline="0" noProof="0" dirty="0">
                <a:ln>
                  <a:noFill/>
                </a:ln>
                <a:solidFill>
                  <a:srgbClr val="000000"/>
                </a:solidFill>
                <a:effectLst/>
                <a:uLnTx/>
                <a:uFillTx/>
              </a:rPr>
              <a:t>и</a:t>
            </a:r>
            <a:r>
              <a:rPr kumimoji="0" lang="en-GB" sz="1600" b="0" i="0" u="none" strike="noStrike" kern="0" cap="none" spc="0" normalizeH="0" baseline="0" noProof="0" dirty="0">
                <a:ln>
                  <a:noFill/>
                </a:ln>
                <a:solidFill>
                  <a:srgbClr val="000000"/>
                </a:solidFill>
                <a:effectLst/>
                <a:uLnTx/>
                <a:uFillTx/>
              </a:rPr>
              <a:t> G7</a:t>
            </a:r>
            <a:endParaRPr kumimoji="0" lang="en-US" sz="16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6125485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20A75799-1D3D-415F-9B05-24D526DFCB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4" name="Object 2" hidden="1">
                        <a:extLst>
                          <a:ext uri="{FF2B5EF4-FFF2-40B4-BE49-F238E27FC236}">
                            <a16:creationId xmlns:a16="http://schemas.microsoft.com/office/drawing/2014/main" id="{20A75799-1D3D-415F-9B05-24D526DFCB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89D56E6A-A83D-4BA1-8A36-95D778238F3A}"/>
              </a:ext>
            </a:extLst>
          </p:cNvPr>
          <p:cNvSpPr>
            <a:spLocks noGrp="1"/>
          </p:cNvSpPr>
          <p:nvPr>
            <p:ph type="title"/>
            <p:custDataLst>
              <p:tags r:id="rId2"/>
            </p:custDataLst>
          </p:nvPr>
        </p:nvSpPr>
        <p:spPr>
          <a:xfrm>
            <a:off x="554736" y="172212"/>
            <a:ext cx="6967728" cy="1384995"/>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ru-RU" sz="2500" dirty="0"/>
              <a:t>Тщательный анализ: готовность к чрезвычайным ситуациям в области здравоохранения, реагирование и устойчивость требуют межотраслевой координации….</a:t>
            </a:r>
            <a:endParaRPr lang="en-US" sz="2500" dirty="0"/>
          </a:p>
        </p:txBody>
      </p:sp>
      <p:sp>
        <p:nvSpPr>
          <p:cNvPr id="5" name="Oval 4">
            <a:extLst>
              <a:ext uri="{FF2B5EF4-FFF2-40B4-BE49-F238E27FC236}">
                <a16:creationId xmlns:a16="http://schemas.microsoft.com/office/drawing/2014/main" id="{6ECDFC33-DD76-4162-8248-BA37E1617DDC}"/>
              </a:ext>
            </a:extLst>
          </p:cNvPr>
          <p:cNvSpPr/>
          <p:nvPr/>
        </p:nvSpPr>
        <p:spPr>
          <a:xfrm>
            <a:off x="3498304" y="1708280"/>
            <a:ext cx="3213631" cy="3213631"/>
          </a:xfrm>
          <a:prstGeom prst="ellipse">
            <a:avLst/>
          </a:prstGeom>
          <a:solidFill>
            <a:srgbClr val="97BAFF">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a:ea typeface="+mn-ea"/>
              <a:cs typeface="+mn-cs"/>
            </a:endParaRPr>
          </a:p>
        </p:txBody>
      </p:sp>
      <p:sp>
        <p:nvSpPr>
          <p:cNvPr id="7" name="TextBox 6">
            <a:extLst>
              <a:ext uri="{FF2B5EF4-FFF2-40B4-BE49-F238E27FC236}">
                <a16:creationId xmlns:a16="http://schemas.microsoft.com/office/drawing/2014/main" id="{5AA09342-459B-414D-953C-27EF6487F62E}"/>
              </a:ext>
            </a:extLst>
          </p:cNvPr>
          <p:cNvSpPr txBox="1"/>
          <p:nvPr/>
        </p:nvSpPr>
        <p:spPr>
          <a:xfrm>
            <a:off x="4229663" y="2365480"/>
            <a:ext cx="2116608"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ru-RU" sz="1800" b="0" i="0" u="none" strike="noStrike" kern="1200" cap="none" spc="0" normalizeH="0" baseline="0" noProof="0" dirty="0">
                <a:ln>
                  <a:noFill/>
                </a:ln>
                <a:solidFill>
                  <a:srgbClr val="000000"/>
                </a:solidFill>
                <a:effectLst/>
                <a:uLnTx/>
                <a:uFillTx/>
                <a:latin typeface="Calibri"/>
                <a:ea typeface="+mn-ea"/>
                <a:cs typeface="+mn-cs"/>
              </a:rPr>
              <a:t>Экономика и финансы</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C10D074A-2A47-4E32-B8F0-7CB72C314D3B}"/>
              </a:ext>
            </a:extLst>
          </p:cNvPr>
          <p:cNvGrpSpPr/>
          <p:nvPr/>
        </p:nvGrpSpPr>
        <p:grpSpPr>
          <a:xfrm>
            <a:off x="554736" y="3473808"/>
            <a:ext cx="2301775" cy="2228934"/>
            <a:chOff x="856290" y="3895977"/>
            <a:chExt cx="2301775" cy="2228934"/>
          </a:xfrm>
        </p:grpSpPr>
        <p:sp>
          <p:nvSpPr>
            <p:cNvPr id="9" name="Oval 8">
              <a:extLst>
                <a:ext uri="{FF2B5EF4-FFF2-40B4-BE49-F238E27FC236}">
                  <a16:creationId xmlns:a16="http://schemas.microsoft.com/office/drawing/2014/main" id="{2659A9D3-342F-41C5-BE8C-A70EB3823776}"/>
                </a:ext>
              </a:extLst>
            </p:cNvPr>
            <p:cNvSpPr/>
            <p:nvPr/>
          </p:nvSpPr>
          <p:spPr>
            <a:xfrm>
              <a:off x="856290" y="3895977"/>
              <a:ext cx="2301775" cy="2228934"/>
            </a:xfrm>
            <a:prstGeom prst="ellipse">
              <a:avLst/>
            </a:prstGeom>
            <a:solidFill>
              <a:srgbClr val="3075FF">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BA88E76-DBCA-4A2D-97A1-C47894C82A89}"/>
                </a:ext>
              </a:extLst>
            </p:cNvPr>
            <p:cNvSpPr txBox="1"/>
            <p:nvPr/>
          </p:nvSpPr>
          <p:spPr>
            <a:xfrm>
              <a:off x="1087526" y="4691835"/>
              <a:ext cx="1914758" cy="646331"/>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FFFFFF"/>
                  </a:solidFill>
                  <a:effectLst/>
                  <a:uLnTx/>
                  <a:uFillTx/>
                  <a:latin typeface="Calibri"/>
                  <a:ea typeface="+mn-ea"/>
                  <a:cs typeface="+mn-cs"/>
                </a:rPr>
                <a:t>Окружающая среда</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27" name="Group 26">
            <a:extLst>
              <a:ext uri="{FF2B5EF4-FFF2-40B4-BE49-F238E27FC236}">
                <a16:creationId xmlns:a16="http://schemas.microsoft.com/office/drawing/2014/main" id="{88920DB3-3008-4473-B5EA-E17D07A540B6}"/>
              </a:ext>
            </a:extLst>
          </p:cNvPr>
          <p:cNvGrpSpPr/>
          <p:nvPr/>
        </p:nvGrpSpPr>
        <p:grpSpPr>
          <a:xfrm>
            <a:off x="4744407" y="3329305"/>
            <a:ext cx="2436530" cy="2486889"/>
            <a:chOff x="4834458" y="4107671"/>
            <a:chExt cx="1865896" cy="1961640"/>
          </a:xfrm>
        </p:grpSpPr>
        <p:sp>
          <p:nvSpPr>
            <p:cNvPr id="6" name="Oval 5">
              <a:extLst>
                <a:ext uri="{FF2B5EF4-FFF2-40B4-BE49-F238E27FC236}">
                  <a16:creationId xmlns:a16="http://schemas.microsoft.com/office/drawing/2014/main" id="{A18D1C3C-0A1C-4EF8-AC6A-1483B773FDBB}"/>
                </a:ext>
              </a:extLst>
            </p:cNvPr>
            <p:cNvSpPr/>
            <p:nvPr/>
          </p:nvSpPr>
          <p:spPr>
            <a:xfrm>
              <a:off x="4834458" y="4107671"/>
              <a:ext cx="1865896" cy="1961640"/>
            </a:xfrm>
            <a:prstGeom prst="ellipse">
              <a:avLst/>
            </a:prstGeom>
            <a:solidFill>
              <a:srgbClr val="002060">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08D841DE-CB59-4A3F-A7A9-8D34C9E3CA3B}"/>
                </a:ext>
              </a:extLst>
            </p:cNvPr>
            <p:cNvSpPr txBox="1"/>
            <p:nvPr/>
          </p:nvSpPr>
          <p:spPr>
            <a:xfrm>
              <a:off x="5038072" y="4870922"/>
              <a:ext cx="1430885" cy="7283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FFFFFF"/>
                  </a:solidFill>
                  <a:effectLst/>
                  <a:uLnTx/>
                  <a:uFillTx/>
                  <a:latin typeface="Calibri"/>
                  <a:ea typeface="+mn-ea"/>
                  <a:cs typeface="+mn-cs"/>
                </a:rPr>
                <a:t>Социальное обеспечение и защита</a:t>
              </a:r>
              <a:r>
                <a:rPr kumimoji="0" lang="en-US" sz="1800" b="0" i="0" u="none" strike="noStrike" kern="1200" cap="none" spc="0" normalizeH="0" baseline="0" noProof="0" dirty="0">
                  <a:ln>
                    <a:noFill/>
                  </a:ln>
                  <a:solidFill>
                    <a:srgbClr val="FFFFFF"/>
                  </a:solidFill>
                  <a:effectLst/>
                  <a:uLnTx/>
                  <a:uFillTx/>
                  <a:latin typeface="Calibri"/>
                  <a:ea typeface="+mn-ea"/>
                  <a:cs typeface="+mn-cs"/>
                </a:rPr>
                <a:t> </a:t>
              </a:r>
            </a:p>
          </p:txBody>
        </p:sp>
      </p:grpSp>
      <p:sp>
        <p:nvSpPr>
          <p:cNvPr id="12" name="Oval 11">
            <a:extLst>
              <a:ext uri="{FF2B5EF4-FFF2-40B4-BE49-F238E27FC236}">
                <a16:creationId xmlns:a16="http://schemas.microsoft.com/office/drawing/2014/main" id="{067A475D-9C15-49E3-855C-BB96EC1E64EA}"/>
              </a:ext>
            </a:extLst>
          </p:cNvPr>
          <p:cNvSpPr/>
          <p:nvPr/>
        </p:nvSpPr>
        <p:spPr>
          <a:xfrm>
            <a:off x="1562225" y="1773675"/>
            <a:ext cx="2301775" cy="2228934"/>
          </a:xfrm>
          <a:prstGeom prst="ellipse">
            <a:avLst/>
          </a:prstGeom>
          <a:solidFill>
            <a:srgbClr val="D6E3FF">
              <a:alpha val="69804"/>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3216F962-E9A4-43B4-953D-29A091988228}"/>
              </a:ext>
            </a:extLst>
          </p:cNvPr>
          <p:cNvSpPr txBox="1"/>
          <p:nvPr/>
        </p:nvSpPr>
        <p:spPr>
          <a:xfrm>
            <a:off x="1691854" y="1891399"/>
            <a:ext cx="1914757" cy="12003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ru-RU" sz="1800" b="0" i="0" u="none" strike="noStrike" kern="1200" cap="none" spc="0" normalizeH="0" baseline="0" noProof="0" dirty="0">
                <a:ln>
                  <a:noFill/>
                </a:ln>
                <a:solidFill>
                  <a:srgbClr val="000000"/>
                </a:solidFill>
                <a:effectLst/>
                <a:uLnTx/>
                <a:uFillTx/>
                <a:latin typeface="Calibri"/>
                <a:ea typeface="+mn-ea"/>
                <a:cs typeface="+mn-cs"/>
              </a:rPr>
              <a:t>Здоровье животных и сельское хозяйство</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971240B7-A0BB-4B2E-83F2-52A1F5FD560B}"/>
              </a:ext>
            </a:extLst>
          </p:cNvPr>
          <p:cNvSpPr txBox="1"/>
          <p:nvPr/>
        </p:nvSpPr>
        <p:spPr>
          <a:xfrm>
            <a:off x="7958038" y="162721"/>
            <a:ext cx="4121186" cy="625555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800"/>
              </a:spcBef>
              <a:spcAft>
                <a:spcPts val="300"/>
              </a:spcAft>
              <a:buClr>
                <a:srgbClr val="000000"/>
              </a:buClr>
              <a:buSzPct val="100000"/>
              <a:buFont typeface="Segoe UI" panose="020B0502040204020203" pitchFamily="34" charset="0"/>
              <a:buChar char="​"/>
              <a:tabLst/>
              <a:defRPr/>
            </a:pPr>
            <a:r>
              <a:rPr kumimoji="0" lang="ru-RU" sz="2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Подход «Единое здоровье», в котором задействовано все правительство и все общество в социальных и экономических системах, является ключом к обеспечению</a:t>
            </a:r>
            <a:r>
              <a:rPr kumimoji="0" lang="en-US" sz="2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t>
            </a:r>
          </a:p>
          <a:p>
            <a:pPr marL="228600" marR="0" lvl="1" indent="-228600" algn="l" defTabSz="914400" rtl="0" eaLnBrk="1" fontAlgn="auto" latinLnBrk="0" hangingPunct="1">
              <a:lnSpc>
                <a:spcPct val="100000"/>
              </a:lnSpc>
              <a:spcBef>
                <a:spcPts val="1800"/>
              </a:spcBef>
              <a:spcAft>
                <a:spcPts val="300"/>
              </a:spcAft>
              <a:buClr>
                <a:srgbClr val="000000"/>
              </a:buClr>
              <a:buSzPct val="110000"/>
              <a:buFont typeface="Wingdings" panose="05000000000000000000" pitchFamily="2" charset="2"/>
              <a:buChar char=""/>
              <a:tabLst/>
              <a:defRPr/>
            </a:pPr>
            <a:r>
              <a:rPr kumimoji="0" lang="ru-RU" sz="1800" b="0" i="0" u="none" strike="noStrike" kern="1200" cap="none" spc="0" normalizeH="0" baseline="0" noProof="0" dirty="0">
                <a:ln>
                  <a:noFill/>
                </a:ln>
                <a:solidFill>
                  <a:srgbClr val="000000"/>
                </a:solidFill>
                <a:effectLst/>
                <a:uLnTx/>
                <a:uFillTx/>
                <a:latin typeface="Calibri"/>
                <a:ea typeface="+mn-ea"/>
                <a:cs typeface="+mn-cs"/>
              </a:rPr>
              <a:t>Возможности обеспечения готовности к чрезвычайным ситуациям и реагирования должны быть интегрированы в надежные системы</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228600" marR="0" lvl="1" indent="-228600" algn="l" defTabSz="914400" rtl="0" eaLnBrk="1" fontAlgn="auto" latinLnBrk="0" hangingPunct="1">
              <a:lnSpc>
                <a:spcPct val="100000"/>
              </a:lnSpc>
              <a:spcBef>
                <a:spcPts val="1800"/>
              </a:spcBef>
              <a:spcAft>
                <a:spcPts val="300"/>
              </a:spcAft>
              <a:buClr>
                <a:srgbClr val="000000"/>
              </a:buClr>
              <a:buSzPct val="110000"/>
              <a:buFont typeface="Wingdings" panose="05000000000000000000" pitchFamily="2" charset="2"/>
              <a:buChar char=""/>
              <a:tabLst/>
              <a:defRPr/>
            </a:pPr>
            <a:r>
              <a:rPr kumimoji="0" lang="ru-RU" sz="1800" b="0" i="0" u="none" strike="noStrike" kern="1200" cap="none" spc="0" normalizeH="0" baseline="0" noProof="0" dirty="0">
                <a:ln>
                  <a:noFill/>
                </a:ln>
                <a:solidFill>
                  <a:srgbClr val="000000"/>
                </a:solidFill>
                <a:effectLst/>
                <a:uLnTx/>
                <a:uFillTx/>
                <a:latin typeface="Calibri"/>
                <a:ea typeface="+mn-ea"/>
                <a:cs typeface="+mn-cs"/>
              </a:rPr>
              <a:t>Межотраслевая готовность и подготовка к быстрому реагированию на чрезвычайные ситуации</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228600" marR="0" lvl="1" indent="-228600" algn="l" defTabSz="914400" rtl="0" eaLnBrk="1" fontAlgn="auto" latinLnBrk="0" hangingPunct="1">
              <a:lnSpc>
                <a:spcPct val="100000"/>
              </a:lnSpc>
              <a:spcBef>
                <a:spcPts val="1800"/>
              </a:spcBef>
              <a:spcAft>
                <a:spcPts val="300"/>
              </a:spcAft>
              <a:buClr>
                <a:srgbClr val="000000"/>
              </a:buClr>
              <a:buSzPct val="110000"/>
              <a:buFont typeface="Wingdings" panose="05000000000000000000" pitchFamily="2" charset="2"/>
              <a:buChar char=""/>
              <a:tabLst/>
              <a:defRPr/>
            </a:pPr>
            <a:r>
              <a:rPr kumimoji="0" lang="ru-RU" sz="1800" b="0" i="0" u="none" strike="noStrike" kern="1200" cap="none" spc="0" normalizeH="0" baseline="0" noProof="0" dirty="0">
                <a:ln>
                  <a:noFill/>
                </a:ln>
                <a:solidFill>
                  <a:srgbClr val="000000"/>
                </a:solidFill>
                <a:effectLst/>
                <a:uLnTx/>
                <a:uFillTx/>
                <a:latin typeface="Calibri"/>
                <a:ea typeface="+mn-ea"/>
                <a:cs typeface="+mn-cs"/>
              </a:rPr>
              <a:t>Должен основываться на существующих механизмах, таких как Международные медико-санитарные правила (2005 г.) и </a:t>
            </a:r>
            <a:r>
              <a:rPr kumimoji="0" lang="ru-RU" sz="1800" b="0" i="0" u="none" strike="noStrike" kern="1200" cap="none" spc="0" normalizeH="0" baseline="0" noProof="0" dirty="0" err="1">
                <a:ln>
                  <a:noFill/>
                </a:ln>
                <a:solidFill>
                  <a:srgbClr val="000000"/>
                </a:solidFill>
                <a:effectLst/>
                <a:uLnTx/>
                <a:uFillTx/>
                <a:latin typeface="Calibri"/>
                <a:ea typeface="+mn-ea"/>
                <a:cs typeface="+mn-cs"/>
              </a:rPr>
              <a:t>Сендайская</a:t>
            </a:r>
            <a:r>
              <a:rPr kumimoji="0" lang="ru-RU" sz="1800" b="0" i="0" u="none" strike="noStrike" kern="1200" cap="none" spc="0" normalizeH="0" baseline="0" noProof="0" dirty="0">
                <a:ln>
                  <a:noFill/>
                </a:ln>
                <a:solidFill>
                  <a:srgbClr val="000000"/>
                </a:solidFill>
                <a:effectLst/>
                <a:uLnTx/>
                <a:uFillTx/>
                <a:latin typeface="Calibri"/>
                <a:ea typeface="+mn-ea"/>
                <a:cs typeface="+mn-cs"/>
              </a:rPr>
              <a:t> рамочная программа по снижению риска бедствий</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2" name="Group 21">
            <a:extLst>
              <a:ext uri="{FF2B5EF4-FFF2-40B4-BE49-F238E27FC236}">
                <a16:creationId xmlns:a16="http://schemas.microsoft.com/office/drawing/2014/main" id="{C9B997D1-DBA4-43B8-938C-E42B477BDC32}"/>
              </a:ext>
            </a:extLst>
          </p:cNvPr>
          <p:cNvGrpSpPr/>
          <p:nvPr/>
        </p:nvGrpSpPr>
        <p:grpSpPr>
          <a:xfrm>
            <a:off x="2532880" y="4111715"/>
            <a:ext cx="2572239" cy="2345300"/>
            <a:chOff x="2519221" y="5112760"/>
            <a:chExt cx="2014350" cy="1961640"/>
          </a:xfrm>
        </p:grpSpPr>
        <p:sp>
          <p:nvSpPr>
            <p:cNvPr id="25" name="Oval 24">
              <a:extLst>
                <a:ext uri="{FF2B5EF4-FFF2-40B4-BE49-F238E27FC236}">
                  <a16:creationId xmlns:a16="http://schemas.microsoft.com/office/drawing/2014/main" id="{FF33B7C3-F5BC-4B31-8834-22CD36AD1D34}"/>
                </a:ext>
              </a:extLst>
            </p:cNvPr>
            <p:cNvSpPr/>
            <p:nvPr/>
          </p:nvSpPr>
          <p:spPr>
            <a:xfrm>
              <a:off x="2580012" y="5112760"/>
              <a:ext cx="1865896" cy="1961640"/>
            </a:xfrm>
            <a:prstGeom prst="ellipse">
              <a:avLst/>
            </a:prstGeom>
            <a:solidFill>
              <a:schemeClr val="accent4">
                <a:lumMod val="60000"/>
                <a:lumOff val="40000"/>
                <a:alpha val="69804"/>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25742BEF-2D67-44E5-9B56-199F625D5CCB}"/>
                </a:ext>
              </a:extLst>
            </p:cNvPr>
            <p:cNvSpPr txBox="1"/>
            <p:nvPr/>
          </p:nvSpPr>
          <p:spPr>
            <a:xfrm>
              <a:off x="2519221" y="6048461"/>
              <a:ext cx="2014350" cy="100397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tx1"/>
                  </a:solidFill>
                  <a:effectLst/>
                  <a:uLnTx/>
                  <a:uFillTx/>
                  <a:latin typeface="Calibri"/>
                  <a:ea typeface="+mn-ea"/>
                  <a:cs typeface="+mn-cs"/>
                </a:rPr>
                <a:t>Гуманитарная помощь и управление стихийными бедствиями</a:t>
              </a:r>
              <a:endParaRPr kumimoji="0" lang="en-US" sz="1800" b="0" i="0" u="none" strike="noStrike" kern="1200" cap="none" spc="0" normalizeH="0" baseline="0" noProof="0" dirty="0">
                <a:ln>
                  <a:noFill/>
                </a:ln>
                <a:solidFill>
                  <a:schemeClr val="tx1"/>
                </a:solidFill>
                <a:effectLst/>
                <a:uLnTx/>
                <a:uFillTx/>
                <a:latin typeface="Calibri"/>
                <a:ea typeface="+mn-ea"/>
                <a:cs typeface="+mn-cs"/>
              </a:endParaRPr>
            </a:p>
          </p:txBody>
        </p:sp>
      </p:grpSp>
      <p:sp>
        <p:nvSpPr>
          <p:cNvPr id="28" name="Oval 27">
            <a:extLst>
              <a:ext uri="{FF2B5EF4-FFF2-40B4-BE49-F238E27FC236}">
                <a16:creationId xmlns:a16="http://schemas.microsoft.com/office/drawing/2014/main" id="{E246F274-857A-492F-8ADE-8CE400735254}"/>
              </a:ext>
            </a:extLst>
          </p:cNvPr>
          <p:cNvSpPr>
            <a:spLocks noChangeAspect="1"/>
          </p:cNvSpPr>
          <p:nvPr/>
        </p:nvSpPr>
        <p:spPr>
          <a:xfrm>
            <a:off x="2520357" y="2751759"/>
            <a:ext cx="2577278" cy="257727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4" name="TextBox 23">
            <a:extLst>
              <a:ext uri="{FF2B5EF4-FFF2-40B4-BE49-F238E27FC236}">
                <a16:creationId xmlns:a16="http://schemas.microsoft.com/office/drawing/2014/main" id="{7BD04C31-6EDA-4E3A-AAD2-C31D2723F3F2}"/>
              </a:ext>
            </a:extLst>
          </p:cNvPr>
          <p:cNvSpPr txBox="1"/>
          <p:nvPr/>
        </p:nvSpPr>
        <p:spPr>
          <a:xfrm>
            <a:off x="2511821" y="3489106"/>
            <a:ext cx="2577277" cy="83099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400" dirty="0">
                <a:solidFill>
                  <a:srgbClr val="FFFFFF"/>
                </a:solidFill>
                <a:latin typeface="Calibri"/>
              </a:rPr>
              <a:t>С</a:t>
            </a:r>
            <a:r>
              <a:rPr kumimoji="0" lang="ru-RU" sz="2400" b="0" i="0" u="none" strike="noStrike" kern="1200" cap="none" spc="0" normalizeH="0" baseline="0" noProof="0" dirty="0" err="1">
                <a:ln>
                  <a:noFill/>
                </a:ln>
                <a:solidFill>
                  <a:srgbClr val="FFFFFF"/>
                </a:solidFill>
                <a:effectLst/>
                <a:uLnTx/>
                <a:uFillTx/>
                <a:latin typeface="Calibri"/>
                <a:ea typeface="+mn-ea"/>
                <a:cs typeface="+mn-cs"/>
              </a:rPr>
              <a:t>истема</a:t>
            </a:r>
            <a:r>
              <a:rPr kumimoji="0" lang="ru-RU" sz="2400" b="0" i="0" u="none" strike="noStrike" kern="1200" cap="none" spc="0" normalizeH="0" baseline="0" noProof="0" dirty="0">
                <a:ln>
                  <a:noFill/>
                </a:ln>
                <a:solidFill>
                  <a:srgbClr val="FFFFFF"/>
                </a:solidFill>
                <a:effectLst/>
                <a:uLnTx/>
                <a:uFillTx/>
                <a:latin typeface="Calibri"/>
                <a:ea typeface="+mn-ea"/>
                <a:cs typeface="+mn-cs"/>
              </a:rPr>
              <a:t> здравоохранения</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664037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E6B89-A50B-48EE-B39D-C2E7165DEA7E}"/>
              </a:ext>
            </a:extLst>
          </p:cNvPr>
          <p:cNvSpPr>
            <a:spLocks noGrp="1"/>
          </p:cNvSpPr>
          <p:nvPr>
            <p:ph type="title"/>
          </p:nvPr>
        </p:nvSpPr>
        <p:spPr/>
        <p:txBody>
          <a:bodyPr/>
          <a:lstStyle/>
          <a:p>
            <a:r>
              <a:rPr lang="ru-RU" dirty="0"/>
              <a:t>Система мониторинга и оценки ММСП (MEF)</a:t>
            </a:r>
            <a:endParaRPr lang="en-US" dirty="0"/>
          </a:p>
        </p:txBody>
      </p:sp>
      <p:sp>
        <p:nvSpPr>
          <p:cNvPr id="4" name="Footer Placeholder 3">
            <a:extLst>
              <a:ext uri="{FF2B5EF4-FFF2-40B4-BE49-F238E27FC236}">
                <a16:creationId xmlns:a16="http://schemas.microsoft.com/office/drawing/2014/main" id="{8966C042-90E2-4857-95FF-DC309FB72A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2ABF980-2F0B-497C-BF5E-C1A2A6321A00}"/>
              </a:ext>
            </a:extLst>
          </p:cNvPr>
          <p:cNvSpPr>
            <a:spLocks noGrp="1"/>
          </p:cNvSpPr>
          <p:nvPr>
            <p:ph type="sldNum" sz="quarter" idx="12"/>
          </p:nvPr>
        </p:nvSpPr>
        <p:spPr/>
        <p:txBody>
          <a:bodyPr/>
          <a:lstStyle/>
          <a:p>
            <a:fld id="{714BF2E0-EE3B-6A4E-9FB9-82DE86E1F02F}" type="slidenum">
              <a:rPr lang="en-US" smtClean="0"/>
              <a:pPr/>
              <a:t>2</a:t>
            </a:fld>
            <a:endParaRPr lang="en-US"/>
          </a:p>
        </p:txBody>
      </p:sp>
      <p:pic>
        <p:nvPicPr>
          <p:cNvPr id="10" name="Picture 2">
            <a:extLst>
              <a:ext uri="{FF2B5EF4-FFF2-40B4-BE49-F238E27FC236}">
                <a16:creationId xmlns:a16="http://schemas.microsoft.com/office/drawing/2014/main" id="{5166E7BB-C225-4C69-9BFF-0AD5377FC0D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82238" y="2596966"/>
            <a:ext cx="2775531" cy="2286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le 4">
            <a:extLst>
              <a:ext uri="{FF2B5EF4-FFF2-40B4-BE49-F238E27FC236}">
                <a16:creationId xmlns:a16="http://schemas.microsoft.com/office/drawing/2014/main" id="{A571457F-34A0-4FDE-B620-523016D2BC27}"/>
              </a:ext>
            </a:extLst>
          </p:cNvPr>
          <p:cNvSpPr txBox="1">
            <a:spLocks/>
          </p:cNvSpPr>
          <p:nvPr/>
        </p:nvSpPr>
        <p:spPr>
          <a:xfrm>
            <a:off x="8777201" y="1501541"/>
            <a:ext cx="3438463" cy="3209915"/>
          </a:xfrm>
          <a:prstGeom prst="rect">
            <a:avLst/>
          </a:prstGeom>
          <a:ln>
            <a:noFill/>
          </a:ln>
        </p:spPr>
        <p:txBody>
          <a:bodyPr/>
          <a:lstStyle>
            <a:lvl1pPr algn="ctr" rtl="0" eaLnBrk="0" fontAlgn="base" hangingPunct="0">
              <a:spcBef>
                <a:spcPct val="0"/>
              </a:spcBef>
              <a:spcAft>
                <a:spcPct val="0"/>
              </a:spcAft>
              <a:defRPr sz="4000" kern="1200">
                <a:solidFill>
                  <a:srgbClr val="00558E"/>
                </a:solidFill>
                <a:latin typeface="Arial Unicode MS" panose="020B0604020202020204" pitchFamily="34" charset="-128"/>
                <a:ea typeface="MS PGothic" pitchFamily="34" charset="-128"/>
                <a:cs typeface="Arial Unicode MS" panose="020B0604020202020204" pitchFamily="34" charset="-128"/>
              </a:defRPr>
            </a:lvl1pPr>
            <a:lvl2pPr algn="ctr" rtl="0" eaLnBrk="0" fontAlgn="base" hangingPunct="0">
              <a:spcBef>
                <a:spcPct val="0"/>
              </a:spcBef>
              <a:spcAft>
                <a:spcPct val="0"/>
              </a:spcAft>
              <a:defRPr sz="4000">
                <a:solidFill>
                  <a:srgbClr val="00558E"/>
                </a:solidFill>
                <a:latin typeface="Arial Unicode MS" pitchFamily="34" charset="-128"/>
                <a:ea typeface="MS PGothic" pitchFamily="34" charset="-128"/>
                <a:cs typeface="Arial Unicode MS" pitchFamily="34" charset="-128"/>
              </a:defRPr>
            </a:lvl2pPr>
            <a:lvl3pPr algn="ctr" rtl="0" eaLnBrk="0" fontAlgn="base" hangingPunct="0">
              <a:spcBef>
                <a:spcPct val="0"/>
              </a:spcBef>
              <a:spcAft>
                <a:spcPct val="0"/>
              </a:spcAft>
              <a:defRPr sz="4000">
                <a:solidFill>
                  <a:srgbClr val="00558E"/>
                </a:solidFill>
                <a:latin typeface="Arial Unicode MS" pitchFamily="34" charset="-128"/>
                <a:ea typeface="MS PGothic" pitchFamily="34" charset="-128"/>
                <a:cs typeface="Arial Unicode MS" pitchFamily="34" charset="-128"/>
              </a:defRPr>
            </a:lvl3pPr>
            <a:lvl4pPr algn="ctr" rtl="0" eaLnBrk="0" fontAlgn="base" hangingPunct="0">
              <a:spcBef>
                <a:spcPct val="0"/>
              </a:spcBef>
              <a:spcAft>
                <a:spcPct val="0"/>
              </a:spcAft>
              <a:defRPr sz="4000">
                <a:solidFill>
                  <a:srgbClr val="00558E"/>
                </a:solidFill>
                <a:latin typeface="Arial Unicode MS" pitchFamily="34" charset="-128"/>
                <a:ea typeface="MS PGothic" pitchFamily="34" charset="-128"/>
                <a:cs typeface="Arial Unicode MS" pitchFamily="34" charset="-128"/>
              </a:defRPr>
            </a:lvl4pPr>
            <a:lvl5pPr algn="ctr" rtl="0" eaLnBrk="0" fontAlgn="base" hangingPunct="0">
              <a:spcBef>
                <a:spcPct val="0"/>
              </a:spcBef>
              <a:spcAft>
                <a:spcPct val="0"/>
              </a:spcAft>
              <a:defRPr sz="4000">
                <a:solidFill>
                  <a:srgbClr val="00558E"/>
                </a:solidFill>
                <a:latin typeface="Arial Unicode MS" pitchFamily="34" charset="-128"/>
                <a:ea typeface="MS PGothic" pitchFamily="34" charset="-128"/>
                <a:cs typeface="Arial Unicode MS" pitchFamily="34" charset="-128"/>
              </a:defRPr>
            </a:lvl5pPr>
            <a:lvl6pPr marL="457200" algn="ctr" rtl="0" fontAlgn="base">
              <a:spcBef>
                <a:spcPct val="0"/>
              </a:spcBef>
              <a:spcAft>
                <a:spcPct val="0"/>
              </a:spcAft>
              <a:defRPr sz="4000">
                <a:solidFill>
                  <a:srgbClr val="00558E"/>
                </a:solidFill>
                <a:latin typeface="Arial Unicode MS" pitchFamily="34" charset="-128"/>
                <a:ea typeface="Arial Unicode MS" pitchFamily="34" charset="-128"/>
                <a:cs typeface="Arial Unicode MS" pitchFamily="34" charset="-128"/>
              </a:defRPr>
            </a:lvl6pPr>
            <a:lvl7pPr marL="914400" algn="ctr" rtl="0" fontAlgn="base">
              <a:spcBef>
                <a:spcPct val="0"/>
              </a:spcBef>
              <a:spcAft>
                <a:spcPct val="0"/>
              </a:spcAft>
              <a:defRPr sz="4000">
                <a:solidFill>
                  <a:srgbClr val="00558E"/>
                </a:solidFill>
                <a:latin typeface="Arial Unicode MS" pitchFamily="34" charset="-128"/>
                <a:ea typeface="Arial Unicode MS" pitchFamily="34" charset="-128"/>
                <a:cs typeface="Arial Unicode MS" pitchFamily="34" charset="-128"/>
              </a:defRPr>
            </a:lvl7pPr>
            <a:lvl8pPr marL="1371600" algn="ctr" rtl="0" fontAlgn="base">
              <a:spcBef>
                <a:spcPct val="0"/>
              </a:spcBef>
              <a:spcAft>
                <a:spcPct val="0"/>
              </a:spcAft>
              <a:defRPr sz="4000">
                <a:solidFill>
                  <a:srgbClr val="00558E"/>
                </a:solidFill>
                <a:latin typeface="Arial Unicode MS" pitchFamily="34" charset="-128"/>
                <a:ea typeface="Arial Unicode MS" pitchFamily="34" charset="-128"/>
                <a:cs typeface="Arial Unicode MS" pitchFamily="34" charset="-128"/>
              </a:defRPr>
            </a:lvl8pPr>
            <a:lvl9pPr marL="1828800" algn="ctr" rtl="0" fontAlgn="base">
              <a:spcBef>
                <a:spcPct val="0"/>
              </a:spcBef>
              <a:spcAft>
                <a:spcPct val="0"/>
              </a:spcAft>
              <a:defRPr sz="4000">
                <a:solidFill>
                  <a:srgbClr val="00558E"/>
                </a:solidFill>
                <a:latin typeface="Arial Unicode MS" pitchFamily="34" charset="-128"/>
                <a:ea typeface="Arial Unicode MS" pitchFamily="34" charset="-128"/>
                <a:cs typeface="Arial Unicode MS" pitchFamily="34" charset="-128"/>
              </a:defRPr>
            </a:lvl9pPr>
          </a:lstStyle>
          <a:p>
            <a:r>
              <a:rPr lang="ru-RU" sz="2000" dirty="0">
                <a:solidFill>
                  <a:srgbClr val="00205C"/>
                </a:solidFill>
                <a:latin typeface="+mn-lt"/>
                <a:ea typeface="+mj-ea"/>
                <a:cs typeface="+mj-cs"/>
              </a:rPr>
              <a:t>Национальный план действий по охране здоровья</a:t>
            </a:r>
            <a:endParaRPr lang="en-US" sz="2000" dirty="0">
              <a:solidFill>
                <a:srgbClr val="00205C"/>
              </a:solidFill>
              <a:latin typeface="+mn-lt"/>
              <a:ea typeface="+mj-ea"/>
              <a:cs typeface="+mj-cs"/>
            </a:endParaRPr>
          </a:p>
        </p:txBody>
      </p:sp>
      <p:sp>
        <p:nvSpPr>
          <p:cNvPr id="16" name="Rectangle 15">
            <a:extLst>
              <a:ext uri="{FF2B5EF4-FFF2-40B4-BE49-F238E27FC236}">
                <a16:creationId xmlns:a16="http://schemas.microsoft.com/office/drawing/2014/main" id="{37C2FC42-4EC1-4A2B-9476-19ABE3BFD19A}"/>
              </a:ext>
            </a:extLst>
          </p:cNvPr>
          <p:cNvSpPr/>
          <p:nvPr/>
        </p:nvSpPr>
        <p:spPr>
          <a:xfrm rot="16200000">
            <a:off x="-690004" y="3133355"/>
            <a:ext cx="3364334" cy="1034940"/>
          </a:xfrm>
          <a:prstGeom prst="rect">
            <a:avLst/>
          </a:prstGeom>
          <a:noFill/>
          <a:ln w="12700" cap="flat" cmpd="sng" algn="ctr">
            <a:noFill/>
            <a:prstDash val="solid"/>
            <a:miter lim="800000"/>
          </a:ln>
          <a:effectLst/>
        </p:spPr>
        <p:txBody>
          <a:bodyPr rtlCol="0" anchor="ctr"/>
          <a:lstStyle/>
          <a:p>
            <a:pPr algn="ctr"/>
            <a:r>
              <a:rPr lang="ru-RU" sz="3500" b="1" dirty="0">
                <a:latin typeface="Arial" panose="020B0604020202020204" pitchFamily="34" charset="0"/>
                <a:cs typeface="Arial" panose="020B0604020202020204" pitchFamily="34" charset="0"/>
              </a:rPr>
              <a:t>ММСП</a:t>
            </a:r>
            <a:r>
              <a:rPr lang="en-US" sz="3500" b="1" dirty="0">
                <a:latin typeface="Arial" panose="020B0604020202020204" pitchFamily="34" charset="0"/>
                <a:cs typeface="Arial" panose="020B0604020202020204" pitchFamily="34" charset="0"/>
              </a:rPr>
              <a:t> - MEF</a:t>
            </a:r>
          </a:p>
        </p:txBody>
      </p:sp>
      <p:sp>
        <p:nvSpPr>
          <p:cNvPr id="17" name="Rectangle 16">
            <a:extLst>
              <a:ext uri="{FF2B5EF4-FFF2-40B4-BE49-F238E27FC236}">
                <a16:creationId xmlns:a16="http://schemas.microsoft.com/office/drawing/2014/main" id="{E52EDE90-76D6-44B3-B778-E44A99B82619}"/>
              </a:ext>
            </a:extLst>
          </p:cNvPr>
          <p:cNvSpPr/>
          <p:nvPr/>
        </p:nvSpPr>
        <p:spPr>
          <a:xfrm>
            <a:off x="1489946" y="3634870"/>
            <a:ext cx="5146770" cy="1402879"/>
          </a:xfrm>
          <a:prstGeom prst="rect">
            <a:avLst/>
          </a:prstGeom>
          <a:solidFill>
            <a:schemeClr val="bg1"/>
          </a:solidFill>
          <a:ln w="12700" cap="flat" cmpd="sng" algn="ctr">
            <a:solidFill>
              <a:schemeClr val="tx1"/>
            </a:solidFill>
            <a:prstDash val="solid"/>
            <a:miter lim="800000"/>
          </a:ln>
          <a:effectLst/>
        </p:spPr>
        <p:txBody>
          <a:bodyPr rtlCol="0" anchor="ctr"/>
          <a:lstStyle/>
          <a:p>
            <a:pPr algn="ctr" defTabSz="342900">
              <a:defRPr/>
            </a:pPr>
            <a:r>
              <a:rPr lang="ru-RU" sz="1200" kern="0" dirty="0">
                <a:solidFill>
                  <a:prstClr val="white"/>
                </a:solidFill>
                <a:latin typeface="Calibri" panose="020F0502020204030204"/>
              </a:rPr>
              <a:t>ОБЗ</a:t>
            </a:r>
            <a:endParaRPr lang="en-GB" sz="1200" kern="0" dirty="0">
              <a:solidFill>
                <a:prstClr val="white"/>
              </a:solidFill>
              <a:latin typeface="Calibri" panose="020F0502020204030204"/>
            </a:endParaRPr>
          </a:p>
        </p:txBody>
      </p:sp>
      <p:sp>
        <p:nvSpPr>
          <p:cNvPr id="18" name="Rectangle 17">
            <a:extLst>
              <a:ext uri="{FF2B5EF4-FFF2-40B4-BE49-F238E27FC236}">
                <a16:creationId xmlns:a16="http://schemas.microsoft.com/office/drawing/2014/main" id="{2D20466F-79BA-487B-887F-98954243947C}"/>
              </a:ext>
            </a:extLst>
          </p:cNvPr>
          <p:cNvSpPr/>
          <p:nvPr/>
        </p:nvSpPr>
        <p:spPr>
          <a:xfrm>
            <a:off x="1489946" y="2214719"/>
            <a:ext cx="5146770" cy="1402879"/>
          </a:xfrm>
          <a:prstGeom prst="rect">
            <a:avLst/>
          </a:prstGeom>
          <a:solidFill>
            <a:schemeClr val="bg1"/>
          </a:solidFill>
          <a:ln w="12700" cap="flat" cmpd="sng" algn="ctr">
            <a:solidFill>
              <a:schemeClr val="tx1"/>
            </a:solidFill>
            <a:prstDash val="solid"/>
            <a:miter lim="800000"/>
          </a:ln>
          <a:effectLst/>
        </p:spPr>
        <p:txBody>
          <a:bodyPr rtlCol="0" anchor="ctr"/>
          <a:lstStyle/>
          <a:p>
            <a:pPr algn="ctr" defTabSz="342900">
              <a:defRPr/>
            </a:pPr>
            <a:endParaRPr lang="en-GB" sz="1200" kern="0">
              <a:solidFill>
                <a:prstClr val="white"/>
              </a:solidFill>
              <a:latin typeface="Calibri" panose="020F0502020204030204"/>
            </a:endParaRPr>
          </a:p>
        </p:txBody>
      </p:sp>
      <p:grpSp>
        <p:nvGrpSpPr>
          <p:cNvPr id="19" name="Group 18">
            <a:extLst>
              <a:ext uri="{FF2B5EF4-FFF2-40B4-BE49-F238E27FC236}">
                <a16:creationId xmlns:a16="http://schemas.microsoft.com/office/drawing/2014/main" id="{ED60467A-F54B-41F1-91E1-12E2F890A449}"/>
              </a:ext>
            </a:extLst>
          </p:cNvPr>
          <p:cNvGrpSpPr/>
          <p:nvPr/>
        </p:nvGrpSpPr>
        <p:grpSpPr>
          <a:xfrm>
            <a:off x="1600829" y="4384079"/>
            <a:ext cx="2184672" cy="438794"/>
            <a:chOff x="1432981" y="3711933"/>
            <a:chExt cx="3883861" cy="780079"/>
          </a:xfrm>
        </p:grpSpPr>
        <p:sp>
          <p:nvSpPr>
            <p:cNvPr id="20" name="Freeform: Shape 19">
              <a:extLst>
                <a:ext uri="{FF2B5EF4-FFF2-40B4-BE49-F238E27FC236}">
                  <a16:creationId xmlns:a16="http://schemas.microsoft.com/office/drawing/2014/main" id="{B1034DCF-46B3-4E01-A27C-271DA1FCC1C9}"/>
                </a:ext>
              </a:extLst>
            </p:cNvPr>
            <p:cNvSpPr/>
            <p:nvPr/>
          </p:nvSpPr>
          <p:spPr>
            <a:xfrm>
              <a:off x="2318224" y="3784840"/>
              <a:ext cx="2855863" cy="634266"/>
            </a:xfrm>
            <a:custGeom>
              <a:avLst/>
              <a:gdLst>
                <a:gd name="connsiteX0" fmla="*/ 0 w 1500060"/>
                <a:gd name="connsiteY0" fmla="*/ 0 h 1084527"/>
                <a:gd name="connsiteX1" fmla="*/ 1500060 w 1500060"/>
                <a:gd name="connsiteY1" fmla="*/ 0 h 1084527"/>
                <a:gd name="connsiteX2" fmla="*/ 1500060 w 1500060"/>
                <a:gd name="connsiteY2" fmla="*/ 1084527 h 1084527"/>
                <a:gd name="connsiteX3" fmla="*/ 0 w 1500060"/>
                <a:gd name="connsiteY3" fmla="*/ 1084527 h 1084527"/>
                <a:gd name="connsiteX4" fmla="*/ 0 w 1500060"/>
                <a:gd name="connsiteY4" fmla="*/ 0 h 108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060" h="1084527">
                  <a:moveTo>
                    <a:pt x="0" y="0"/>
                  </a:moveTo>
                  <a:lnTo>
                    <a:pt x="1500060" y="0"/>
                  </a:lnTo>
                  <a:lnTo>
                    <a:pt x="1500060" y="1084527"/>
                  </a:lnTo>
                  <a:lnTo>
                    <a:pt x="0" y="1084527"/>
                  </a:lnTo>
                  <a:lnTo>
                    <a:pt x="0" y="0"/>
                  </a:lnTo>
                  <a:close/>
                </a:path>
              </a:pathLst>
            </a:custGeom>
            <a:ln w="28575">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59" tIns="12859" rIns="12859" bIns="12859" numCol="1" spcCol="1270" anchor="ctr" anchorCtr="0">
              <a:noAutofit/>
            </a:bodyPr>
            <a:lstStyle/>
            <a:p>
              <a:pPr defTabSz="450056">
                <a:lnSpc>
                  <a:spcPct val="90000"/>
                </a:lnSpc>
                <a:spcBef>
                  <a:spcPct val="0"/>
                </a:spcBef>
                <a:spcAft>
                  <a:spcPct val="10000"/>
                </a:spcAft>
              </a:pPr>
              <a:r>
                <a:rPr lang="ru-RU" sz="1013" b="1" dirty="0">
                  <a:latin typeface="Arial" panose="020B0604020202020204" pitchFamily="34" charset="0"/>
                  <a:cs typeface="Arial" panose="020B0604020202020204" pitchFamily="34" charset="0"/>
                </a:rPr>
                <a:t>ОБЗОР ВО ВРЕМЯ И ПОСЛЕ ДЕЙСТВИЯ</a:t>
              </a:r>
              <a:endParaRPr lang="en-US" sz="1013" b="1" dirty="0">
                <a:latin typeface="Arial" panose="020B0604020202020204" pitchFamily="34" charset="0"/>
                <a:cs typeface="Arial" panose="020B0604020202020204" pitchFamily="34" charset="0"/>
              </a:endParaRPr>
            </a:p>
          </p:txBody>
        </p:sp>
        <p:sp>
          <p:nvSpPr>
            <p:cNvPr id="21" name="Arrow: Pentagon 20">
              <a:extLst>
                <a:ext uri="{FF2B5EF4-FFF2-40B4-BE49-F238E27FC236}">
                  <a16:creationId xmlns:a16="http://schemas.microsoft.com/office/drawing/2014/main" id="{F7F4BCDE-3305-4928-B233-2C79EDE1944B}"/>
                </a:ext>
              </a:extLst>
            </p:cNvPr>
            <p:cNvSpPr/>
            <p:nvPr/>
          </p:nvSpPr>
          <p:spPr>
            <a:xfrm rot="10800000">
              <a:off x="1795632" y="3729180"/>
              <a:ext cx="3521210" cy="745584"/>
            </a:xfrm>
            <a:prstGeom prst="homePlate">
              <a:avLst>
                <a:gd name="adj" fmla="val 68681"/>
              </a:avLst>
            </a:prstGeom>
            <a:noFill/>
            <a:ln w="38100">
              <a:solidFill>
                <a:srgbClr val="013D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Oval 21">
              <a:extLst>
                <a:ext uri="{FF2B5EF4-FFF2-40B4-BE49-F238E27FC236}">
                  <a16:creationId xmlns:a16="http://schemas.microsoft.com/office/drawing/2014/main" id="{CBD2487A-306E-4FD8-BB5D-AF0A040A87B1}"/>
                </a:ext>
              </a:extLst>
            </p:cNvPr>
            <p:cNvSpPr/>
            <p:nvPr/>
          </p:nvSpPr>
          <p:spPr>
            <a:xfrm>
              <a:off x="1432981" y="3711933"/>
              <a:ext cx="780242" cy="780079"/>
            </a:xfrm>
            <a:prstGeom prst="ellipse">
              <a:avLst/>
            </a:prstGeom>
            <a:blipFill rotWithShape="1">
              <a:blip r:embed="rId3" cstate="print">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grpSp>
        <p:nvGrpSpPr>
          <p:cNvPr id="23" name="Group 22">
            <a:extLst>
              <a:ext uri="{FF2B5EF4-FFF2-40B4-BE49-F238E27FC236}">
                <a16:creationId xmlns:a16="http://schemas.microsoft.com/office/drawing/2014/main" id="{7004770E-C996-4F7D-830E-1A79E3E05CF0}"/>
              </a:ext>
            </a:extLst>
          </p:cNvPr>
          <p:cNvGrpSpPr/>
          <p:nvPr/>
        </p:nvGrpSpPr>
        <p:grpSpPr>
          <a:xfrm>
            <a:off x="1616231" y="3803249"/>
            <a:ext cx="2184672" cy="438794"/>
            <a:chOff x="1432981" y="4796460"/>
            <a:chExt cx="3883861" cy="780079"/>
          </a:xfrm>
        </p:grpSpPr>
        <p:sp>
          <p:nvSpPr>
            <p:cNvPr id="24" name="Freeform: Shape 23">
              <a:extLst>
                <a:ext uri="{FF2B5EF4-FFF2-40B4-BE49-F238E27FC236}">
                  <a16:creationId xmlns:a16="http://schemas.microsoft.com/office/drawing/2014/main" id="{4843369A-3622-461B-BC19-078A9314CCBA}"/>
                </a:ext>
              </a:extLst>
            </p:cNvPr>
            <p:cNvSpPr/>
            <p:nvPr/>
          </p:nvSpPr>
          <p:spPr>
            <a:xfrm>
              <a:off x="2226179" y="4869367"/>
              <a:ext cx="2947907" cy="634266"/>
            </a:xfrm>
            <a:custGeom>
              <a:avLst/>
              <a:gdLst>
                <a:gd name="connsiteX0" fmla="*/ 0 w 1500060"/>
                <a:gd name="connsiteY0" fmla="*/ 0 h 1084527"/>
                <a:gd name="connsiteX1" fmla="*/ 1500060 w 1500060"/>
                <a:gd name="connsiteY1" fmla="*/ 0 h 1084527"/>
                <a:gd name="connsiteX2" fmla="*/ 1500060 w 1500060"/>
                <a:gd name="connsiteY2" fmla="*/ 1084527 h 1084527"/>
                <a:gd name="connsiteX3" fmla="*/ 0 w 1500060"/>
                <a:gd name="connsiteY3" fmla="*/ 1084527 h 1084527"/>
                <a:gd name="connsiteX4" fmla="*/ 0 w 1500060"/>
                <a:gd name="connsiteY4" fmla="*/ 0 h 108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060" h="1084527">
                  <a:moveTo>
                    <a:pt x="0" y="0"/>
                  </a:moveTo>
                  <a:lnTo>
                    <a:pt x="1500060" y="0"/>
                  </a:lnTo>
                  <a:lnTo>
                    <a:pt x="1500060" y="1084527"/>
                  </a:lnTo>
                  <a:lnTo>
                    <a:pt x="0" y="1084527"/>
                  </a:lnTo>
                  <a:lnTo>
                    <a:pt x="0" y="0"/>
                  </a:lnTo>
                  <a:close/>
                </a:path>
              </a:pathLst>
            </a:custGeom>
            <a:ln w="28575">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59" tIns="12859" rIns="12859" bIns="12859" numCol="1" spcCol="1270" anchor="ctr" anchorCtr="0">
              <a:noAutofit/>
            </a:bodyPr>
            <a:lstStyle/>
            <a:p>
              <a:pPr defTabSz="450056">
                <a:lnSpc>
                  <a:spcPct val="90000"/>
                </a:lnSpc>
                <a:spcBef>
                  <a:spcPct val="0"/>
                </a:spcBef>
                <a:spcAft>
                  <a:spcPct val="10000"/>
                </a:spcAft>
              </a:pPr>
              <a:r>
                <a:rPr lang="ru-RU" sz="900" b="1" dirty="0">
                  <a:latin typeface="Arial" panose="020B0604020202020204" pitchFamily="34" charset="0"/>
                  <a:cs typeface="Arial" panose="020B0604020202020204" pitchFamily="34" charset="0"/>
                </a:rPr>
                <a:t>УПРАЖНЕНИЕ-СИМУЛЯЦИЯ</a:t>
              </a:r>
              <a:endParaRPr lang="en-US" sz="900" b="1" dirty="0"/>
            </a:p>
          </p:txBody>
        </p:sp>
        <p:sp>
          <p:nvSpPr>
            <p:cNvPr id="25" name="Arrow: Pentagon 24">
              <a:extLst>
                <a:ext uri="{FF2B5EF4-FFF2-40B4-BE49-F238E27FC236}">
                  <a16:creationId xmlns:a16="http://schemas.microsoft.com/office/drawing/2014/main" id="{33F874F5-632E-441B-B63C-0AF254622502}"/>
                </a:ext>
              </a:extLst>
            </p:cNvPr>
            <p:cNvSpPr/>
            <p:nvPr/>
          </p:nvSpPr>
          <p:spPr>
            <a:xfrm rot="10800000">
              <a:off x="1795632" y="4813707"/>
              <a:ext cx="3521210" cy="745584"/>
            </a:xfrm>
            <a:prstGeom prst="homePlate">
              <a:avLst>
                <a:gd name="adj" fmla="val 68681"/>
              </a:avLst>
            </a:prstGeom>
            <a:noFill/>
            <a:ln w="38100">
              <a:solidFill>
                <a:srgbClr val="003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6" name="Oval 25">
              <a:extLst>
                <a:ext uri="{FF2B5EF4-FFF2-40B4-BE49-F238E27FC236}">
                  <a16:creationId xmlns:a16="http://schemas.microsoft.com/office/drawing/2014/main" id="{D7442959-18FB-4A5D-9297-EFD3DF1DB259}"/>
                </a:ext>
              </a:extLst>
            </p:cNvPr>
            <p:cNvSpPr/>
            <p:nvPr/>
          </p:nvSpPr>
          <p:spPr>
            <a:xfrm>
              <a:off x="1432981" y="4796460"/>
              <a:ext cx="780242" cy="780079"/>
            </a:xfrm>
            <a:prstGeom prst="ellipse">
              <a:avLst/>
            </a:prstGeom>
            <a:blipFill rotWithShape="1">
              <a:blip r:embed="rId4"/>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grpSp>
        <p:nvGrpSpPr>
          <p:cNvPr id="27" name="Group 26">
            <a:extLst>
              <a:ext uri="{FF2B5EF4-FFF2-40B4-BE49-F238E27FC236}">
                <a16:creationId xmlns:a16="http://schemas.microsoft.com/office/drawing/2014/main" id="{296B4E2C-18FA-456E-B822-004F78ACBF29}"/>
              </a:ext>
            </a:extLst>
          </p:cNvPr>
          <p:cNvGrpSpPr/>
          <p:nvPr/>
        </p:nvGrpSpPr>
        <p:grpSpPr>
          <a:xfrm>
            <a:off x="1616231" y="3003313"/>
            <a:ext cx="2184671" cy="438794"/>
            <a:chOff x="1432981" y="2203482"/>
            <a:chExt cx="3883860" cy="780079"/>
          </a:xfrm>
        </p:grpSpPr>
        <p:sp>
          <p:nvSpPr>
            <p:cNvPr id="28" name="Freeform: Shape 27">
              <a:extLst>
                <a:ext uri="{FF2B5EF4-FFF2-40B4-BE49-F238E27FC236}">
                  <a16:creationId xmlns:a16="http://schemas.microsoft.com/office/drawing/2014/main" id="{470F01EC-C6E2-4489-8540-99C62AC2E0C2}"/>
                </a:ext>
              </a:extLst>
            </p:cNvPr>
            <p:cNvSpPr/>
            <p:nvPr/>
          </p:nvSpPr>
          <p:spPr>
            <a:xfrm>
              <a:off x="2420297" y="2276389"/>
              <a:ext cx="2853040" cy="634266"/>
            </a:xfrm>
            <a:custGeom>
              <a:avLst/>
              <a:gdLst>
                <a:gd name="connsiteX0" fmla="*/ 0 w 1500060"/>
                <a:gd name="connsiteY0" fmla="*/ 0 h 1084527"/>
                <a:gd name="connsiteX1" fmla="*/ 1500060 w 1500060"/>
                <a:gd name="connsiteY1" fmla="*/ 0 h 1084527"/>
                <a:gd name="connsiteX2" fmla="*/ 1500060 w 1500060"/>
                <a:gd name="connsiteY2" fmla="*/ 1084527 h 1084527"/>
                <a:gd name="connsiteX3" fmla="*/ 0 w 1500060"/>
                <a:gd name="connsiteY3" fmla="*/ 1084527 h 1084527"/>
                <a:gd name="connsiteX4" fmla="*/ 0 w 1500060"/>
                <a:gd name="connsiteY4" fmla="*/ 0 h 108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060" h="1084527">
                  <a:moveTo>
                    <a:pt x="0" y="0"/>
                  </a:moveTo>
                  <a:lnTo>
                    <a:pt x="1500060" y="0"/>
                  </a:lnTo>
                  <a:lnTo>
                    <a:pt x="1500060" y="1084527"/>
                  </a:lnTo>
                  <a:lnTo>
                    <a:pt x="0" y="1084527"/>
                  </a:lnTo>
                  <a:lnTo>
                    <a:pt x="0" y="0"/>
                  </a:lnTo>
                  <a:close/>
                </a:path>
              </a:pathLst>
            </a:custGeom>
            <a:ln w="28575">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59" tIns="12859" rIns="12859" bIns="12859" numCol="1" spcCol="1270" anchor="ctr" anchorCtr="0">
              <a:noAutofit/>
            </a:bodyPr>
            <a:lstStyle/>
            <a:p>
              <a:pPr defTabSz="450056">
                <a:lnSpc>
                  <a:spcPct val="90000"/>
                </a:lnSpc>
                <a:spcBef>
                  <a:spcPct val="0"/>
                </a:spcBef>
                <a:spcAft>
                  <a:spcPct val="10000"/>
                </a:spcAft>
              </a:pPr>
              <a:r>
                <a:rPr lang="ru-RU" sz="1013" b="1" dirty="0">
                  <a:latin typeface="Arial" panose="020B0604020202020204" pitchFamily="34" charset="0"/>
                  <a:cs typeface="Arial" panose="020B0604020202020204" pitchFamily="34" charset="0"/>
                </a:rPr>
                <a:t>ДОБРОВОЛЬНАЯ ВНЕШНЯЯ ОЦЕНКА</a:t>
              </a:r>
              <a:endParaRPr lang="en-US" sz="1013" dirty="0"/>
            </a:p>
          </p:txBody>
        </p:sp>
        <p:sp>
          <p:nvSpPr>
            <p:cNvPr id="29" name="Arrow: Pentagon 28">
              <a:extLst>
                <a:ext uri="{FF2B5EF4-FFF2-40B4-BE49-F238E27FC236}">
                  <a16:creationId xmlns:a16="http://schemas.microsoft.com/office/drawing/2014/main" id="{BD4B1137-A57A-406E-A7CC-90C52FC58CE3}"/>
                </a:ext>
              </a:extLst>
            </p:cNvPr>
            <p:cNvSpPr/>
            <p:nvPr/>
          </p:nvSpPr>
          <p:spPr>
            <a:xfrm rot="10800000">
              <a:off x="1795631" y="2220729"/>
              <a:ext cx="3521210" cy="745584"/>
            </a:xfrm>
            <a:prstGeom prst="homePlate">
              <a:avLst>
                <a:gd name="adj" fmla="val 68681"/>
              </a:avLst>
            </a:prstGeom>
            <a:noFill/>
            <a:ln w="38100">
              <a:solidFill>
                <a:srgbClr val="0085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0" name="Oval 29">
              <a:extLst>
                <a:ext uri="{FF2B5EF4-FFF2-40B4-BE49-F238E27FC236}">
                  <a16:creationId xmlns:a16="http://schemas.microsoft.com/office/drawing/2014/main" id="{FD31BDD0-15DB-4FC0-81F6-35F8E88617B4}"/>
                </a:ext>
              </a:extLst>
            </p:cNvPr>
            <p:cNvSpPr/>
            <p:nvPr/>
          </p:nvSpPr>
          <p:spPr>
            <a:xfrm>
              <a:off x="1432981" y="2203482"/>
              <a:ext cx="780242" cy="780079"/>
            </a:xfrm>
            <a:prstGeom prst="ellipse">
              <a:avLst/>
            </a:prstGeom>
            <a:blipFill rotWithShape="1">
              <a:blip r:embed="rId5" cstate="print">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31" name="TextBox 30">
            <a:extLst>
              <a:ext uri="{FF2B5EF4-FFF2-40B4-BE49-F238E27FC236}">
                <a16:creationId xmlns:a16="http://schemas.microsoft.com/office/drawing/2014/main" id="{25458604-9201-41B8-B616-B59C1E2C28D6}"/>
              </a:ext>
            </a:extLst>
          </p:cNvPr>
          <p:cNvSpPr txBox="1"/>
          <p:nvPr/>
        </p:nvSpPr>
        <p:spPr>
          <a:xfrm>
            <a:off x="4264860" y="3071716"/>
            <a:ext cx="1625801" cy="5232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ru-RU" sz="1400" dirty="0">
                <a:solidFill>
                  <a:schemeClr val="tx1">
                    <a:hueOff val="0"/>
                    <a:satOff val="0"/>
                    <a:lumOff val="0"/>
                    <a:alphaOff val="0"/>
                  </a:schemeClr>
                </a:solidFill>
                <a:latin typeface="Arial" panose="020B0604020202020204" pitchFamily="34" charset="0"/>
                <a:cs typeface="Arial" panose="020B0604020202020204" pitchFamily="34" charset="0"/>
              </a:rPr>
              <a:t>Добровольный инструмент</a:t>
            </a:r>
            <a:endParaRPr lang="en-US" sz="1400" dirty="0">
              <a:solidFill>
                <a:schemeClr val="tx1">
                  <a:hueOff val="0"/>
                  <a:satOff val="0"/>
                  <a:lumOff val="0"/>
                  <a:alphaOff val="0"/>
                </a:schemeClr>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E363A935-E1EA-44AD-AA63-68814EEDA49F}"/>
              </a:ext>
            </a:extLst>
          </p:cNvPr>
          <p:cNvSpPr txBox="1"/>
          <p:nvPr/>
        </p:nvSpPr>
        <p:spPr>
          <a:xfrm>
            <a:off x="4232944" y="4069642"/>
            <a:ext cx="1863056" cy="5232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ru-RU" sz="1400" dirty="0">
                <a:solidFill>
                  <a:schemeClr val="tx1">
                    <a:hueOff val="0"/>
                    <a:satOff val="0"/>
                    <a:lumOff val="0"/>
                    <a:alphaOff val="0"/>
                  </a:schemeClr>
                </a:solidFill>
                <a:latin typeface="Arial" panose="020B0604020202020204" pitchFamily="34" charset="0"/>
                <a:cs typeface="Arial" panose="020B0604020202020204" pitchFamily="34" charset="0"/>
              </a:rPr>
              <a:t>Оценка функциональности</a:t>
            </a:r>
            <a:endParaRPr lang="en-US" sz="1400" dirty="0">
              <a:solidFill>
                <a:schemeClr val="tx1">
                  <a:hueOff val="0"/>
                  <a:satOff val="0"/>
                  <a:lumOff val="0"/>
                  <a:alphaOff val="0"/>
                </a:schemeClr>
              </a:solidFill>
              <a:latin typeface="Arial" panose="020B0604020202020204" pitchFamily="34" charset="0"/>
              <a:cs typeface="Arial" panose="020B0604020202020204" pitchFamily="34" charset="0"/>
            </a:endParaRPr>
          </a:p>
        </p:txBody>
      </p:sp>
      <p:cxnSp>
        <p:nvCxnSpPr>
          <p:cNvPr id="33" name="Elbow Connector 38">
            <a:extLst>
              <a:ext uri="{FF2B5EF4-FFF2-40B4-BE49-F238E27FC236}">
                <a16:creationId xmlns:a16="http://schemas.microsoft.com/office/drawing/2014/main" id="{96AE0ACD-0F0D-4586-A740-0E8B0D00B43A}"/>
              </a:ext>
            </a:extLst>
          </p:cNvPr>
          <p:cNvCxnSpPr>
            <a:cxnSpLocks/>
            <a:stCxn id="21" idx="1"/>
            <a:endCxn id="32" idx="1"/>
          </p:cNvCxnSpPr>
          <p:nvPr/>
        </p:nvCxnSpPr>
        <p:spPr>
          <a:xfrm flipV="1">
            <a:off x="3785501" y="4331252"/>
            <a:ext cx="447443" cy="272223"/>
          </a:xfrm>
          <a:prstGeom prst="bentConnector3">
            <a:avLst/>
          </a:prstGeom>
          <a:ln w="12700"/>
        </p:spPr>
        <p:style>
          <a:lnRef idx="1">
            <a:schemeClr val="dk1"/>
          </a:lnRef>
          <a:fillRef idx="0">
            <a:schemeClr val="dk1"/>
          </a:fillRef>
          <a:effectRef idx="0">
            <a:schemeClr val="dk1"/>
          </a:effectRef>
          <a:fontRef idx="minor">
            <a:schemeClr val="tx1"/>
          </a:fontRef>
        </p:style>
      </p:cxnSp>
      <p:cxnSp>
        <p:nvCxnSpPr>
          <p:cNvPr id="34" name="Elbow Connector 38">
            <a:extLst>
              <a:ext uri="{FF2B5EF4-FFF2-40B4-BE49-F238E27FC236}">
                <a16:creationId xmlns:a16="http://schemas.microsoft.com/office/drawing/2014/main" id="{71156BAC-C019-41C7-9C98-88683D782849}"/>
              </a:ext>
            </a:extLst>
          </p:cNvPr>
          <p:cNvCxnSpPr>
            <a:cxnSpLocks/>
            <a:stCxn id="25" idx="1"/>
            <a:endCxn id="32" idx="1"/>
          </p:cNvCxnSpPr>
          <p:nvPr/>
        </p:nvCxnSpPr>
        <p:spPr>
          <a:xfrm>
            <a:off x="3800903" y="4022645"/>
            <a:ext cx="432041" cy="30860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Elbow Connector 38">
            <a:extLst>
              <a:ext uri="{FF2B5EF4-FFF2-40B4-BE49-F238E27FC236}">
                <a16:creationId xmlns:a16="http://schemas.microsoft.com/office/drawing/2014/main" id="{CE1F4FB4-CA95-4F47-AD7D-FBC123C864F2}"/>
              </a:ext>
            </a:extLst>
          </p:cNvPr>
          <p:cNvCxnSpPr>
            <a:cxnSpLocks/>
            <a:stCxn id="29" idx="1"/>
          </p:cNvCxnSpPr>
          <p:nvPr/>
        </p:nvCxnSpPr>
        <p:spPr>
          <a:xfrm>
            <a:off x="3800902" y="3222709"/>
            <a:ext cx="432042" cy="0"/>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Elbow Connector 38">
            <a:extLst>
              <a:ext uri="{FF2B5EF4-FFF2-40B4-BE49-F238E27FC236}">
                <a16:creationId xmlns:a16="http://schemas.microsoft.com/office/drawing/2014/main" id="{A26D3592-1B67-42CE-9B4F-99EC8671F6FA}"/>
              </a:ext>
            </a:extLst>
          </p:cNvPr>
          <p:cNvCxnSpPr>
            <a:cxnSpLocks/>
            <a:stCxn id="44" idx="1"/>
          </p:cNvCxnSpPr>
          <p:nvPr/>
        </p:nvCxnSpPr>
        <p:spPr>
          <a:xfrm>
            <a:off x="3800902" y="2561029"/>
            <a:ext cx="463958" cy="0"/>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Box 22">
            <a:extLst>
              <a:ext uri="{FF2B5EF4-FFF2-40B4-BE49-F238E27FC236}">
                <a16:creationId xmlns:a16="http://schemas.microsoft.com/office/drawing/2014/main" id="{247ADDBA-9590-4362-A0CC-043F8EB78A69}"/>
              </a:ext>
            </a:extLst>
          </p:cNvPr>
          <p:cNvSpPr txBox="1"/>
          <p:nvPr/>
        </p:nvSpPr>
        <p:spPr>
          <a:xfrm rot="5416703">
            <a:off x="5819374" y="4228819"/>
            <a:ext cx="1403006" cy="248209"/>
          </a:xfrm>
          <a:prstGeom prst="rect">
            <a:avLst/>
          </a:prstGeom>
          <a:solidFill>
            <a:schemeClr val="tx1">
              <a:lumMod val="50000"/>
              <a:lumOff val="50000"/>
            </a:schemeClr>
          </a:solidFill>
          <a:ln>
            <a:noFill/>
          </a:ln>
        </p:spPr>
        <p:txBody>
          <a:bodyPr wrap="square" rtlCol="0">
            <a:spAutoFit/>
          </a:bodyPr>
          <a:lstStyle/>
          <a:p>
            <a:pPr algn="ctr" defTabSz="257175">
              <a:defRPr/>
            </a:pPr>
            <a:r>
              <a:rPr lang="ru-RU" sz="1013" b="1" dirty="0">
                <a:solidFill>
                  <a:schemeClr val="bg1"/>
                </a:solidFill>
                <a:latin typeface="Arial" panose="020B0604020202020204" pitchFamily="34" charset="0"/>
                <a:ea typeface="Roboto" pitchFamily="2" charset="0"/>
                <a:cs typeface="Arial" panose="020B0604020202020204" pitchFamily="34" charset="0"/>
              </a:rPr>
              <a:t>качественная</a:t>
            </a:r>
            <a:endParaRPr lang="en-US" sz="1013" b="1" dirty="0">
              <a:solidFill>
                <a:schemeClr val="bg1"/>
              </a:solidFill>
              <a:latin typeface="Arial" panose="020B0604020202020204" pitchFamily="34" charset="0"/>
              <a:ea typeface="Roboto" pitchFamily="2" charset="0"/>
              <a:cs typeface="Arial" panose="020B0604020202020204" pitchFamily="34" charset="0"/>
            </a:endParaRPr>
          </a:p>
        </p:txBody>
      </p:sp>
      <p:sp>
        <p:nvSpPr>
          <p:cNvPr id="38" name="TextBox 22">
            <a:extLst>
              <a:ext uri="{FF2B5EF4-FFF2-40B4-BE49-F238E27FC236}">
                <a16:creationId xmlns:a16="http://schemas.microsoft.com/office/drawing/2014/main" id="{7E537510-5393-442A-A4DC-E778512172DB}"/>
              </a:ext>
            </a:extLst>
          </p:cNvPr>
          <p:cNvSpPr txBox="1"/>
          <p:nvPr/>
        </p:nvSpPr>
        <p:spPr>
          <a:xfrm rot="5416703">
            <a:off x="5818988" y="2791565"/>
            <a:ext cx="1402350" cy="248209"/>
          </a:xfrm>
          <a:prstGeom prst="rect">
            <a:avLst/>
          </a:prstGeom>
          <a:solidFill>
            <a:schemeClr val="tx1">
              <a:lumMod val="50000"/>
              <a:lumOff val="50000"/>
            </a:schemeClr>
          </a:solidFill>
          <a:ln>
            <a:noFill/>
          </a:ln>
        </p:spPr>
        <p:txBody>
          <a:bodyPr wrap="square" rtlCol="0">
            <a:spAutoFit/>
          </a:bodyPr>
          <a:lstStyle/>
          <a:p>
            <a:pPr algn="ctr" defTabSz="257175">
              <a:defRPr/>
            </a:pPr>
            <a:r>
              <a:rPr lang="ru-RU" sz="1013" b="1" dirty="0">
                <a:solidFill>
                  <a:schemeClr val="bg1"/>
                </a:solidFill>
                <a:latin typeface="Arial" panose="020B0604020202020204" pitchFamily="34" charset="0"/>
                <a:ea typeface="Roboto" pitchFamily="2" charset="0"/>
                <a:cs typeface="Arial" panose="020B0604020202020204" pitchFamily="34" charset="0"/>
              </a:rPr>
              <a:t>количественная</a:t>
            </a:r>
            <a:endParaRPr lang="en-US" sz="1013" b="1" dirty="0">
              <a:solidFill>
                <a:schemeClr val="bg1"/>
              </a:solidFill>
              <a:latin typeface="Arial" panose="020B0604020202020204" pitchFamily="34" charset="0"/>
              <a:ea typeface="Roboto" pitchFamily="2" charset="0"/>
              <a:cs typeface="Arial" panose="020B0604020202020204" pitchFamily="34" charset="0"/>
            </a:endParaRPr>
          </a:p>
        </p:txBody>
      </p:sp>
      <p:sp>
        <p:nvSpPr>
          <p:cNvPr id="39" name="TextBox 38">
            <a:extLst>
              <a:ext uri="{FF2B5EF4-FFF2-40B4-BE49-F238E27FC236}">
                <a16:creationId xmlns:a16="http://schemas.microsoft.com/office/drawing/2014/main" id="{DC60D384-8428-4B75-B195-588B9F72186D}"/>
              </a:ext>
            </a:extLst>
          </p:cNvPr>
          <p:cNvSpPr txBox="1"/>
          <p:nvPr/>
        </p:nvSpPr>
        <p:spPr>
          <a:xfrm>
            <a:off x="4274647" y="2407140"/>
            <a:ext cx="1563962" cy="52322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ru-RU" sz="1400" dirty="0">
                <a:solidFill>
                  <a:schemeClr val="tx1">
                    <a:hueOff val="0"/>
                    <a:satOff val="0"/>
                    <a:lumOff val="0"/>
                    <a:alphaOff val="0"/>
                  </a:schemeClr>
                </a:solidFill>
                <a:latin typeface="Arial" panose="020B0604020202020204" pitchFamily="34" charset="0"/>
                <a:cs typeface="Arial" panose="020B0604020202020204" pitchFamily="34" charset="0"/>
              </a:rPr>
              <a:t>Обязательный инструмент</a:t>
            </a:r>
            <a:endParaRPr lang="en-US" sz="1400" dirty="0">
              <a:solidFill>
                <a:schemeClr val="tx1">
                  <a:hueOff val="0"/>
                  <a:satOff val="0"/>
                  <a:lumOff val="0"/>
                  <a:alphaOff val="0"/>
                </a:schemeClr>
              </a:solidFill>
              <a:latin typeface="Arial" panose="020B0604020202020204" pitchFamily="34" charset="0"/>
              <a:cs typeface="Arial" panose="020B0604020202020204" pitchFamily="34" charset="0"/>
            </a:endParaRPr>
          </a:p>
        </p:txBody>
      </p:sp>
      <p:sp>
        <p:nvSpPr>
          <p:cNvPr id="40" name="TextBox 16">
            <a:extLst>
              <a:ext uri="{FF2B5EF4-FFF2-40B4-BE49-F238E27FC236}">
                <a16:creationId xmlns:a16="http://schemas.microsoft.com/office/drawing/2014/main" id="{B8344C6B-5DF9-4E2D-A855-DD6383053817}"/>
              </a:ext>
            </a:extLst>
          </p:cNvPr>
          <p:cNvSpPr txBox="1"/>
          <p:nvPr/>
        </p:nvSpPr>
        <p:spPr>
          <a:xfrm>
            <a:off x="6715022" y="2249875"/>
            <a:ext cx="2540515" cy="1600438"/>
          </a:xfrm>
          <a:prstGeom prst="rect">
            <a:avLst/>
          </a:prstGeom>
          <a:solidFill>
            <a:schemeClr val="bg1"/>
          </a:solidFill>
        </p:spPr>
        <p:txBody>
          <a:bodyPr wrap="square" rtlCol="0">
            <a:spAutoFit/>
          </a:bodyPr>
          <a:lstStyle/>
          <a:p>
            <a:pPr defTabSz="342900">
              <a:defRPr/>
            </a:pPr>
            <a:r>
              <a:rPr lang="ru-RU" sz="1400" b="1" kern="0" dirty="0">
                <a:solidFill>
                  <a:prstClr val="black"/>
                </a:solidFill>
                <a:latin typeface="Arial" panose="020B0604020202020204" pitchFamily="34" charset="0"/>
                <a:ea typeface="Roboto" pitchFamily="2" charset="0"/>
                <a:cs typeface="Arial" panose="020B0604020202020204" pitchFamily="34" charset="0"/>
              </a:rPr>
              <a:t>Оценка потенциала ММСП посредством</a:t>
            </a:r>
            <a:endParaRPr lang="en-GB" sz="1400" b="1" kern="0" dirty="0">
              <a:solidFill>
                <a:prstClr val="black"/>
              </a:solidFill>
              <a:latin typeface="Arial" panose="020B0604020202020204" pitchFamily="34" charset="0"/>
              <a:ea typeface="Roboto" pitchFamily="2" charset="0"/>
              <a:cs typeface="Arial" panose="020B0604020202020204" pitchFamily="34" charset="0"/>
            </a:endParaRPr>
          </a:p>
          <a:p>
            <a:pPr marL="257175" indent="-257175" defTabSz="342900">
              <a:buFont typeface="Arial" panose="020B0604020202020204" pitchFamily="34" charset="0"/>
              <a:buChar char="•"/>
              <a:defRPr/>
            </a:pPr>
            <a:r>
              <a:rPr lang="ru-RU" sz="1400" kern="0" dirty="0">
                <a:solidFill>
                  <a:prstClr val="black"/>
                </a:solidFill>
                <a:latin typeface="Arial" panose="020B0604020202020204" pitchFamily="34" charset="0"/>
                <a:ea typeface="Roboto" pitchFamily="2" charset="0"/>
                <a:cs typeface="Arial" panose="020B0604020202020204" pitchFamily="34" charset="0"/>
              </a:rPr>
              <a:t>Самооценка </a:t>
            </a:r>
            <a:endParaRPr lang="en-GB" sz="1400" kern="0" dirty="0">
              <a:solidFill>
                <a:prstClr val="black"/>
              </a:solidFill>
              <a:latin typeface="Arial" panose="020B0604020202020204" pitchFamily="34" charset="0"/>
              <a:ea typeface="Roboto" pitchFamily="2" charset="0"/>
              <a:cs typeface="Arial" panose="020B0604020202020204" pitchFamily="34" charset="0"/>
            </a:endParaRPr>
          </a:p>
          <a:p>
            <a:pPr marL="257175" indent="-257175" defTabSz="342900">
              <a:buFont typeface="Arial" panose="020B0604020202020204" pitchFamily="34" charset="0"/>
              <a:buChar char="•"/>
              <a:defRPr/>
            </a:pPr>
            <a:r>
              <a:rPr lang="ru-RU" sz="1400" kern="0" dirty="0">
                <a:solidFill>
                  <a:prstClr val="black"/>
                </a:solidFill>
                <a:latin typeface="Arial" panose="020B0604020202020204" pitchFamily="34" charset="0"/>
                <a:ea typeface="Roboto" pitchFamily="2" charset="0"/>
                <a:cs typeface="Arial" panose="020B0604020202020204" pitchFamily="34" charset="0"/>
              </a:rPr>
              <a:t>Детальные обсуждения с фасилитацией</a:t>
            </a:r>
            <a:endParaRPr lang="en-GB" sz="1400" kern="0" dirty="0">
              <a:solidFill>
                <a:prstClr val="black"/>
              </a:solidFill>
              <a:latin typeface="Arial" panose="020B0604020202020204" pitchFamily="34" charset="0"/>
              <a:ea typeface="Roboto" pitchFamily="2" charset="0"/>
              <a:cs typeface="Arial" panose="020B0604020202020204" pitchFamily="34" charset="0"/>
            </a:endParaRPr>
          </a:p>
          <a:p>
            <a:pPr marL="257175" indent="-257175" defTabSz="342900">
              <a:buFont typeface="Arial" panose="020B0604020202020204" pitchFamily="34" charset="0"/>
              <a:buChar char="•"/>
              <a:defRPr/>
            </a:pPr>
            <a:r>
              <a:rPr lang="ru-RU" sz="1400" kern="0" dirty="0">
                <a:solidFill>
                  <a:prstClr val="black"/>
                </a:solidFill>
                <a:latin typeface="Arial" panose="020B0604020202020204" pitchFamily="34" charset="0"/>
                <a:ea typeface="Roboto" pitchFamily="2" charset="0"/>
                <a:cs typeface="Arial" panose="020B0604020202020204" pitchFamily="34" charset="0"/>
              </a:rPr>
              <a:t>Структурированные выездные миссии</a:t>
            </a:r>
            <a:endParaRPr lang="en-GB" sz="1400" kern="0" dirty="0">
              <a:solidFill>
                <a:prstClr val="black"/>
              </a:solidFill>
              <a:latin typeface="Arial" panose="020B0604020202020204" pitchFamily="34" charset="0"/>
              <a:ea typeface="Roboto" pitchFamily="2" charset="0"/>
              <a:cs typeface="Arial" panose="020B0604020202020204" pitchFamily="34" charset="0"/>
            </a:endParaRPr>
          </a:p>
        </p:txBody>
      </p:sp>
      <p:sp>
        <p:nvSpPr>
          <p:cNvPr id="41" name="TextBox 16">
            <a:extLst>
              <a:ext uri="{FF2B5EF4-FFF2-40B4-BE49-F238E27FC236}">
                <a16:creationId xmlns:a16="http://schemas.microsoft.com/office/drawing/2014/main" id="{1960B256-D656-4E53-A7C9-C95CA1043D9D}"/>
              </a:ext>
            </a:extLst>
          </p:cNvPr>
          <p:cNvSpPr txBox="1"/>
          <p:nvPr/>
        </p:nvSpPr>
        <p:spPr>
          <a:xfrm>
            <a:off x="6715023" y="3803249"/>
            <a:ext cx="2622549" cy="1169551"/>
          </a:xfrm>
          <a:prstGeom prst="rect">
            <a:avLst/>
          </a:prstGeom>
          <a:solidFill>
            <a:schemeClr val="bg1"/>
          </a:solidFill>
        </p:spPr>
        <p:txBody>
          <a:bodyPr wrap="square" rtlCol="0">
            <a:spAutoFit/>
          </a:bodyPr>
          <a:lstStyle/>
          <a:p>
            <a:pPr defTabSz="342900">
              <a:defRPr/>
            </a:pPr>
            <a:r>
              <a:rPr lang="ru-RU" sz="1400" b="1" kern="0" dirty="0">
                <a:solidFill>
                  <a:prstClr val="black"/>
                </a:solidFill>
                <a:latin typeface="Arial" panose="020B0604020202020204" pitchFamily="34" charset="0"/>
                <a:ea typeface="Roboto" pitchFamily="2" charset="0"/>
                <a:cs typeface="Arial" panose="020B0604020202020204" pitchFamily="34" charset="0"/>
              </a:rPr>
              <a:t>Оценка функциональных  способностей</a:t>
            </a:r>
            <a:endParaRPr lang="en-GB" sz="1400" b="1" kern="0" dirty="0">
              <a:solidFill>
                <a:prstClr val="black"/>
              </a:solidFill>
              <a:latin typeface="Arial" panose="020B0604020202020204" pitchFamily="34" charset="0"/>
              <a:ea typeface="Roboto" pitchFamily="2" charset="0"/>
              <a:cs typeface="Arial" panose="020B0604020202020204" pitchFamily="34" charset="0"/>
            </a:endParaRPr>
          </a:p>
          <a:p>
            <a:pPr marL="257175" indent="-257175" defTabSz="342900">
              <a:buFont typeface="Arial" panose="020B0604020202020204" pitchFamily="34" charset="0"/>
              <a:buChar char="•"/>
              <a:defRPr/>
            </a:pPr>
            <a:r>
              <a:rPr lang="ru-RU" sz="1400" kern="0" dirty="0">
                <a:solidFill>
                  <a:prstClr val="black"/>
                </a:solidFill>
                <a:latin typeface="Arial" panose="020B0604020202020204" pitchFamily="34" charset="0"/>
                <a:ea typeface="Roboto" pitchFamily="2" charset="0"/>
                <a:cs typeface="Arial" panose="020B0604020202020204" pitchFamily="34" charset="0"/>
              </a:rPr>
              <a:t>Как это должно работать?</a:t>
            </a:r>
          </a:p>
          <a:p>
            <a:pPr marL="257175" indent="-257175" defTabSz="342900">
              <a:buFont typeface="Arial" panose="020B0604020202020204" pitchFamily="34" charset="0"/>
              <a:buChar char="•"/>
              <a:defRPr/>
            </a:pPr>
            <a:r>
              <a:rPr lang="ru-RU" sz="1400" kern="0" dirty="0">
                <a:solidFill>
                  <a:prstClr val="black"/>
                </a:solidFill>
                <a:latin typeface="Arial" panose="020B0604020202020204" pitchFamily="34" charset="0"/>
                <a:ea typeface="Roboto" pitchFamily="2" charset="0"/>
                <a:cs typeface="Arial" panose="020B0604020202020204" pitchFamily="34" charset="0"/>
              </a:rPr>
              <a:t>Это работает?</a:t>
            </a:r>
          </a:p>
          <a:p>
            <a:pPr marL="257175" indent="-257175" defTabSz="342900">
              <a:buFont typeface="Arial" panose="020B0604020202020204" pitchFamily="34" charset="0"/>
              <a:buChar char="•"/>
              <a:defRPr/>
            </a:pPr>
            <a:r>
              <a:rPr lang="ru-RU" sz="1400" kern="0" dirty="0">
                <a:solidFill>
                  <a:prstClr val="black"/>
                </a:solidFill>
                <a:latin typeface="Arial" panose="020B0604020202020204" pitchFamily="34" charset="0"/>
                <a:ea typeface="Roboto" pitchFamily="2" charset="0"/>
                <a:cs typeface="Arial" panose="020B0604020202020204" pitchFamily="34" charset="0"/>
              </a:rPr>
              <a:t>Как можно улучшить?</a:t>
            </a:r>
            <a:endParaRPr lang="en-GB" sz="1400" kern="0" dirty="0">
              <a:solidFill>
                <a:prstClr val="black"/>
              </a:solidFill>
              <a:latin typeface="Arial" panose="020B0604020202020204" pitchFamily="34" charset="0"/>
              <a:ea typeface="Roboto" pitchFamily="2" charset="0"/>
              <a:cs typeface="Arial" panose="020B0604020202020204" pitchFamily="34" charset="0"/>
            </a:endParaRPr>
          </a:p>
        </p:txBody>
      </p:sp>
      <p:grpSp>
        <p:nvGrpSpPr>
          <p:cNvPr id="42" name="Group 41">
            <a:extLst>
              <a:ext uri="{FF2B5EF4-FFF2-40B4-BE49-F238E27FC236}">
                <a16:creationId xmlns:a16="http://schemas.microsoft.com/office/drawing/2014/main" id="{C7D1655C-002C-491C-983F-38F510921257}"/>
              </a:ext>
            </a:extLst>
          </p:cNvPr>
          <p:cNvGrpSpPr/>
          <p:nvPr/>
        </p:nvGrpSpPr>
        <p:grpSpPr>
          <a:xfrm>
            <a:off x="1616231" y="2341633"/>
            <a:ext cx="2184671" cy="438794"/>
            <a:chOff x="1432981" y="1206678"/>
            <a:chExt cx="3883860" cy="780079"/>
          </a:xfrm>
        </p:grpSpPr>
        <p:sp>
          <p:nvSpPr>
            <p:cNvPr id="43" name="Freeform: Shape 42">
              <a:extLst>
                <a:ext uri="{FF2B5EF4-FFF2-40B4-BE49-F238E27FC236}">
                  <a16:creationId xmlns:a16="http://schemas.microsoft.com/office/drawing/2014/main" id="{187BABB3-8DEC-4326-8793-A4DA2C70EB8E}"/>
                </a:ext>
              </a:extLst>
            </p:cNvPr>
            <p:cNvSpPr/>
            <p:nvPr/>
          </p:nvSpPr>
          <p:spPr>
            <a:xfrm>
              <a:off x="2420298" y="1279585"/>
              <a:ext cx="2753789" cy="634266"/>
            </a:xfrm>
            <a:custGeom>
              <a:avLst/>
              <a:gdLst>
                <a:gd name="connsiteX0" fmla="*/ 0 w 1500060"/>
                <a:gd name="connsiteY0" fmla="*/ 0 h 1084527"/>
                <a:gd name="connsiteX1" fmla="*/ 1500060 w 1500060"/>
                <a:gd name="connsiteY1" fmla="*/ 0 h 1084527"/>
                <a:gd name="connsiteX2" fmla="*/ 1500060 w 1500060"/>
                <a:gd name="connsiteY2" fmla="*/ 1084527 h 1084527"/>
                <a:gd name="connsiteX3" fmla="*/ 0 w 1500060"/>
                <a:gd name="connsiteY3" fmla="*/ 1084527 h 1084527"/>
                <a:gd name="connsiteX4" fmla="*/ 0 w 1500060"/>
                <a:gd name="connsiteY4" fmla="*/ 0 h 1084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0060" h="1084527">
                  <a:moveTo>
                    <a:pt x="0" y="0"/>
                  </a:moveTo>
                  <a:lnTo>
                    <a:pt x="1500060" y="0"/>
                  </a:lnTo>
                  <a:lnTo>
                    <a:pt x="1500060" y="1084527"/>
                  </a:lnTo>
                  <a:lnTo>
                    <a:pt x="0" y="1084527"/>
                  </a:lnTo>
                  <a:lnTo>
                    <a:pt x="0" y="0"/>
                  </a:lnTo>
                  <a:close/>
                </a:path>
              </a:pathLst>
            </a:custGeom>
            <a:ln w="28575">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859" tIns="12859" rIns="12859" bIns="12859" numCol="1" spcCol="1270" anchor="ctr" anchorCtr="0">
              <a:noAutofit/>
            </a:bodyPr>
            <a:lstStyle/>
            <a:p>
              <a:pPr defTabSz="450056">
                <a:lnSpc>
                  <a:spcPct val="90000"/>
                </a:lnSpc>
                <a:spcBef>
                  <a:spcPct val="0"/>
                </a:spcBef>
                <a:spcAft>
                  <a:spcPct val="10000"/>
                </a:spcAft>
              </a:pPr>
              <a:r>
                <a:rPr lang="ru-RU" sz="800" b="1" dirty="0">
                  <a:latin typeface="Arial" panose="020B0604020202020204" pitchFamily="34" charset="0"/>
                  <a:cs typeface="Arial" panose="020B0604020202020204" pitchFamily="34" charset="0"/>
                </a:rPr>
                <a:t>ЕЖЕГОДНАЯ ОТЧЕТНОСТЬ ГОСУДАРСТВА-УЧАСТНИКА</a:t>
              </a:r>
              <a:endParaRPr lang="en-US" sz="800" dirty="0"/>
            </a:p>
          </p:txBody>
        </p:sp>
        <p:sp>
          <p:nvSpPr>
            <p:cNvPr id="44" name="Arrow: Pentagon 43">
              <a:extLst>
                <a:ext uri="{FF2B5EF4-FFF2-40B4-BE49-F238E27FC236}">
                  <a16:creationId xmlns:a16="http://schemas.microsoft.com/office/drawing/2014/main" id="{F007A61E-19B3-4102-ADE4-5929574B7E6C}"/>
                </a:ext>
              </a:extLst>
            </p:cNvPr>
            <p:cNvSpPr/>
            <p:nvPr/>
          </p:nvSpPr>
          <p:spPr>
            <a:xfrm rot="10800000">
              <a:off x="1795630" y="1223925"/>
              <a:ext cx="3521211" cy="745584"/>
            </a:xfrm>
            <a:prstGeom prst="homePlate">
              <a:avLst>
                <a:gd name="adj" fmla="val 68681"/>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45" name="Oval 44">
              <a:extLst>
                <a:ext uri="{FF2B5EF4-FFF2-40B4-BE49-F238E27FC236}">
                  <a16:creationId xmlns:a16="http://schemas.microsoft.com/office/drawing/2014/main" id="{E70375F2-EC50-43CA-B58F-5B863B240D9F}"/>
                </a:ext>
              </a:extLst>
            </p:cNvPr>
            <p:cNvSpPr/>
            <p:nvPr/>
          </p:nvSpPr>
          <p:spPr>
            <a:xfrm>
              <a:off x="1432981" y="1206678"/>
              <a:ext cx="780242" cy="780079"/>
            </a:xfrm>
            <a:prstGeom prst="ellipse">
              <a:avLst/>
            </a:prstGeom>
            <a:blipFill rotWithShape="1">
              <a:blip r:embed="rId6" cstate="print">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46" name="Rectangle 45">
            <a:extLst>
              <a:ext uri="{FF2B5EF4-FFF2-40B4-BE49-F238E27FC236}">
                <a16:creationId xmlns:a16="http://schemas.microsoft.com/office/drawing/2014/main" id="{6F091E0C-00A5-4ADC-90A9-B99C7D57CBCE}"/>
              </a:ext>
            </a:extLst>
          </p:cNvPr>
          <p:cNvSpPr/>
          <p:nvPr/>
        </p:nvSpPr>
        <p:spPr>
          <a:xfrm>
            <a:off x="528320" y="2214719"/>
            <a:ext cx="8793850" cy="284030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7" name="Elbow Connector 38">
            <a:extLst>
              <a:ext uri="{FF2B5EF4-FFF2-40B4-BE49-F238E27FC236}">
                <a16:creationId xmlns:a16="http://schemas.microsoft.com/office/drawing/2014/main" id="{BBA4BCD7-298F-4BF3-B0C1-BF49EDFE25A8}"/>
              </a:ext>
            </a:extLst>
          </p:cNvPr>
          <p:cNvCxnSpPr>
            <a:cxnSpLocks/>
          </p:cNvCxnSpPr>
          <p:nvPr/>
        </p:nvCxnSpPr>
        <p:spPr>
          <a:xfrm>
            <a:off x="9322170" y="3762195"/>
            <a:ext cx="312718"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15975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2A928D1-A379-4899-88C5-0CD65FC8D205}"/>
              </a:ext>
            </a:extLst>
          </p:cNvPr>
          <p:cNvSpPr/>
          <p:nvPr/>
        </p:nvSpPr>
        <p:spPr>
          <a:xfrm>
            <a:off x="7146524" y="3176"/>
            <a:ext cx="5045476" cy="685482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6" name="Oval 15">
            <a:extLst>
              <a:ext uri="{FF2B5EF4-FFF2-40B4-BE49-F238E27FC236}">
                <a16:creationId xmlns:a16="http://schemas.microsoft.com/office/drawing/2014/main" id="{14233AA4-F7A5-43A7-92E8-00345DAF3455}"/>
              </a:ext>
            </a:extLst>
          </p:cNvPr>
          <p:cNvSpPr>
            <a:spLocks noChangeAspect="1"/>
          </p:cNvSpPr>
          <p:nvPr/>
        </p:nvSpPr>
        <p:spPr>
          <a:xfrm>
            <a:off x="1351013" y="1511488"/>
            <a:ext cx="4330105" cy="4330105"/>
          </a:xfrm>
          <a:prstGeom prst="ellipse">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 name="Oval 6">
            <a:extLst>
              <a:ext uri="{FF2B5EF4-FFF2-40B4-BE49-F238E27FC236}">
                <a16:creationId xmlns:a16="http://schemas.microsoft.com/office/drawing/2014/main" id="{76DD29BA-627E-46B7-9459-394F93FA2C4E}"/>
              </a:ext>
            </a:extLst>
          </p:cNvPr>
          <p:cNvSpPr>
            <a:spLocks noChangeAspect="1"/>
          </p:cNvSpPr>
          <p:nvPr/>
        </p:nvSpPr>
        <p:spPr>
          <a:xfrm rot="2723860">
            <a:off x="1698165" y="2678962"/>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6" name="Oval 5">
            <a:extLst>
              <a:ext uri="{FF2B5EF4-FFF2-40B4-BE49-F238E27FC236}">
                <a16:creationId xmlns:a16="http://schemas.microsoft.com/office/drawing/2014/main" id="{0CFE0312-1FC9-4AB5-9CBA-A4AEA9E4AD0B}"/>
              </a:ext>
            </a:extLst>
          </p:cNvPr>
          <p:cNvSpPr>
            <a:spLocks noChangeAspect="1"/>
          </p:cNvSpPr>
          <p:nvPr/>
        </p:nvSpPr>
        <p:spPr>
          <a:xfrm rot="2723860">
            <a:off x="2992839" y="2677848"/>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5" name="Oval 4">
            <a:extLst>
              <a:ext uri="{FF2B5EF4-FFF2-40B4-BE49-F238E27FC236}">
                <a16:creationId xmlns:a16="http://schemas.microsoft.com/office/drawing/2014/main" id="{DA26C471-FCA9-4D3E-A788-DB0630D6E617}"/>
              </a:ext>
            </a:extLst>
          </p:cNvPr>
          <p:cNvSpPr>
            <a:spLocks noChangeAspect="1"/>
          </p:cNvSpPr>
          <p:nvPr/>
        </p:nvSpPr>
        <p:spPr>
          <a:xfrm rot="2723860">
            <a:off x="2389781" y="2322021"/>
            <a:ext cx="2334375" cy="2335708"/>
          </a:xfrm>
          <a:prstGeom prst="ellipse">
            <a:avLst/>
          </a:prstGeom>
          <a:solidFill>
            <a:srgbClr val="FFFFFF">
              <a:alpha val="69804"/>
            </a:srgbClr>
          </a:solidFill>
          <a:ln w="38100" cap="flat" cmpd="sng" algn="ctr">
            <a:gradFill flip="none" rotWithShape="1">
              <a:gsLst>
                <a:gs pos="0">
                  <a:srgbClr val="002060">
                    <a:alpha val="79000"/>
                  </a:srgbClr>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6AB185ED-8AD2-476A-8BCF-A4798520B094}"/>
              </a:ext>
            </a:extLst>
          </p:cNvPr>
          <p:cNvSpPr txBox="1"/>
          <p:nvPr/>
        </p:nvSpPr>
        <p:spPr>
          <a:xfrm>
            <a:off x="2756460" y="2922629"/>
            <a:ext cx="1543839" cy="400110"/>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2000" i="0" u="none" strike="noStrike" kern="1200" cap="none" spc="0" normalizeH="0" baseline="0" noProof="0" dirty="0">
                <a:ln>
                  <a:noFill/>
                </a:ln>
                <a:solidFill>
                  <a:schemeClr val="tx1">
                    <a:lumMod val="85000"/>
                    <a:lumOff val="15000"/>
                  </a:schemeClr>
                </a:solidFill>
                <a:effectLst/>
                <a:uLnTx/>
                <a:uFillTx/>
                <a:latin typeface="Abadi" panose="020B0604020104020204" pitchFamily="34" charset="0"/>
                <a:ea typeface="+mn-ea"/>
                <a:cs typeface="+mn-cs"/>
              </a:rPr>
              <a:t>ПМСП</a:t>
            </a:r>
            <a:endParaRPr kumimoji="0" lang="en-US" sz="2000" i="0" u="none" strike="noStrike" kern="1200" cap="none" spc="0" normalizeH="0" baseline="0" noProof="0" dirty="0">
              <a:ln>
                <a:noFill/>
              </a:ln>
              <a:solidFill>
                <a:schemeClr val="tx1">
                  <a:lumMod val="85000"/>
                  <a:lumOff val="15000"/>
                </a:schemeClr>
              </a:solidFill>
              <a:effectLst/>
              <a:uLnTx/>
              <a:uFillTx/>
              <a:latin typeface="Abadi" panose="020B0604020104020204" pitchFamily="34" charset="0"/>
              <a:ea typeface="+mn-ea"/>
              <a:cs typeface="+mn-cs"/>
            </a:endParaRPr>
          </a:p>
        </p:txBody>
      </p:sp>
      <p:sp>
        <p:nvSpPr>
          <p:cNvPr id="9" name="TextBox 8">
            <a:extLst>
              <a:ext uri="{FF2B5EF4-FFF2-40B4-BE49-F238E27FC236}">
                <a16:creationId xmlns:a16="http://schemas.microsoft.com/office/drawing/2014/main" id="{A4065693-F18F-45C7-83C0-D2E55D73F810}"/>
              </a:ext>
            </a:extLst>
          </p:cNvPr>
          <p:cNvSpPr txBox="1"/>
          <p:nvPr/>
        </p:nvSpPr>
        <p:spPr>
          <a:xfrm>
            <a:off x="3516065" y="3700699"/>
            <a:ext cx="1543839" cy="707886"/>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2000" i="0" u="none" strike="noStrike" kern="1200" cap="none" spc="0" normalizeH="0" baseline="0" noProof="0" dirty="0">
                <a:ln>
                  <a:noFill/>
                </a:ln>
                <a:solidFill>
                  <a:schemeClr val="tx1">
                    <a:lumMod val="85000"/>
                    <a:lumOff val="15000"/>
                  </a:schemeClr>
                </a:solidFill>
                <a:effectLst/>
                <a:uLnTx/>
                <a:uFillTx/>
                <a:latin typeface="Abadi" panose="020B0604020104020204" pitchFamily="34" charset="0"/>
                <a:ea typeface="+mn-ea"/>
                <a:cs typeface="+mn-cs"/>
              </a:rPr>
              <a:t>Охрана здоровья</a:t>
            </a:r>
            <a:endParaRPr kumimoji="0" lang="en-US" sz="2000" i="0" u="none" strike="noStrike" kern="1200" cap="none" spc="0" normalizeH="0" baseline="0" noProof="0" dirty="0">
              <a:ln>
                <a:noFill/>
              </a:ln>
              <a:solidFill>
                <a:schemeClr val="tx1">
                  <a:lumMod val="85000"/>
                  <a:lumOff val="15000"/>
                </a:schemeClr>
              </a:solidFill>
              <a:effectLst/>
              <a:uLnTx/>
              <a:uFillTx/>
              <a:latin typeface="Abadi" panose="020B0604020104020204" pitchFamily="34" charset="0"/>
              <a:ea typeface="+mn-ea"/>
              <a:cs typeface="+mn-cs"/>
            </a:endParaRPr>
          </a:p>
        </p:txBody>
      </p:sp>
      <p:sp>
        <p:nvSpPr>
          <p:cNvPr id="10" name="TextBox 9">
            <a:extLst>
              <a:ext uri="{FF2B5EF4-FFF2-40B4-BE49-F238E27FC236}">
                <a16:creationId xmlns:a16="http://schemas.microsoft.com/office/drawing/2014/main" id="{5D9BDAA2-6562-4920-9003-1B1B9CE5EFE0}"/>
              </a:ext>
            </a:extLst>
          </p:cNvPr>
          <p:cNvSpPr txBox="1"/>
          <p:nvPr/>
        </p:nvSpPr>
        <p:spPr>
          <a:xfrm>
            <a:off x="1775885" y="3706356"/>
            <a:ext cx="1543839" cy="1323439"/>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2000" i="0" u="none" strike="noStrike" kern="1200" cap="none" spc="0" normalizeH="0" baseline="0" noProof="0" dirty="0">
                <a:ln>
                  <a:noFill/>
                </a:ln>
                <a:solidFill>
                  <a:schemeClr val="tx1">
                    <a:lumMod val="85000"/>
                    <a:lumOff val="15000"/>
                  </a:schemeClr>
                </a:solidFill>
                <a:effectLst/>
                <a:uLnTx/>
                <a:uFillTx/>
                <a:latin typeface="Abadi" panose="020B0604020104020204" pitchFamily="34" charset="0"/>
                <a:ea typeface="+mn-ea"/>
                <a:cs typeface="+mn-cs"/>
              </a:rPr>
              <a:t>Пропаганда здорового образа жизни</a:t>
            </a:r>
            <a:endParaRPr kumimoji="0" lang="en-US" sz="2000" i="0" u="none" strike="noStrike" kern="1200" cap="none" spc="0" normalizeH="0" baseline="0" noProof="0" dirty="0">
              <a:ln>
                <a:noFill/>
              </a:ln>
              <a:solidFill>
                <a:schemeClr val="tx1">
                  <a:lumMod val="85000"/>
                  <a:lumOff val="15000"/>
                </a:schemeClr>
              </a:solidFill>
              <a:effectLst/>
              <a:uLnTx/>
              <a:uFillTx/>
              <a:latin typeface="Abadi" panose="020B0604020104020204" pitchFamily="34" charset="0"/>
              <a:ea typeface="+mn-ea"/>
              <a:cs typeface="+mn-cs"/>
            </a:endParaRPr>
          </a:p>
        </p:txBody>
      </p:sp>
      <p:sp>
        <p:nvSpPr>
          <p:cNvPr id="14" name="TextBox 13">
            <a:extLst>
              <a:ext uri="{FF2B5EF4-FFF2-40B4-BE49-F238E27FC236}">
                <a16:creationId xmlns:a16="http://schemas.microsoft.com/office/drawing/2014/main" id="{87CCCF4B-6736-49CC-BC7E-554D6C64CCB5}"/>
              </a:ext>
            </a:extLst>
          </p:cNvPr>
          <p:cNvSpPr txBox="1"/>
          <p:nvPr/>
        </p:nvSpPr>
        <p:spPr>
          <a:xfrm>
            <a:off x="1744851" y="1791351"/>
            <a:ext cx="3594216" cy="3062776"/>
          </a:xfrm>
          <a:prstGeom prst="rect">
            <a:avLst/>
          </a:prstGeom>
          <a:noFill/>
          <a:ln w="6350">
            <a:noFill/>
            <a:miter lim="800000"/>
          </a:ln>
        </p:spPr>
        <p:txBody>
          <a:bodyPr wrap="square">
            <a:prstTxWarp prst="textArchUp">
              <a:avLst>
                <a:gd name="adj" fmla="val 10775881"/>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lang="ru-RU" sz="2000" dirty="0">
                <a:solidFill>
                  <a:schemeClr val="bg1"/>
                </a:solidFill>
                <a:latin typeface="Abadi" panose="020B0604020104020204" pitchFamily="34" charset="0"/>
              </a:rPr>
              <a:t>Система здравоохранения</a:t>
            </a:r>
            <a:endParaRPr kumimoji="0" lang="en-US" sz="2000" i="0" u="none" strike="noStrike" kern="1200" cap="none" spc="0" normalizeH="0" baseline="0" noProof="0" dirty="0">
              <a:ln>
                <a:noFill/>
              </a:ln>
              <a:solidFill>
                <a:schemeClr val="bg1"/>
              </a:solidFill>
              <a:effectLst/>
              <a:uLnTx/>
              <a:uFillTx/>
              <a:latin typeface="Abadi" panose="020B0604020104020204" pitchFamily="34" charset="0"/>
              <a:ea typeface="+mn-ea"/>
              <a:cs typeface="+mn-cs"/>
            </a:endParaRPr>
          </a:p>
        </p:txBody>
      </p:sp>
      <p:sp>
        <p:nvSpPr>
          <p:cNvPr id="17" name="2. Slide Title">
            <a:extLst>
              <a:ext uri="{FF2B5EF4-FFF2-40B4-BE49-F238E27FC236}">
                <a16:creationId xmlns:a16="http://schemas.microsoft.com/office/drawing/2014/main" id="{16E31A0A-5177-4CC3-A185-FC60A3C73E92}"/>
              </a:ext>
            </a:extLst>
          </p:cNvPr>
          <p:cNvSpPr>
            <a:spLocks noGrp="1"/>
          </p:cNvSpPr>
          <p:nvPr>
            <p:ph type="title"/>
            <p:custDataLst>
              <p:tags r:id="rId1"/>
            </p:custDataLst>
          </p:nvPr>
        </p:nvSpPr>
        <p:spPr>
          <a:xfrm>
            <a:off x="554736" y="172212"/>
            <a:ext cx="6591788" cy="1384995"/>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ru-RU" sz="2500" dirty="0"/>
              <a:t>Готовность и реагирование на чрезвычайные ситуации в области здравоохранения основаны на подходе первичной медико-санитарной помощи </a:t>
            </a:r>
            <a:r>
              <a:rPr lang="en-US" sz="2500" dirty="0"/>
              <a:t>…</a:t>
            </a:r>
          </a:p>
        </p:txBody>
      </p:sp>
      <p:sp>
        <p:nvSpPr>
          <p:cNvPr id="18" name="TextBox 17">
            <a:extLst>
              <a:ext uri="{FF2B5EF4-FFF2-40B4-BE49-F238E27FC236}">
                <a16:creationId xmlns:a16="http://schemas.microsoft.com/office/drawing/2014/main" id="{7C7C15A7-7B0F-4A53-A128-F8876D202D65}"/>
              </a:ext>
            </a:extLst>
          </p:cNvPr>
          <p:cNvSpPr txBox="1"/>
          <p:nvPr/>
        </p:nvSpPr>
        <p:spPr>
          <a:xfrm>
            <a:off x="7701392" y="350518"/>
            <a:ext cx="3578286" cy="55476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indent="-342900">
              <a:spcBef>
                <a:spcPts val="1800"/>
              </a:spcBef>
              <a:buClr>
                <a:schemeClr val="bg1"/>
              </a:buClr>
              <a:buFont typeface="Wingdings" panose="05000000000000000000" pitchFamily="2" charset="2"/>
              <a:buChar char="§"/>
              <a:defRPr/>
            </a:pPr>
            <a:r>
              <a:rPr kumimoji="0" lang="ru-RU" sz="28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Расширение прав и возможностей людей и сообщества</a:t>
            </a:r>
          </a:p>
          <a:p>
            <a:pPr marL="342900" indent="-342900">
              <a:spcBef>
                <a:spcPts val="1800"/>
              </a:spcBef>
              <a:buClr>
                <a:schemeClr val="bg1"/>
              </a:buClr>
              <a:buFont typeface="Wingdings" panose="05000000000000000000" pitchFamily="2" charset="2"/>
              <a:buChar char="§"/>
              <a:defRPr/>
            </a:pPr>
            <a:r>
              <a:rPr kumimoji="0" lang="ru-RU" sz="28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Предоставление комплексных медицинских услуг</a:t>
            </a:r>
          </a:p>
          <a:p>
            <a:pPr marL="342900" indent="-342900">
              <a:spcBef>
                <a:spcPts val="1800"/>
              </a:spcBef>
              <a:buClr>
                <a:schemeClr val="bg1"/>
              </a:buClr>
              <a:buFont typeface="Wingdings" panose="05000000000000000000" pitchFamily="2" charset="2"/>
              <a:buChar char="§"/>
              <a:defRPr/>
            </a:pPr>
            <a:r>
              <a:rPr kumimoji="0" lang="ru-RU" sz="28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Основные функции общественного здравоохранения</a:t>
            </a:r>
          </a:p>
          <a:p>
            <a:pPr marL="342900" indent="-342900">
              <a:spcBef>
                <a:spcPts val="1800"/>
              </a:spcBef>
              <a:buClr>
                <a:schemeClr val="bg1"/>
              </a:buClr>
              <a:buFont typeface="Wingdings" panose="05000000000000000000" pitchFamily="2" charset="2"/>
              <a:buChar char="§"/>
              <a:defRPr/>
            </a:pPr>
            <a:r>
              <a:rPr kumimoji="0" lang="ru-RU" sz="2800" b="0" i="0" u="none" strike="noStrike" kern="1200" cap="none" spc="0" normalizeH="0" baseline="0" noProof="0" dirty="0" err="1">
                <a:ln>
                  <a:noFill/>
                </a:ln>
                <a:solidFill>
                  <a:schemeClr val="bg1"/>
                </a:solidFill>
                <a:effectLst/>
                <a:uLnTx/>
                <a:uFillTx/>
                <a:latin typeface="Calibri"/>
                <a:ea typeface="+mn-ea"/>
                <a:cs typeface="Arial" panose="020B0604020202020204" pitchFamily="34" charset="0"/>
              </a:rPr>
              <a:t>Многосекторальная</a:t>
            </a:r>
            <a:r>
              <a:rPr kumimoji="0" lang="ru-RU" sz="2800" b="0" i="0" u="none" strike="noStrike" kern="1200" cap="none" spc="0" normalizeH="0" baseline="0" noProof="0" dirty="0">
                <a:ln>
                  <a:noFill/>
                </a:ln>
                <a:solidFill>
                  <a:schemeClr val="bg1"/>
                </a:solidFill>
                <a:effectLst/>
                <a:uLnTx/>
                <a:uFillTx/>
                <a:latin typeface="Calibri"/>
                <a:ea typeface="+mn-ea"/>
                <a:cs typeface="Arial" panose="020B0604020202020204" pitchFamily="34" charset="0"/>
              </a:rPr>
              <a:t> политика и действия</a:t>
            </a:r>
          </a:p>
        </p:txBody>
      </p:sp>
      <p:sp>
        <p:nvSpPr>
          <p:cNvPr id="21" name="TextBox 20">
            <a:extLst>
              <a:ext uri="{FF2B5EF4-FFF2-40B4-BE49-F238E27FC236}">
                <a16:creationId xmlns:a16="http://schemas.microsoft.com/office/drawing/2014/main" id="{DDD54471-2825-4BC3-9C90-5724E4ABE52C}"/>
              </a:ext>
            </a:extLst>
          </p:cNvPr>
          <p:cNvSpPr txBox="1"/>
          <p:nvPr/>
        </p:nvSpPr>
        <p:spPr>
          <a:xfrm>
            <a:off x="2050555" y="4137443"/>
            <a:ext cx="3048224" cy="1458225"/>
          </a:xfrm>
          <a:prstGeom prst="rect">
            <a:avLst/>
          </a:prstGeom>
          <a:noFill/>
          <a:ln w="6350">
            <a:noFill/>
            <a:miter lim="800000"/>
          </a:ln>
        </p:spPr>
        <p:txBody>
          <a:bodyPr wrap="square">
            <a:prstTxWarp prst="textArchDown">
              <a:avLst/>
            </a:prstTxWarp>
            <a:spAutoFit/>
          </a:bodyPr>
          <a:lstStyle/>
          <a:p>
            <a:pPr algn="ctr"/>
            <a:r>
              <a:rPr lang="ru-RU" sz="2000" dirty="0">
                <a:solidFill>
                  <a:schemeClr val="bg1"/>
                </a:solidFill>
                <a:latin typeface="Abadi" panose="020B0604020104020204" pitchFamily="34" charset="0"/>
              </a:rPr>
              <a:t>Единое здоровье</a:t>
            </a:r>
            <a:endParaRPr lang="en-US" sz="2000" dirty="0"/>
          </a:p>
        </p:txBody>
      </p:sp>
    </p:spTree>
    <p:extLst>
      <p:ext uri="{BB962C8B-B14F-4D97-AF65-F5344CB8AC3E}">
        <p14:creationId xmlns:p14="http://schemas.microsoft.com/office/powerpoint/2010/main" val="7006290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52C5AC-330D-4BC7-985E-A3F294E95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5" name="Object 6" hidden="1">
                        <a:extLst>
                          <a:ext uri="{FF2B5EF4-FFF2-40B4-BE49-F238E27FC236}">
                            <a16:creationId xmlns:a16="http://schemas.microsoft.com/office/drawing/2014/main" id="{0B52C5AC-330D-4BC7-985E-A3F294E95E6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DBFCC3-D204-44A1-98FA-F2D9025A08C6}"/>
              </a:ext>
            </a:extLst>
          </p:cNvPr>
          <p:cNvSpPr>
            <a:spLocks noGrp="1"/>
          </p:cNvSpPr>
          <p:nvPr>
            <p:ph type="title"/>
          </p:nvPr>
        </p:nvSpPr>
        <p:spPr>
          <a:xfrm>
            <a:off x="554737" y="645404"/>
            <a:ext cx="5092664" cy="659698"/>
          </a:xfrm>
        </p:spPr>
        <p:txBody>
          <a:bodyPr vert="horz">
            <a:noAutofit/>
          </a:bodyPr>
          <a:lstStyle/>
          <a:p>
            <a:r>
              <a:rPr lang="ru-RU" sz="2500" dirty="0"/>
              <a:t>Чрезвычайные ситуации в области здравоохранения начинаются и заканчиваются в сообществах …</a:t>
            </a:r>
            <a:endParaRPr lang="en-US" sz="2500" dirty="0"/>
          </a:p>
        </p:txBody>
      </p:sp>
      <p:grpSp>
        <p:nvGrpSpPr>
          <p:cNvPr id="9" name="Group 8">
            <a:extLst>
              <a:ext uri="{FF2B5EF4-FFF2-40B4-BE49-F238E27FC236}">
                <a16:creationId xmlns:a16="http://schemas.microsoft.com/office/drawing/2014/main" id="{E7C0947F-A88A-4CF2-AE12-99E622E6A928}"/>
              </a:ext>
            </a:extLst>
          </p:cNvPr>
          <p:cNvGrpSpPr/>
          <p:nvPr/>
        </p:nvGrpSpPr>
        <p:grpSpPr>
          <a:xfrm>
            <a:off x="6244079" y="1730775"/>
            <a:ext cx="0" cy="4187085"/>
            <a:chOff x="6244077" y="1615364"/>
            <a:chExt cx="0" cy="4187085"/>
          </a:xfrm>
        </p:grpSpPr>
        <p:cxnSp>
          <p:nvCxnSpPr>
            <p:cNvPr id="11" name="Straight Connector 10">
              <a:extLst>
                <a:ext uri="{FF2B5EF4-FFF2-40B4-BE49-F238E27FC236}">
                  <a16:creationId xmlns:a16="http://schemas.microsoft.com/office/drawing/2014/main" id="{82AEF10A-52C3-4536-9122-35B846B4FD17}"/>
                </a:ext>
              </a:extLst>
            </p:cNvPr>
            <p:cNvCxnSpPr>
              <a:cxnSpLocks/>
            </p:cNvCxnSpPr>
            <p:nvPr/>
          </p:nvCxnSpPr>
          <p:spPr>
            <a:xfrm>
              <a:off x="6244077" y="1615364"/>
              <a:ext cx="0" cy="1720960"/>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CC861F0-69A6-4738-969D-55744E2F26C9}"/>
                </a:ext>
              </a:extLst>
            </p:cNvPr>
            <p:cNvCxnSpPr>
              <a:cxnSpLocks/>
            </p:cNvCxnSpPr>
            <p:nvPr/>
          </p:nvCxnSpPr>
          <p:spPr>
            <a:xfrm>
              <a:off x="6244077" y="4065373"/>
              <a:ext cx="0" cy="1737076"/>
            </a:xfrm>
            <a:prstGeom prst="line">
              <a:avLst/>
            </a:prstGeom>
            <a:ln w="9525" cap="rnd">
              <a:solidFill>
                <a:schemeClr val="bg1">
                  <a:lumMod val="5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6" name="Title 1">
            <a:extLst>
              <a:ext uri="{FF2B5EF4-FFF2-40B4-BE49-F238E27FC236}">
                <a16:creationId xmlns:a16="http://schemas.microsoft.com/office/drawing/2014/main" id="{DB81EAA4-E3DD-424D-8561-868412DF1E46}"/>
              </a:ext>
            </a:extLst>
          </p:cNvPr>
          <p:cNvSpPr txBox="1">
            <a:spLocks/>
          </p:cNvSpPr>
          <p:nvPr/>
        </p:nvSpPr>
        <p:spPr>
          <a:xfrm>
            <a:off x="6671757" y="535661"/>
            <a:ext cx="4963031" cy="76944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500" b="0" i="0" u="none" strike="noStrike" kern="1200" cap="none" spc="0" normalizeH="0" baseline="0" noProof="0" dirty="0">
                <a:ln w="6350" cap="flat">
                  <a:noFill/>
                  <a:miter lim="800000"/>
                </a:ln>
                <a:solidFill>
                  <a:srgbClr val="002060"/>
                </a:solidFill>
                <a:effectLst/>
                <a:uLnTx/>
                <a:uFillTx/>
                <a:latin typeface="Calibri"/>
                <a:ea typeface="+mj-ea"/>
                <a:cs typeface="+mj-cs"/>
                <a:sym typeface="+mj-lt"/>
              </a:rPr>
              <a:t>… </a:t>
            </a:r>
            <a:r>
              <a:rPr kumimoji="0" lang="ru-RU" sz="2500" b="0" i="0" u="none" strike="noStrike" kern="1200" cap="none" spc="0" normalizeH="0" baseline="0" noProof="0" dirty="0">
                <a:ln w="6350" cap="flat">
                  <a:noFill/>
                  <a:miter lim="800000"/>
                </a:ln>
                <a:solidFill>
                  <a:srgbClr val="002060"/>
                </a:solidFill>
                <a:effectLst/>
                <a:uLnTx/>
                <a:uFillTx/>
                <a:latin typeface="Calibri"/>
                <a:ea typeface="+mj-ea"/>
                <a:cs typeface="+mj-cs"/>
                <a:sym typeface="+mj-lt"/>
              </a:rPr>
              <a:t>и требуют системного подхода для достижения охраны здоровья</a:t>
            </a:r>
            <a:endParaRPr kumimoji="0" lang="en-US" sz="2500" b="0" i="0" u="none" strike="noStrike" kern="1200" cap="none" spc="0" normalizeH="0" baseline="0" noProof="0" dirty="0">
              <a:ln w="6350" cap="flat">
                <a:noFill/>
                <a:miter lim="800000"/>
              </a:ln>
              <a:solidFill>
                <a:srgbClr val="002060"/>
              </a:solidFill>
              <a:effectLst/>
              <a:uLnTx/>
              <a:uFillTx/>
              <a:latin typeface="Calibri"/>
              <a:ea typeface="+mj-ea"/>
              <a:cs typeface="+mj-cs"/>
              <a:sym typeface="+mj-lt"/>
            </a:endParaRPr>
          </a:p>
        </p:txBody>
      </p:sp>
      <p:sp>
        <p:nvSpPr>
          <p:cNvPr id="41" name="Partial Circle 40">
            <a:extLst>
              <a:ext uri="{FF2B5EF4-FFF2-40B4-BE49-F238E27FC236}">
                <a16:creationId xmlns:a16="http://schemas.microsoft.com/office/drawing/2014/main" id="{AF22A45E-E125-469D-82AD-1C8D703F8E03}"/>
              </a:ext>
            </a:extLst>
          </p:cNvPr>
          <p:cNvSpPr>
            <a:spLocks/>
          </p:cNvSpPr>
          <p:nvPr/>
        </p:nvSpPr>
        <p:spPr>
          <a:xfrm>
            <a:off x="967401" y="1598044"/>
            <a:ext cx="4680000" cy="4680000"/>
          </a:xfrm>
          <a:prstGeom prst="pie">
            <a:avLst>
              <a:gd name="adj1" fmla="val 16201070"/>
              <a:gd name="adj2" fmla="val 5394682"/>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2" name="Partial Circle 41">
            <a:extLst>
              <a:ext uri="{FF2B5EF4-FFF2-40B4-BE49-F238E27FC236}">
                <a16:creationId xmlns:a16="http://schemas.microsoft.com/office/drawing/2014/main" id="{B48C7D31-CA69-4153-8E46-9EA4502D37B6}"/>
              </a:ext>
            </a:extLst>
          </p:cNvPr>
          <p:cNvSpPr>
            <a:spLocks/>
          </p:cNvSpPr>
          <p:nvPr/>
        </p:nvSpPr>
        <p:spPr>
          <a:xfrm>
            <a:off x="1597401" y="2228044"/>
            <a:ext cx="3420000" cy="3420000"/>
          </a:xfrm>
          <a:prstGeom prst="pie">
            <a:avLst>
              <a:gd name="adj1" fmla="val 16215626"/>
              <a:gd name="adj2" fmla="val 5393857"/>
            </a:avLst>
          </a:prstGeom>
          <a:solidFill>
            <a:srgbClr val="037BB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3" name="Partial Circle 42">
            <a:extLst>
              <a:ext uri="{FF2B5EF4-FFF2-40B4-BE49-F238E27FC236}">
                <a16:creationId xmlns:a16="http://schemas.microsoft.com/office/drawing/2014/main" id="{D655D5CA-8718-4E37-82CF-9B6C41DD63F6}"/>
              </a:ext>
            </a:extLst>
          </p:cNvPr>
          <p:cNvSpPr>
            <a:spLocks/>
          </p:cNvSpPr>
          <p:nvPr/>
        </p:nvSpPr>
        <p:spPr>
          <a:xfrm>
            <a:off x="2138559" y="2858044"/>
            <a:ext cx="2328416" cy="2254478"/>
          </a:xfrm>
          <a:prstGeom prst="pie">
            <a:avLst>
              <a:gd name="adj1" fmla="val 16199418"/>
              <a:gd name="adj2" fmla="val 5400000"/>
            </a:avLst>
          </a:prstGeom>
          <a:solidFill>
            <a:srgbClr val="04A4E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45" name="Rectangle 8">
            <a:extLst>
              <a:ext uri="{FF2B5EF4-FFF2-40B4-BE49-F238E27FC236}">
                <a16:creationId xmlns:a16="http://schemas.microsoft.com/office/drawing/2014/main" id="{D655BBA0-2147-4F27-8701-30F085827B9B}"/>
              </a:ext>
            </a:extLst>
          </p:cNvPr>
          <p:cNvSpPr>
            <a:spLocks noChangeArrowheads="1"/>
          </p:cNvSpPr>
          <p:nvPr>
            <p:custDataLst>
              <p:tags r:id="rId2"/>
            </p:custDataLst>
          </p:nvPr>
        </p:nvSpPr>
        <p:spPr bwMode="gray">
          <a:xfrm rot="5400000">
            <a:off x="4197442" y="3528797"/>
            <a:ext cx="1446166" cy="818494"/>
          </a:xfrm>
          <a:prstGeom prst="rect">
            <a:avLst/>
          </a:prstGeom>
        </p:spPr>
        <p:txBody>
          <a:bodyPr wrap="none" lIns="0" tIns="0" rIns="0" bIns="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Calibri"/>
                <a:ea typeface="+mn-ea"/>
                <a:cs typeface="+mn-cs"/>
                <a:sym typeface="Trebuchet MS" panose="020B0603020202020204" pitchFamily="34" charset="0"/>
              </a:rPr>
              <a:t>Глобальный</a:t>
            </a:r>
            <a:endParaRPr kumimoji="0" lang="en-US" sz="1800" b="0" i="0" u="none" strike="noStrike" kern="1200" cap="none" spc="0" normalizeH="0" baseline="0" noProof="0" dirty="0">
              <a:ln>
                <a:noFill/>
              </a:ln>
              <a:solidFill>
                <a:prstClr val="white"/>
              </a:solidFill>
              <a:effectLst/>
              <a:uLnTx/>
              <a:uFillTx/>
              <a:latin typeface="Calibri"/>
              <a:ea typeface="+mn-ea"/>
              <a:cs typeface="+mn-cs"/>
              <a:sym typeface="Trebuchet MS" panose="020B0603020202020204" pitchFamily="34" charset="0"/>
            </a:endParaRPr>
          </a:p>
        </p:txBody>
      </p:sp>
      <p:sp>
        <p:nvSpPr>
          <p:cNvPr id="46" name="Rectangle 8">
            <a:extLst>
              <a:ext uri="{FF2B5EF4-FFF2-40B4-BE49-F238E27FC236}">
                <a16:creationId xmlns:a16="http://schemas.microsoft.com/office/drawing/2014/main" id="{BA69D851-8DB8-45D5-AC7C-2DA2AE31374F}"/>
              </a:ext>
            </a:extLst>
          </p:cNvPr>
          <p:cNvSpPr>
            <a:spLocks noChangeArrowheads="1"/>
          </p:cNvSpPr>
          <p:nvPr>
            <p:custDataLst>
              <p:tags r:id="rId3"/>
            </p:custDataLst>
          </p:nvPr>
        </p:nvSpPr>
        <p:spPr bwMode="gray">
          <a:xfrm rot="5400000">
            <a:off x="3606563" y="3528797"/>
            <a:ext cx="1446166" cy="818494"/>
          </a:xfrm>
          <a:prstGeom prst="rect">
            <a:avLst/>
          </a:prstGeom>
        </p:spPr>
        <p:txBody>
          <a:bodyPr wrap="none" lIns="0" tIns="0" rIns="0" bIns="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Calibri"/>
                <a:ea typeface="+mn-ea"/>
                <a:cs typeface="+mn-cs"/>
                <a:sym typeface="Trebuchet MS" panose="020B0603020202020204" pitchFamily="34" charset="0"/>
              </a:rPr>
              <a:t>Региональный</a:t>
            </a:r>
            <a:endParaRPr kumimoji="0" lang="en-US" sz="1800" b="0" i="0" u="none" strike="noStrike" kern="1200" cap="none" spc="0" normalizeH="0" baseline="0" noProof="0" dirty="0">
              <a:ln>
                <a:noFill/>
              </a:ln>
              <a:solidFill>
                <a:prstClr val="white"/>
              </a:solidFill>
              <a:effectLst/>
              <a:uLnTx/>
              <a:uFillTx/>
              <a:latin typeface="Calibri"/>
              <a:ea typeface="+mn-ea"/>
              <a:cs typeface="+mn-cs"/>
              <a:sym typeface="Trebuchet MS" panose="020B0603020202020204" pitchFamily="34" charset="0"/>
            </a:endParaRPr>
          </a:p>
        </p:txBody>
      </p:sp>
      <p:sp>
        <p:nvSpPr>
          <p:cNvPr id="52" name="Rectangle 8">
            <a:extLst>
              <a:ext uri="{FF2B5EF4-FFF2-40B4-BE49-F238E27FC236}">
                <a16:creationId xmlns:a16="http://schemas.microsoft.com/office/drawing/2014/main" id="{2115232C-E97E-414E-A997-6975EFAC08E6}"/>
              </a:ext>
            </a:extLst>
          </p:cNvPr>
          <p:cNvSpPr>
            <a:spLocks noChangeArrowheads="1"/>
          </p:cNvSpPr>
          <p:nvPr>
            <p:custDataLst>
              <p:tags r:id="rId4"/>
            </p:custDataLst>
          </p:nvPr>
        </p:nvSpPr>
        <p:spPr bwMode="gray">
          <a:xfrm rot="5400000">
            <a:off x="3032383" y="3528798"/>
            <a:ext cx="1446166" cy="818494"/>
          </a:xfrm>
          <a:prstGeom prst="rect">
            <a:avLst/>
          </a:prstGeom>
        </p:spPr>
        <p:txBody>
          <a:bodyPr wrap="none" lIns="0" tIns="0" rIns="0" bIns="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Calibri"/>
                <a:ea typeface="+mn-ea"/>
                <a:cs typeface="+mn-cs"/>
                <a:sym typeface="Trebuchet MS" panose="020B0603020202020204" pitchFamily="34" charset="0"/>
              </a:rPr>
              <a:t>Национальный</a:t>
            </a:r>
            <a:endParaRPr kumimoji="0" lang="en-US" sz="1800" b="0" i="0" u="none" strike="noStrike" kern="1200" cap="none" spc="0" normalizeH="0" baseline="0" noProof="0" dirty="0">
              <a:ln>
                <a:noFill/>
              </a:ln>
              <a:solidFill>
                <a:prstClr val="white"/>
              </a:solidFill>
              <a:effectLst/>
              <a:uLnTx/>
              <a:uFillTx/>
              <a:latin typeface="Calibri"/>
              <a:ea typeface="+mn-ea"/>
              <a:cs typeface="+mn-cs"/>
              <a:sym typeface="Trebuchet MS" panose="020B0603020202020204" pitchFamily="34" charset="0"/>
            </a:endParaRPr>
          </a:p>
        </p:txBody>
      </p:sp>
      <p:sp>
        <p:nvSpPr>
          <p:cNvPr id="54" name="TextBox 53">
            <a:extLst>
              <a:ext uri="{FF2B5EF4-FFF2-40B4-BE49-F238E27FC236}">
                <a16:creationId xmlns:a16="http://schemas.microsoft.com/office/drawing/2014/main" id="{3779C0AC-6DEE-4B0E-B604-0C3E20B34665}"/>
              </a:ext>
            </a:extLst>
          </p:cNvPr>
          <p:cNvSpPr txBox="1"/>
          <p:nvPr/>
        </p:nvSpPr>
        <p:spPr>
          <a:xfrm>
            <a:off x="2164250" y="2391652"/>
            <a:ext cx="10172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37BB1"/>
                </a:solidFill>
                <a:effectLst/>
                <a:uLnTx/>
                <a:uFillTx/>
                <a:latin typeface="Calibri"/>
                <a:ea typeface="+mn-ea"/>
                <a:cs typeface="+mn-cs"/>
              </a:rPr>
              <a:t>Эпидемия</a:t>
            </a:r>
            <a:endParaRPr kumimoji="0" lang="en-US" sz="1400" b="0" i="0" u="none" strike="noStrike" kern="1200" cap="none" spc="0" normalizeH="0" baseline="0" noProof="0" dirty="0">
              <a:ln>
                <a:noFill/>
              </a:ln>
              <a:solidFill>
                <a:srgbClr val="037BB1"/>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2CEBB34E-156D-4F2D-8360-0C94E12DD1FF}"/>
              </a:ext>
            </a:extLst>
          </p:cNvPr>
          <p:cNvSpPr txBox="1"/>
          <p:nvPr/>
        </p:nvSpPr>
        <p:spPr>
          <a:xfrm>
            <a:off x="2164250" y="2933417"/>
            <a:ext cx="10172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4A4EC"/>
                </a:solidFill>
                <a:effectLst/>
                <a:uLnTx/>
                <a:uFillTx/>
                <a:latin typeface="Calibri"/>
                <a:ea typeface="+mn-ea"/>
                <a:cs typeface="+mn-cs"/>
              </a:rPr>
              <a:t>Вспышка</a:t>
            </a:r>
            <a:endParaRPr kumimoji="0" lang="en-US" sz="1400" b="0" i="0" u="none" strike="noStrike" kern="1200" cap="none" spc="0" normalizeH="0" baseline="0" noProof="0" dirty="0">
              <a:ln>
                <a:noFill/>
              </a:ln>
              <a:solidFill>
                <a:srgbClr val="04A4EC"/>
              </a:solidFill>
              <a:effectLst/>
              <a:uLnTx/>
              <a:uFillTx/>
              <a:latin typeface="Calibri"/>
              <a:ea typeface="+mn-ea"/>
              <a:cs typeface="+mn-cs"/>
            </a:endParaRPr>
          </a:p>
        </p:txBody>
      </p:sp>
      <p:sp>
        <p:nvSpPr>
          <p:cNvPr id="56" name="TextBox 55">
            <a:extLst>
              <a:ext uri="{FF2B5EF4-FFF2-40B4-BE49-F238E27FC236}">
                <a16:creationId xmlns:a16="http://schemas.microsoft.com/office/drawing/2014/main" id="{330A8902-394D-44F9-9479-584B53CC47A2}"/>
              </a:ext>
            </a:extLst>
          </p:cNvPr>
          <p:cNvSpPr txBox="1"/>
          <p:nvPr/>
        </p:nvSpPr>
        <p:spPr>
          <a:xfrm>
            <a:off x="2164250" y="1815526"/>
            <a:ext cx="10172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2060"/>
                </a:solidFill>
                <a:effectLst/>
                <a:uLnTx/>
                <a:uFillTx/>
                <a:latin typeface="Calibri"/>
                <a:ea typeface="+mn-ea"/>
                <a:cs typeface="+mn-cs"/>
              </a:rPr>
              <a:t>Пандемия</a:t>
            </a:r>
            <a:endParaRPr kumimoji="0" lang="en-US" sz="1400" b="0" i="0" u="none" strike="noStrike" kern="1200" cap="none" spc="0" normalizeH="0" baseline="0" noProof="0" dirty="0">
              <a:ln>
                <a:noFill/>
              </a:ln>
              <a:solidFill>
                <a:srgbClr val="002060"/>
              </a:solidFill>
              <a:effectLst/>
              <a:uLnTx/>
              <a:uFillTx/>
              <a:latin typeface="Calibri"/>
              <a:ea typeface="+mn-ea"/>
              <a:cs typeface="+mn-cs"/>
            </a:endParaRPr>
          </a:p>
        </p:txBody>
      </p:sp>
      <p:sp>
        <p:nvSpPr>
          <p:cNvPr id="57" name="Rectangle 56">
            <a:extLst>
              <a:ext uri="{FF2B5EF4-FFF2-40B4-BE49-F238E27FC236}">
                <a16:creationId xmlns:a16="http://schemas.microsoft.com/office/drawing/2014/main" id="{AC025E24-BC5C-419B-B1B7-91A5F16D25CD}"/>
              </a:ext>
            </a:extLst>
          </p:cNvPr>
          <p:cNvSpPr/>
          <p:nvPr/>
        </p:nvSpPr>
        <p:spPr>
          <a:xfrm>
            <a:off x="382276" y="3400704"/>
            <a:ext cx="1966917" cy="1323439"/>
          </a:xfrm>
          <a:prstGeom prst="rect">
            <a:avLst/>
          </a:prstGeom>
          <a:solidFill>
            <a:schemeClr val="bg1">
              <a:lumMod val="95000"/>
            </a:schemeClr>
          </a:solidFill>
          <a:ln w="19050">
            <a:solidFill>
              <a:srgbClr val="013A53"/>
            </a:solidFill>
            <a:prstDash val="sysDot"/>
          </a:ln>
          <a:effectLst>
            <a:outerShdw blurRad="50800" dist="38100" dir="2700000" algn="tl" rotWithShape="0">
              <a:prstClr val="black">
                <a:alpha val="40000"/>
              </a:prstClr>
            </a:outerShdw>
          </a:effectLst>
        </p:spPr>
        <p:txBody>
          <a:bodyPr wrap="square">
            <a:spAutoFit/>
          </a:bodyPr>
          <a:lstStyle/>
          <a:p>
            <a:pPr marL="44450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0" cap="none" spc="0" normalizeH="0" baseline="0" noProof="0" dirty="0">
              <a:ln>
                <a:noFill/>
              </a:ln>
              <a:solidFill>
                <a:srgbClr val="000000"/>
              </a:solidFill>
              <a:effectLst/>
              <a:uLnTx/>
              <a:uFillTx/>
              <a:latin typeface="Calibri"/>
              <a:ea typeface="+mn-ea"/>
              <a:cs typeface="+mn-cs"/>
            </a:endParaRPr>
          </a:p>
          <a:p>
            <a:pPr marL="44450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latin typeface="Calibri"/>
                <a:ea typeface="+mn-ea"/>
                <a:cs typeface="+mn-cs"/>
              </a:rPr>
              <a:t>Никто не в безопасности, пока все не в безопасности</a:t>
            </a:r>
            <a:endParaRPr kumimoji="0" lang="en-ZA" sz="1600" b="0" i="0" u="none" strike="noStrike" kern="0" cap="none" spc="0" normalizeH="0" baseline="0" noProof="0" dirty="0">
              <a:ln>
                <a:noFill/>
              </a:ln>
              <a:solidFill>
                <a:srgbClr val="000000"/>
              </a:solidFill>
              <a:effectLst/>
              <a:uLnTx/>
              <a:uFillTx/>
              <a:latin typeface="Calibri"/>
              <a:ea typeface="+mn-ea"/>
              <a:cs typeface="+mn-cs"/>
            </a:endParaRPr>
          </a:p>
        </p:txBody>
      </p:sp>
      <p:grpSp>
        <p:nvGrpSpPr>
          <p:cNvPr id="58" name="bcgBugs_Alert">
            <a:extLst>
              <a:ext uri="{FF2B5EF4-FFF2-40B4-BE49-F238E27FC236}">
                <a16:creationId xmlns:a16="http://schemas.microsoft.com/office/drawing/2014/main" id="{21EC28D1-88AC-4FBE-A35C-2779F6213B28}"/>
              </a:ext>
            </a:extLst>
          </p:cNvPr>
          <p:cNvGrpSpPr>
            <a:grpSpLocks noChangeAspect="1"/>
          </p:cNvGrpSpPr>
          <p:nvPr/>
        </p:nvGrpSpPr>
        <p:grpSpPr bwMode="auto">
          <a:xfrm>
            <a:off x="445569" y="3694373"/>
            <a:ext cx="456753" cy="457200"/>
            <a:chOff x="2818" y="1137"/>
            <a:chExt cx="2044" cy="2046"/>
          </a:xfrm>
        </p:grpSpPr>
        <p:sp>
          <p:nvSpPr>
            <p:cNvPr id="68" name="AutoShape 7">
              <a:extLst>
                <a:ext uri="{FF2B5EF4-FFF2-40B4-BE49-F238E27FC236}">
                  <a16:creationId xmlns:a16="http://schemas.microsoft.com/office/drawing/2014/main" id="{5C8D3B0C-43B5-4FFE-94EB-3185F9CB7F35}"/>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latin typeface="Calibri"/>
                <a:ea typeface="+mn-ea"/>
                <a:cs typeface="+mn-cs"/>
              </a:endParaRPr>
            </a:p>
          </p:txBody>
        </p:sp>
        <p:sp>
          <p:nvSpPr>
            <p:cNvPr id="69" name="Freeform 9">
              <a:extLst>
                <a:ext uri="{FF2B5EF4-FFF2-40B4-BE49-F238E27FC236}">
                  <a16:creationId xmlns:a16="http://schemas.microsoft.com/office/drawing/2014/main" id="{81464D9A-CBA5-44B3-A110-46BA62BC2547}"/>
                </a:ext>
              </a:extLst>
            </p:cNvPr>
            <p:cNvSpPr>
              <a:spLocks noEditPoints="1"/>
            </p:cNvSpPr>
            <p:nvPr/>
          </p:nvSpPr>
          <p:spPr bwMode="auto">
            <a:xfrm>
              <a:off x="2947" y="1395"/>
              <a:ext cx="1788" cy="1550"/>
            </a:xfrm>
            <a:custGeom>
              <a:avLst/>
              <a:gdLst>
                <a:gd name="T0" fmla="*/ 866 w 874"/>
                <a:gd name="T1" fmla="*/ 724 h 757"/>
                <a:gd name="T2" fmla="*/ 456 w 874"/>
                <a:gd name="T3" fmla="*/ 14 h 757"/>
                <a:gd name="T4" fmla="*/ 418 w 874"/>
                <a:gd name="T5" fmla="*/ 14 h 757"/>
                <a:gd name="T6" fmla="*/ 8 w 874"/>
                <a:gd name="T7" fmla="*/ 724 h 757"/>
                <a:gd name="T8" fmla="*/ 27 w 874"/>
                <a:gd name="T9" fmla="*/ 757 h 757"/>
                <a:gd name="T10" fmla="*/ 847 w 874"/>
                <a:gd name="T11" fmla="*/ 757 h 757"/>
                <a:gd name="T12" fmla="*/ 866 w 874"/>
                <a:gd name="T13" fmla="*/ 724 h 757"/>
                <a:gd name="T14" fmla="*/ 397 w 874"/>
                <a:gd name="T15" fmla="*/ 206 h 757"/>
                <a:gd name="T16" fmla="*/ 477 w 874"/>
                <a:gd name="T17" fmla="*/ 206 h 757"/>
                <a:gd name="T18" fmla="*/ 477 w 874"/>
                <a:gd name="T19" fmla="*/ 332 h 757"/>
                <a:gd name="T20" fmla="*/ 453 w 874"/>
                <a:gd name="T21" fmla="*/ 548 h 757"/>
                <a:gd name="T22" fmla="*/ 421 w 874"/>
                <a:gd name="T23" fmla="*/ 548 h 757"/>
                <a:gd name="T24" fmla="*/ 397 w 874"/>
                <a:gd name="T25" fmla="*/ 332 h 757"/>
                <a:gd name="T26" fmla="*/ 397 w 874"/>
                <a:gd name="T27" fmla="*/ 206 h 757"/>
                <a:gd name="T28" fmla="*/ 473 w 874"/>
                <a:gd name="T29" fmla="*/ 658 h 757"/>
                <a:gd name="T30" fmla="*/ 438 w 874"/>
                <a:gd name="T31" fmla="*/ 673 h 757"/>
                <a:gd name="T32" fmla="*/ 402 w 874"/>
                <a:gd name="T33" fmla="*/ 658 h 757"/>
                <a:gd name="T34" fmla="*/ 386 w 874"/>
                <a:gd name="T35" fmla="*/ 622 h 757"/>
                <a:gd name="T36" fmla="*/ 402 w 874"/>
                <a:gd name="T37" fmla="*/ 586 h 757"/>
                <a:gd name="T38" fmla="*/ 438 w 874"/>
                <a:gd name="T39" fmla="*/ 571 h 757"/>
                <a:gd name="T40" fmla="*/ 473 w 874"/>
                <a:gd name="T41" fmla="*/ 586 h 757"/>
                <a:gd name="T42" fmla="*/ 488 w 874"/>
                <a:gd name="T43" fmla="*/ 622 h 757"/>
                <a:gd name="T44" fmla="*/ 473 w 874"/>
                <a:gd name="T45" fmla="*/ 658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4" h="757">
                  <a:moveTo>
                    <a:pt x="866" y="724"/>
                  </a:moveTo>
                  <a:cubicBezTo>
                    <a:pt x="456" y="14"/>
                    <a:pt x="456" y="14"/>
                    <a:pt x="456" y="14"/>
                  </a:cubicBezTo>
                  <a:cubicBezTo>
                    <a:pt x="448" y="0"/>
                    <a:pt x="426" y="0"/>
                    <a:pt x="418" y="14"/>
                  </a:cubicBezTo>
                  <a:cubicBezTo>
                    <a:pt x="8" y="724"/>
                    <a:pt x="8" y="724"/>
                    <a:pt x="8" y="724"/>
                  </a:cubicBezTo>
                  <a:cubicBezTo>
                    <a:pt x="0" y="738"/>
                    <a:pt x="10" y="757"/>
                    <a:pt x="27" y="757"/>
                  </a:cubicBezTo>
                  <a:cubicBezTo>
                    <a:pt x="847" y="757"/>
                    <a:pt x="847" y="757"/>
                    <a:pt x="847" y="757"/>
                  </a:cubicBezTo>
                  <a:cubicBezTo>
                    <a:pt x="864" y="757"/>
                    <a:pt x="874" y="738"/>
                    <a:pt x="866" y="724"/>
                  </a:cubicBezTo>
                  <a:close/>
                  <a:moveTo>
                    <a:pt x="397" y="206"/>
                  </a:moveTo>
                  <a:cubicBezTo>
                    <a:pt x="477" y="206"/>
                    <a:pt x="477" y="206"/>
                    <a:pt x="477" y="206"/>
                  </a:cubicBezTo>
                  <a:cubicBezTo>
                    <a:pt x="477" y="332"/>
                    <a:pt x="477" y="332"/>
                    <a:pt x="477" y="332"/>
                  </a:cubicBezTo>
                  <a:cubicBezTo>
                    <a:pt x="477" y="373"/>
                    <a:pt x="470" y="446"/>
                    <a:pt x="453" y="548"/>
                  </a:cubicBezTo>
                  <a:cubicBezTo>
                    <a:pt x="421" y="548"/>
                    <a:pt x="421" y="548"/>
                    <a:pt x="421" y="548"/>
                  </a:cubicBezTo>
                  <a:cubicBezTo>
                    <a:pt x="405" y="446"/>
                    <a:pt x="397" y="373"/>
                    <a:pt x="397" y="332"/>
                  </a:cubicBezTo>
                  <a:lnTo>
                    <a:pt x="397" y="206"/>
                  </a:lnTo>
                  <a:close/>
                  <a:moveTo>
                    <a:pt x="473" y="658"/>
                  </a:moveTo>
                  <a:cubicBezTo>
                    <a:pt x="464" y="668"/>
                    <a:pt x="452" y="673"/>
                    <a:pt x="438" y="673"/>
                  </a:cubicBezTo>
                  <a:cubicBezTo>
                    <a:pt x="423" y="673"/>
                    <a:pt x="411" y="668"/>
                    <a:pt x="402" y="658"/>
                  </a:cubicBezTo>
                  <a:cubicBezTo>
                    <a:pt x="392" y="648"/>
                    <a:pt x="386" y="636"/>
                    <a:pt x="386" y="622"/>
                  </a:cubicBezTo>
                  <a:cubicBezTo>
                    <a:pt x="386" y="608"/>
                    <a:pt x="392" y="596"/>
                    <a:pt x="402" y="586"/>
                  </a:cubicBezTo>
                  <a:cubicBezTo>
                    <a:pt x="411" y="576"/>
                    <a:pt x="423" y="571"/>
                    <a:pt x="438" y="571"/>
                  </a:cubicBezTo>
                  <a:cubicBezTo>
                    <a:pt x="452" y="571"/>
                    <a:pt x="464" y="576"/>
                    <a:pt x="473" y="586"/>
                  </a:cubicBezTo>
                  <a:cubicBezTo>
                    <a:pt x="483" y="596"/>
                    <a:pt x="488" y="608"/>
                    <a:pt x="488" y="622"/>
                  </a:cubicBezTo>
                  <a:cubicBezTo>
                    <a:pt x="488" y="636"/>
                    <a:pt x="483" y="648"/>
                    <a:pt x="473" y="658"/>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latin typeface="Calibri"/>
                <a:ea typeface="+mn-ea"/>
                <a:cs typeface="+mn-cs"/>
              </a:endParaRPr>
            </a:p>
          </p:txBody>
        </p:sp>
      </p:grpSp>
      <p:sp>
        <p:nvSpPr>
          <p:cNvPr id="60" name="Partial Circle 59">
            <a:extLst>
              <a:ext uri="{FF2B5EF4-FFF2-40B4-BE49-F238E27FC236}">
                <a16:creationId xmlns:a16="http://schemas.microsoft.com/office/drawing/2014/main" id="{7658FFFB-678A-40FB-8BC1-F4831CC86686}"/>
              </a:ext>
            </a:extLst>
          </p:cNvPr>
          <p:cNvSpPr>
            <a:spLocks/>
          </p:cNvSpPr>
          <p:nvPr/>
        </p:nvSpPr>
        <p:spPr>
          <a:xfrm>
            <a:off x="2567967" y="3220729"/>
            <a:ext cx="1465553" cy="1484095"/>
          </a:xfrm>
          <a:prstGeom prst="pie">
            <a:avLst>
              <a:gd name="adj1" fmla="val 16199418"/>
              <a:gd name="adj2" fmla="val 5400000"/>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sp>
        <p:nvSpPr>
          <p:cNvPr id="61" name="Rectangle 8">
            <a:extLst>
              <a:ext uri="{FF2B5EF4-FFF2-40B4-BE49-F238E27FC236}">
                <a16:creationId xmlns:a16="http://schemas.microsoft.com/office/drawing/2014/main" id="{608EDDB1-8B06-4D31-9AD2-AFCAA28D6AA8}"/>
              </a:ext>
            </a:extLst>
          </p:cNvPr>
          <p:cNvSpPr>
            <a:spLocks noChangeArrowheads="1"/>
          </p:cNvSpPr>
          <p:nvPr>
            <p:custDataLst>
              <p:tags r:id="rId5"/>
            </p:custDataLst>
          </p:nvPr>
        </p:nvSpPr>
        <p:spPr bwMode="gray">
          <a:xfrm rot="5400000">
            <a:off x="2594835" y="3559861"/>
            <a:ext cx="1446166" cy="818494"/>
          </a:xfrm>
          <a:prstGeom prst="rect">
            <a:avLst/>
          </a:prstGeom>
        </p:spPr>
        <p:txBody>
          <a:bodyPr wrap="none" lIns="0" tIns="0" rIns="0" bIns="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prstClr val="white"/>
                </a:solidFill>
                <a:effectLst/>
                <a:uLnTx/>
                <a:uFillTx/>
                <a:latin typeface="Calibri"/>
                <a:ea typeface="+mn-ea"/>
                <a:cs typeface="+mn-cs"/>
                <a:sym typeface="Trebuchet MS" panose="020B0603020202020204" pitchFamily="34" charset="0"/>
              </a:rPr>
              <a:t>Локальный</a:t>
            </a:r>
            <a:endParaRPr kumimoji="0" lang="en-US" sz="1800" b="0" i="0" u="none" strike="noStrike" kern="1200" cap="none" spc="0" normalizeH="0" baseline="0" noProof="0" dirty="0">
              <a:ln>
                <a:noFill/>
              </a:ln>
              <a:solidFill>
                <a:prstClr val="white"/>
              </a:solidFill>
              <a:effectLst/>
              <a:uLnTx/>
              <a:uFillTx/>
              <a:latin typeface="Calibri"/>
              <a:ea typeface="+mn-ea"/>
              <a:cs typeface="+mn-cs"/>
              <a:sym typeface="Trebuchet MS" panose="020B0603020202020204" pitchFamily="34" charset="0"/>
            </a:endParaRPr>
          </a:p>
        </p:txBody>
      </p:sp>
      <p:sp>
        <p:nvSpPr>
          <p:cNvPr id="62" name="TextBox 61">
            <a:extLst>
              <a:ext uri="{FF2B5EF4-FFF2-40B4-BE49-F238E27FC236}">
                <a16:creationId xmlns:a16="http://schemas.microsoft.com/office/drawing/2014/main" id="{B86AD81E-DF85-4848-8690-E61CE9B2D4D8}"/>
              </a:ext>
            </a:extLst>
          </p:cNvPr>
          <p:cNvSpPr txBox="1"/>
          <p:nvPr/>
        </p:nvSpPr>
        <p:spPr>
          <a:xfrm>
            <a:off x="2120157" y="3830322"/>
            <a:ext cx="101724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E71C57"/>
                </a:solidFill>
                <a:effectLst/>
                <a:uLnTx/>
                <a:uFillTx/>
                <a:latin typeface="Calibri"/>
                <a:ea typeface="+mn-ea"/>
                <a:cs typeface="+mn-cs"/>
              </a:rPr>
              <a:t>Пациент</a:t>
            </a:r>
            <a:r>
              <a:rPr kumimoji="0" lang="en-US" sz="1400" b="0" i="0" u="none" strike="noStrike" kern="1200" cap="none" spc="0" normalizeH="0" baseline="0" noProof="0" dirty="0">
                <a:ln>
                  <a:noFill/>
                </a:ln>
                <a:solidFill>
                  <a:srgbClr val="E71C57"/>
                </a:solidFill>
                <a:effectLst/>
                <a:uLnTx/>
                <a:uFillTx/>
                <a:latin typeface="Calibri"/>
                <a:ea typeface="+mn-ea"/>
                <a:cs typeface="+mn-cs"/>
              </a:rPr>
              <a:t> 0</a:t>
            </a:r>
          </a:p>
        </p:txBody>
      </p:sp>
      <p:sp>
        <p:nvSpPr>
          <p:cNvPr id="63" name="Partial Circle 62">
            <a:extLst>
              <a:ext uri="{FF2B5EF4-FFF2-40B4-BE49-F238E27FC236}">
                <a16:creationId xmlns:a16="http://schemas.microsoft.com/office/drawing/2014/main" id="{3E01EB1B-CA34-4F29-AC6B-B1B0722FAF0B}"/>
              </a:ext>
            </a:extLst>
          </p:cNvPr>
          <p:cNvSpPr>
            <a:spLocks noChangeAspect="1"/>
          </p:cNvSpPr>
          <p:nvPr/>
        </p:nvSpPr>
        <p:spPr>
          <a:xfrm>
            <a:off x="2978895" y="3631904"/>
            <a:ext cx="654822" cy="662878"/>
          </a:xfrm>
          <a:prstGeom prst="pie">
            <a:avLst>
              <a:gd name="adj1" fmla="val 16199418"/>
              <a:gd name="adj2" fmla="val 540000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50876" tIns="75438" rIns="150876" bIns="7543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a:ea typeface="+mn-ea"/>
              <a:cs typeface="+mn-cs"/>
            </a:endParaRPr>
          </a:p>
        </p:txBody>
      </p:sp>
      <p:grpSp>
        <p:nvGrpSpPr>
          <p:cNvPr id="64" name="Group 63">
            <a:extLst>
              <a:ext uri="{FF2B5EF4-FFF2-40B4-BE49-F238E27FC236}">
                <a16:creationId xmlns:a16="http://schemas.microsoft.com/office/drawing/2014/main" id="{334546BD-70E2-471A-94EA-622E687378C6}"/>
              </a:ext>
            </a:extLst>
          </p:cNvPr>
          <p:cNvGrpSpPr>
            <a:grpSpLocks noChangeAspect="1"/>
          </p:cNvGrpSpPr>
          <p:nvPr/>
        </p:nvGrpSpPr>
        <p:grpSpPr>
          <a:xfrm>
            <a:off x="3333175" y="3837199"/>
            <a:ext cx="171548" cy="171548"/>
            <a:chOff x="6559334" y="3899000"/>
            <a:chExt cx="2666673" cy="2583333"/>
          </a:xfrm>
        </p:grpSpPr>
        <p:sp>
          <p:nvSpPr>
            <p:cNvPr id="65" name="AutoShape 8">
              <a:extLst>
                <a:ext uri="{FF2B5EF4-FFF2-40B4-BE49-F238E27FC236}">
                  <a16:creationId xmlns:a16="http://schemas.microsoft.com/office/drawing/2014/main" id="{28AE9648-EDFC-4FE3-82A6-C9E245D29EA7}"/>
                </a:ext>
              </a:extLst>
            </p:cNvPr>
            <p:cNvSpPr>
              <a:spLocks noChangeAspect="1" noChangeArrowheads="1" noTextEdit="1"/>
            </p:cNvSpPr>
            <p:nvPr/>
          </p:nvSpPr>
          <p:spPr bwMode="auto">
            <a:xfrm>
              <a:off x="6602197" y="3899000"/>
              <a:ext cx="2580947" cy="258333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6" name="Freeform 10">
              <a:extLst>
                <a:ext uri="{FF2B5EF4-FFF2-40B4-BE49-F238E27FC236}">
                  <a16:creationId xmlns:a16="http://schemas.microsoft.com/office/drawing/2014/main" id="{B83A181C-DEF3-4BA4-900B-050907978E6B}"/>
                </a:ext>
              </a:extLst>
            </p:cNvPr>
            <p:cNvSpPr>
              <a:spLocks noEditPoints="1"/>
            </p:cNvSpPr>
            <p:nvPr/>
          </p:nvSpPr>
          <p:spPr bwMode="auto">
            <a:xfrm>
              <a:off x="7361836" y="4521500"/>
              <a:ext cx="1061669" cy="1784167"/>
            </a:xfrm>
            <a:custGeom>
              <a:avLst/>
              <a:gdLst>
                <a:gd name="T0" fmla="*/ 253 w 680"/>
                <a:gd name="T1" fmla="*/ 691 h 1142"/>
                <a:gd name="T2" fmla="*/ 152 w 680"/>
                <a:gd name="T3" fmla="*/ 625 h 1142"/>
                <a:gd name="T4" fmla="*/ 27 w 680"/>
                <a:gd name="T5" fmla="*/ 357 h 1142"/>
                <a:gd name="T6" fmla="*/ 7 w 680"/>
                <a:gd name="T7" fmla="*/ 269 h 1142"/>
                <a:gd name="T8" fmla="*/ 13 w 680"/>
                <a:gd name="T9" fmla="*/ 193 h 1142"/>
                <a:gd name="T10" fmla="*/ 122 w 680"/>
                <a:gd name="T11" fmla="*/ 18 h 1142"/>
                <a:gd name="T12" fmla="*/ 153 w 680"/>
                <a:gd name="T13" fmla="*/ 0 h 1142"/>
                <a:gd name="T14" fmla="*/ 253 w 680"/>
                <a:gd name="T15" fmla="*/ 17 h 1142"/>
                <a:gd name="T16" fmla="*/ 253 w 680"/>
                <a:gd name="T17" fmla="*/ 691 h 1142"/>
                <a:gd name="T18" fmla="*/ 596 w 680"/>
                <a:gd name="T19" fmla="*/ 257 h 1142"/>
                <a:gd name="T20" fmla="*/ 428 w 680"/>
                <a:gd name="T21" fmla="*/ 107 h 1142"/>
                <a:gd name="T22" fmla="*/ 428 w 680"/>
                <a:gd name="T23" fmla="*/ 685 h 1142"/>
                <a:gd name="T24" fmla="*/ 518 w 680"/>
                <a:gd name="T25" fmla="*/ 625 h 1142"/>
                <a:gd name="T26" fmla="*/ 642 w 680"/>
                <a:gd name="T27" fmla="*/ 357 h 1142"/>
                <a:gd name="T28" fmla="*/ 652 w 680"/>
                <a:gd name="T29" fmla="*/ 324 h 1142"/>
                <a:gd name="T30" fmla="*/ 596 w 680"/>
                <a:gd name="T31" fmla="*/ 257 h 1142"/>
                <a:gd name="T32" fmla="*/ 64 w 680"/>
                <a:gd name="T33" fmla="*/ 865 h 1142"/>
                <a:gd name="T34" fmla="*/ 0 w 680"/>
                <a:gd name="T35" fmla="*/ 868 h 1142"/>
                <a:gd name="T36" fmla="*/ 332 w 680"/>
                <a:gd name="T37" fmla="*/ 1138 h 1142"/>
                <a:gd name="T38" fmla="*/ 349 w 680"/>
                <a:gd name="T39" fmla="*/ 1138 h 1142"/>
                <a:gd name="T40" fmla="*/ 680 w 680"/>
                <a:gd name="T41" fmla="*/ 868 h 1142"/>
                <a:gd name="T42" fmla="*/ 616 w 680"/>
                <a:gd name="T43" fmla="*/ 865 h 1142"/>
                <a:gd name="T44" fmla="*/ 346 w 680"/>
                <a:gd name="T45" fmla="*/ 1086 h 1142"/>
                <a:gd name="T46" fmla="*/ 334 w 680"/>
                <a:gd name="T47" fmla="*/ 1086 h 1142"/>
                <a:gd name="T48" fmla="*/ 64 w 680"/>
                <a:gd name="T49" fmla="*/ 865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0" h="1142">
                  <a:moveTo>
                    <a:pt x="253" y="691"/>
                  </a:moveTo>
                  <a:cubicBezTo>
                    <a:pt x="214" y="672"/>
                    <a:pt x="174" y="645"/>
                    <a:pt x="152" y="625"/>
                  </a:cubicBezTo>
                  <a:cubicBezTo>
                    <a:pt x="134" y="606"/>
                    <a:pt x="76" y="481"/>
                    <a:pt x="27" y="357"/>
                  </a:cubicBezTo>
                  <a:cubicBezTo>
                    <a:pt x="21" y="339"/>
                    <a:pt x="7" y="284"/>
                    <a:pt x="7" y="269"/>
                  </a:cubicBezTo>
                  <a:cubicBezTo>
                    <a:pt x="7" y="252"/>
                    <a:pt x="5" y="214"/>
                    <a:pt x="13" y="193"/>
                  </a:cubicBezTo>
                  <a:cubicBezTo>
                    <a:pt x="34" y="136"/>
                    <a:pt x="64" y="58"/>
                    <a:pt x="122" y="18"/>
                  </a:cubicBezTo>
                  <a:cubicBezTo>
                    <a:pt x="129" y="14"/>
                    <a:pt x="142" y="6"/>
                    <a:pt x="153" y="0"/>
                  </a:cubicBezTo>
                  <a:cubicBezTo>
                    <a:pt x="187" y="1"/>
                    <a:pt x="220" y="7"/>
                    <a:pt x="253" y="17"/>
                  </a:cubicBezTo>
                  <a:lnTo>
                    <a:pt x="253" y="691"/>
                  </a:lnTo>
                  <a:close/>
                  <a:moveTo>
                    <a:pt x="596" y="257"/>
                  </a:moveTo>
                  <a:cubicBezTo>
                    <a:pt x="554" y="215"/>
                    <a:pt x="497" y="158"/>
                    <a:pt x="428" y="107"/>
                  </a:cubicBezTo>
                  <a:cubicBezTo>
                    <a:pt x="428" y="685"/>
                    <a:pt x="428" y="685"/>
                    <a:pt x="428" y="685"/>
                  </a:cubicBezTo>
                  <a:cubicBezTo>
                    <a:pt x="462" y="666"/>
                    <a:pt x="497" y="643"/>
                    <a:pt x="518" y="625"/>
                  </a:cubicBezTo>
                  <a:cubicBezTo>
                    <a:pt x="535" y="606"/>
                    <a:pt x="593" y="481"/>
                    <a:pt x="642" y="357"/>
                  </a:cubicBezTo>
                  <a:cubicBezTo>
                    <a:pt x="648" y="342"/>
                    <a:pt x="650" y="330"/>
                    <a:pt x="652" y="324"/>
                  </a:cubicBezTo>
                  <a:cubicBezTo>
                    <a:pt x="655" y="305"/>
                    <a:pt x="626" y="288"/>
                    <a:pt x="596" y="257"/>
                  </a:cubicBezTo>
                  <a:close/>
                  <a:moveTo>
                    <a:pt x="64" y="865"/>
                  </a:moveTo>
                  <a:cubicBezTo>
                    <a:pt x="64" y="865"/>
                    <a:pt x="38" y="865"/>
                    <a:pt x="0" y="868"/>
                  </a:cubicBezTo>
                  <a:cubicBezTo>
                    <a:pt x="88" y="941"/>
                    <a:pt x="243" y="1068"/>
                    <a:pt x="332" y="1138"/>
                  </a:cubicBezTo>
                  <a:cubicBezTo>
                    <a:pt x="337" y="1142"/>
                    <a:pt x="344" y="1142"/>
                    <a:pt x="349" y="1138"/>
                  </a:cubicBezTo>
                  <a:cubicBezTo>
                    <a:pt x="464" y="1046"/>
                    <a:pt x="601" y="933"/>
                    <a:pt x="680" y="868"/>
                  </a:cubicBezTo>
                  <a:cubicBezTo>
                    <a:pt x="642" y="865"/>
                    <a:pt x="616" y="865"/>
                    <a:pt x="616" y="865"/>
                  </a:cubicBezTo>
                  <a:cubicBezTo>
                    <a:pt x="616" y="865"/>
                    <a:pt x="464" y="991"/>
                    <a:pt x="346" y="1086"/>
                  </a:cubicBezTo>
                  <a:cubicBezTo>
                    <a:pt x="343" y="1089"/>
                    <a:pt x="338" y="1089"/>
                    <a:pt x="334" y="1086"/>
                  </a:cubicBezTo>
                  <a:cubicBezTo>
                    <a:pt x="247" y="1017"/>
                    <a:pt x="64" y="865"/>
                    <a:pt x="64" y="865"/>
                  </a:cubicBezTo>
                  <a:close/>
                </a:path>
              </a:pathLst>
            </a:custGeom>
            <a:solidFill>
              <a:srgbClr val="F28E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7" name="Freeform 11">
              <a:extLst>
                <a:ext uri="{FF2B5EF4-FFF2-40B4-BE49-F238E27FC236}">
                  <a16:creationId xmlns:a16="http://schemas.microsoft.com/office/drawing/2014/main" id="{17FEA3AE-29D7-47ED-A2EE-61B24A2CED2C}"/>
                </a:ext>
              </a:extLst>
            </p:cNvPr>
            <p:cNvSpPr>
              <a:spLocks noEditPoints="1"/>
            </p:cNvSpPr>
            <p:nvPr/>
          </p:nvSpPr>
          <p:spPr bwMode="auto">
            <a:xfrm>
              <a:off x="6559334" y="3899000"/>
              <a:ext cx="2666673" cy="2583333"/>
            </a:xfrm>
            <a:custGeom>
              <a:avLst/>
              <a:gdLst>
                <a:gd name="T0" fmla="*/ 1301 w 1708"/>
                <a:gd name="T1" fmla="*/ 537 h 1653"/>
                <a:gd name="T2" fmla="*/ 1333 w 1708"/>
                <a:gd name="T3" fmla="*/ 635 h 1653"/>
                <a:gd name="T4" fmla="*/ 1197 w 1708"/>
                <a:gd name="T5" fmla="*/ 675 h 1653"/>
                <a:gd name="T6" fmla="*/ 655 w 1708"/>
                <a:gd name="T7" fmla="*/ 354 h 1653"/>
                <a:gd name="T8" fmla="*/ 612 w 1708"/>
                <a:gd name="T9" fmla="*/ 380 h 1653"/>
                <a:gd name="T10" fmla="*/ 436 w 1708"/>
                <a:gd name="T11" fmla="*/ 638 h 1653"/>
                <a:gd name="T12" fmla="*/ 411 w 1708"/>
                <a:gd name="T13" fmla="*/ 452 h 1653"/>
                <a:gd name="T14" fmla="*/ 857 w 1708"/>
                <a:gd name="T15" fmla="*/ 0 h 1653"/>
                <a:gd name="T16" fmla="*/ 1303 w 1708"/>
                <a:gd name="T17" fmla="*/ 452 h 1653"/>
                <a:gd name="T18" fmla="*/ 1301 w 1708"/>
                <a:gd name="T19" fmla="*/ 537 h 1653"/>
                <a:gd name="T20" fmla="*/ 463 w 1708"/>
                <a:gd name="T21" fmla="*/ 795 h 1653"/>
                <a:gd name="T22" fmla="*/ 607 w 1708"/>
                <a:gd name="T23" fmla="*/ 1089 h 1653"/>
                <a:gd name="T24" fmla="*/ 633 w 1708"/>
                <a:gd name="T25" fmla="*/ 1110 h 1653"/>
                <a:gd name="T26" fmla="*/ 633 w 1708"/>
                <a:gd name="T27" fmla="*/ 1251 h 1653"/>
                <a:gd name="T28" fmla="*/ 673 w 1708"/>
                <a:gd name="T29" fmla="*/ 1285 h 1653"/>
                <a:gd name="T30" fmla="*/ 677 w 1708"/>
                <a:gd name="T31" fmla="*/ 1285 h 1653"/>
                <a:gd name="T32" fmla="*/ 677 w 1708"/>
                <a:gd name="T33" fmla="*/ 1140 h 1653"/>
                <a:gd name="T34" fmla="*/ 849 w 1708"/>
                <a:gd name="T35" fmla="*/ 1206 h 1653"/>
                <a:gd name="T36" fmla="*/ 1038 w 1708"/>
                <a:gd name="T37" fmla="*/ 1128 h 1653"/>
                <a:gd name="T38" fmla="*/ 1038 w 1708"/>
                <a:gd name="T39" fmla="*/ 1282 h 1653"/>
                <a:gd name="T40" fmla="*/ 1082 w 1708"/>
                <a:gd name="T41" fmla="*/ 1246 h 1653"/>
                <a:gd name="T42" fmla="*/ 1082 w 1708"/>
                <a:gd name="T43" fmla="*/ 1096 h 1653"/>
                <a:gd name="T44" fmla="*/ 1090 w 1708"/>
                <a:gd name="T45" fmla="*/ 1089 h 1653"/>
                <a:gd name="T46" fmla="*/ 1235 w 1708"/>
                <a:gd name="T47" fmla="*/ 794 h 1653"/>
                <a:gd name="T48" fmla="*/ 1297 w 1708"/>
                <a:gd name="T49" fmla="*/ 706 h 1653"/>
                <a:gd name="T50" fmla="*/ 1244 w 1708"/>
                <a:gd name="T51" fmla="*/ 723 h 1653"/>
                <a:gd name="T52" fmla="*/ 1207 w 1708"/>
                <a:gd name="T53" fmla="*/ 759 h 1653"/>
                <a:gd name="T54" fmla="*/ 1197 w 1708"/>
                <a:gd name="T55" fmla="*/ 771 h 1653"/>
                <a:gd name="T56" fmla="*/ 1061 w 1708"/>
                <a:gd name="T57" fmla="*/ 1056 h 1653"/>
                <a:gd name="T58" fmla="*/ 849 w 1708"/>
                <a:gd name="T59" fmla="*/ 1162 h 1653"/>
                <a:gd name="T60" fmla="*/ 636 w 1708"/>
                <a:gd name="T61" fmla="*/ 1056 h 1653"/>
                <a:gd name="T62" fmla="*/ 500 w 1708"/>
                <a:gd name="T63" fmla="*/ 771 h 1653"/>
                <a:gd name="T64" fmla="*/ 487 w 1708"/>
                <a:gd name="T65" fmla="*/ 758 h 1653"/>
                <a:gd name="T66" fmla="*/ 442 w 1708"/>
                <a:gd name="T67" fmla="*/ 686 h 1653"/>
                <a:gd name="T68" fmla="*/ 407 w 1708"/>
                <a:gd name="T69" fmla="*/ 671 h 1653"/>
                <a:gd name="T70" fmla="*/ 396 w 1708"/>
                <a:gd name="T71" fmla="*/ 649 h 1653"/>
                <a:gd name="T72" fmla="*/ 395 w 1708"/>
                <a:gd name="T73" fmla="*/ 655 h 1653"/>
                <a:gd name="T74" fmla="*/ 463 w 1708"/>
                <a:gd name="T75" fmla="*/ 795 h 1653"/>
                <a:gd name="T76" fmla="*/ 1703 w 1708"/>
                <a:gd name="T77" fmla="*/ 1625 h 1653"/>
                <a:gd name="T78" fmla="*/ 1497 w 1708"/>
                <a:gd name="T79" fmla="*/ 1325 h 1653"/>
                <a:gd name="T80" fmla="*/ 1257 w 1708"/>
                <a:gd name="T81" fmla="*/ 1271 h 1653"/>
                <a:gd name="T82" fmla="*/ 1222 w 1708"/>
                <a:gd name="T83" fmla="*/ 1300 h 1653"/>
                <a:gd name="T84" fmla="*/ 890 w 1708"/>
                <a:gd name="T85" fmla="*/ 1571 h 1653"/>
                <a:gd name="T86" fmla="*/ 854 w 1708"/>
                <a:gd name="T87" fmla="*/ 1583 h 1653"/>
                <a:gd name="T88" fmla="*/ 818 w 1708"/>
                <a:gd name="T89" fmla="*/ 1571 h 1653"/>
                <a:gd name="T90" fmla="*/ 486 w 1708"/>
                <a:gd name="T91" fmla="*/ 1300 h 1653"/>
                <a:gd name="T92" fmla="*/ 451 w 1708"/>
                <a:gd name="T93" fmla="*/ 1271 h 1653"/>
                <a:gd name="T94" fmla="*/ 211 w 1708"/>
                <a:gd name="T95" fmla="*/ 1325 h 1653"/>
                <a:gd name="T96" fmla="*/ 5 w 1708"/>
                <a:gd name="T97" fmla="*/ 1625 h 1653"/>
                <a:gd name="T98" fmla="*/ 25 w 1708"/>
                <a:gd name="T99" fmla="*/ 1653 h 1653"/>
                <a:gd name="T100" fmla="*/ 1683 w 1708"/>
                <a:gd name="T101" fmla="*/ 1653 h 1653"/>
                <a:gd name="T102" fmla="*/ 1703 w 1708"/>
                <a:gd name="T103" fmla="*/ 1625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08" h="1653">
                  <a:moveTo>
                    <a:pt x="1301" y="537"/>
                  </a:moveTo>
                  <a:cubicBezTo>
                    <a:pt x="1299" y="561"/>
                    <a:pt x="1307" y="597"/>
                    <a:pt x="1333" y="635"/>
                  </a:cubicBezTo>
                  <a:cubicBezTo>
                    <a:pt x="1333" y="635"/>
                    <a:pt x="1241" y="700"/>
                    <a:pt x="1197" y="675"/>
                  </a:cubicBezTo>
                  <a:cubicBezTo>
                    <a:pt x="1146" y="647"/>
                    <a:pt x="934" y="353"/>
                    <a:pt x="655" y="354"/>
                  </a:cubicBezTo>
                  <a:cubicBezTo>
                    <a:pt x="655" y="354"/>
                    <a:pt x="625" y="371"/>
                    <a:pt x="612" y="380"/>
                  </a:cubicBezTo>
                  <a:cubicBezTo>
                    <a:pt x="486" y="465"/>
                    <a:pt x="480" y="677"/>
                    <a:pt x="436" y="638"/>
                  </a:cubicBezTo>
                  <a:cubicBezTo>
                    <a:pt x="420" y="618"/>
                    <a:pt x="411" y="507"/>
                    <a:pt x="411" y="452"/>
                  </a:cubicBezTo>
                  <a:cubicBezTo>
                    <a:pt x="411" y="202"/>
                    <a:pt x="605" y="0"/>
                    <a:pt x="857" y="0"/>
                  </a:cubicBezTo>
                  <a:cubicBezTo>
                    <a:pt x="1110" y="0"/>
                    <a:pt x="1303" y="202"/>
                    <a:pt x="1303" y="452"/>
                  </a:cubicBezTo>
                  <a:cubicBezTo>
                    <a:pt x="1303" y="481"/>
                    <a:pt x="1304" y="510"/>
                    <a:pt x="1301" y="537"/>
                  </a:cubicBezTo>
                  <a:close/>
                  <a:moveTo>
                    <a:pt x="463" y="795"/>
                  </a:moveTo>
                  <a:cubicBezTo>
                    <a:pt x="486" y="854"/>
                    <a:pt x="566" y="1053"/>
                    <a:pt x="607" y="1089"/>
                  </a:cubicBezTo>
                  <a:cubicBezTo>
                    <a:pt x="614" y="1095"/>
                    <a:pt x="623" y="1102"/>
                    <a:pt x="633" y="1110"/>
                  </a:cubicBezTo>
                  <a:cubicBezTo>
                    <a:pt x="633" y="1251"/>
                    <a:pt x="633" y="1251"/>
                    <a:pt x="633" y="1251"/>
                  </a:cubicBezTo>
                  <a:cubicBezTo>
                    <a:pt x="644" y="1261"/>
                    <a:pt x="658" y="1272"/>
                    <a:pt x="673" y="1285"/>
                  </a:cubicBezTo>
                  <a:cubicBezTo>
                    <a:pt x="677" y="1285"/>
                    <a:pt x="677" y="1285"/>
                    <a:pt x="677" y="1285"/>
                  </a:cubicBezTo>
                  <a:cubicBezTo>
                    <a:pt x="677" y="1140"/>
                    <a:pt x="677" y="1140"/>
                    <a:pt x="677" y="1140"/>
                  </a:cubicBezTo>
                  <a:cubicBezTo>
                    <a:pt x="731" y="1173"/>
                    <a:pt x="799" y="1206"/>
                    <a:pt x="849" y="1206"/>
                  </a:cubicBezTo>
                  <a:cubicBezTo>
                    <a:pt x="904" y="1206"/>
                    <a:pt x="982" y="1166"/>
                    <a:pt x="1038" y="1128"/>
                  </a:cubicBezTo>
                  <a:cubicBezTo>
                    <a:pt x="1038" y="1282"/>
                    <a:pt x="1038" y="1282"/>
                    <a:pt x="1038" y="1282"/>
                  </a:cubicBezTo>
                  <a:cubicBezTo>
                    <a:pt x="1056" y="1267"/>
                    <a:pt x="1071" y="1255"/>
                    <a:pt x="1082" y="1246"/>
                  </a:cubicBezTo>
                  <a:cubicBezTo>
                    <a:pt x="1082" y="1096"/>
                    <a:pt x="1082" y="1096"/>
                    <a:pt x="1082" y="1096"/>
                  </a:cubicBezTo>
                  <a:cubicBezTo>
                    <a:pt x="1085" y="1093"/>
                    <a:pt x="1088" y="1091"/>
                    <a:pt x="1090" y="1089"/>
                  </a:cubicBezTo>
                  <a:cubicBezTo>
                    <a:pt x="1131" y="1052"/>
                    <a:pt x="1212" y="851"/>
                    <a:pt x="1235" y="794"/>
                  </a:cubicBezTo>
                  <a:cubicBezTo>
                    <a:pt x="1275" y="770"/>
                    <a:pt x="1291" y="731"/>
                    <a:pt x="1297" y="706"/>
                  </a:cubicBezTo>
                  <a:cubicBezTo>
                    <a:pt x="1281" y="713"/>
                    <a:pt x="1263" y="720"/>
                    <a:pt x="1244" y="723"/>
                  </a:cubicBezTo>
                  <a:cubicBezTo>
                    <a:pt x="1237" y="737"/>
                    <a:pt x="1225" y="750"/>
                    <a:pt x="1207" y="759"/>
                  </a:cubicBezTo>
                  <a:cubicBezTo>
                    <a:pt x="1202" y="762"/>
                    <a:pt x="1199" y="766"/>
                    <a:pt x="1197" y="771"/>
                  </a:cubicBezTo>
                  <a:cubicBezTo>
                    <a:pt x="1159" y="868"/>
                    <a:pt x="1088" y="1032"/>
                    <a:pt x="1061" y="1056"/>
                  </a:cubicBezTo>
                  <a:cubicBezTo>
                    <a:pt x="1020" y="1092"/>
                    <a:pt x="908" y="1162"/>
                    <a:pt x="849" y="1162"/>
                  </a:cubicBezTo>
                  <a:cubicBezTo>
                    <a:pt x="789" y="1162"/>
                    <a:pt x="677" y="1092"/>
                    <a:pt x="636" y="1056"/>
                  </a:cubicBezTo>
                  <a:cubicBezTo>
                    <a:pt x="609" y="1032"/>
                    <a:pt x="539" y="868"/>
                    <a:pt x="500" y="771"/>
                  </a:cubicBezTo>
                  <a:cubicBezTo>
                    <a:pt x="498" y="765"/>
                    <a:pt x="493" y="760"/>
                    <a:pt x="487" y="758"/>
                  </a:cubicBezTo>
                  <a:cubicBezTo>
                    <a:pt x="461" y="748"/>
                    <a:pt x="448" y="714"/>
                    <a:pt x="442" y="686"/>
                  </a:cubicBezTo>
                  <a:cubicBezTo>
                    <a:pt x="432" y="686"/>
                    <a:pt x="418" y="684"/>
                    <a:pt x="407" y="671"/>
                  </a:cubicBezTo>
                  <a:cubicBezTo>
                    <a:pt x="403" y="664"/>
                    <a:pt x="399" y="656"/>
                    <a:pt x="396" y="649"/>
                  </a:cubicBezTo>
                  <a:cubicBezTo>
                    <a:pt x="395" y="651"/>
                    <a:pt x="395" y="653"/>
                    <a:pt x="395" y="655"/>
                  </a:cubicBezTo>
                  <a:cubicBezTo>
                    <a:pt x="394" y="683"/>
                    <a:pt x="406" y="767"/>
                    <a:pt x="463" y="795"/>
                  </a:cubicBezTo>
                  <a:close/>
                  <a:moveTo>
                    <a:pt x="1703" y="1625"/>
                  </a:moveTo>
                  <a:cubicBezTo>
                    <a:pt x="1677" y="1555"/>
                    <a:pt x="1601" y="1373"/>
                    <a:pt x="1497" y="1325"/>
                  </a:cubicBezTo>
                  <a:cubicBezTo>
                    <a:pt x="1430" y="1294"/>
                    <a:pt x="1334" y="1279"/>
                    <a:pt x="1257" y="1271"/>
                  </a:cubicBezTo>
                  <a:cubicBezTo>
                    <a:pt x="1222" y="1300"/>
                    <a:pt x="1222" y="1300"/>
                    <a:pt x="1222" y="1300"/>
                  </a:cubicBezTo>
                  <a:cubicBezTo>
                    <a:pt x="1149" y="1360"/>
                    <a:pt x="1007" y="1477"/>
                    <a:pt x="890" y="1571"/>
                  </a:cubicBezTo>
                  <a:cubicBezTo>
                    <a:pt x="880" y="1579"/>
                    <a:pt x="867" y="1583"/>
                    <a:pt x="854" y="1583"/>
                  </a:cubicBezTo>
                  <a:cubicBezTo>
                    <a:pt x="841" y="1583"/>
                    <a:pt x="828" y="1579"/>
                    <a:pt x="818" y="1571"/>
                  </a:cubicBezTo>
                  <a:cubicBezTo>
                    <a:pt x="729" y="1500"/>
                    <a:pt x="572" y="1371"/>
                    <a:pt x="486" y="1300"/>
                  </a:cubicBezTo>
                  <a:cubicBezTo>
                    <a:pt x="451" y="1271"/>
                    <a:pt x="451" y="1271"/>
                    <a:pt x="451" y="1271"/>
                  </a:cubicBezTo>
                  <a:cubicBezTo>
                    <a:pt x="374" y="1279"/>
                    <a:pt x="278" y="1294"/>
                    <a:pt x="211" y="1325"/>
                  </a:cubicBezTo>
                  <a:cubicBezTo>
                    <a:pt x="107" y="1373"/>
                    <a:pt x="31" y="1555"/>
                    <a:pt x="5" y="1625"/>
                  </a:cubicBezTo>
                  <a:cubicBezTo>
                    <a:pt x="0" y="1639"/>
                    <a:pt x="10" y="1653"/>
                    <a:pt x="25" y="1653"/>
                  </a:cubicBezTo>
                  <a:cubicBezTo>
                    <a:pt x="1683" y="1653"/>
                    <a:pt x="1683" y="1653"/>
                    <a:pt x="1683" y="1653"/>
                  </a:cubicBezTo>
                  <a:cubicBezTo>
                    <a:pt x="1698" y="1653"/>
                    <a:pt x="1708" y="1639"/>
                    <a:pt x="1703" y="1625"/>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76" name="Group 75">
            <a:extLst>
              <a:ext uri="{FF2B5EF4-FFF2-40B4-BE49-F238E27FC236}">
                <a16:creationId xmlns:a16="http://schemas.microsoft.com/office/drawing/2014/main" id="{3970BD05-295F-4D3A-9EFA-123DD39B6E82}"/>
              </a:ext>
            </a:extLst>
          </p:cNvPr>
          <p:cNvGrpSpPr/>
          <p:nvPr/>
        </p:nvGrpSpPr>
        <p:grpSpPr>
          <a:xfrm rot="621259">
            <a:off x="8929742" y="4480525"/>
            <a:ext cx="503382" cy="677788"/>
            <a:chOff x="4105487" y="3327504"/>
            <a:chExt cx="503382" cy="875184"/>
          </a:xfrm>
        </p:grpSpPr>
        <p:sp>
          <p:nvSpPr>
            <p:cNvPr id="88" name="Freeform 275">
              <a:extLst>
                <a:ext uri="{FF2B5EF4-FFF2-40B4-BE49-F238E27FC236}">
                  <a16:creationId xmlns:a16="http://schemas.microsoft.com/office/drawing/2014/main" id="{259D777B-9BCF-444B-9F9D-56B53FAE9F53}"/>
                </a:ext>
              </a:extLst>
            </p:cNvPr>
            <p:cNvSpPr>
              <a:spLocks/>
            </p:cNvSpPr>
            <p:nvPr/>
          </p:nvSpPr>
          <p:spPr>
            <a:xfrm rot="16657597">
              <a:off x="4089270" y="3683090"/>
              <a:ext cx="841643" cy="197554"/>
            </a:xfrm>
            <a:custGeom>
              <a:avLst/>
              <a:gdLst>
                <a:gd name="connsiteX0" fmla="*/ 2114550 w 2114550"/>
                <a:gd name="connsiteY0" fmla="*/ 0 h 438150"/>
                <a:gd name="connsiteX1" fmla="*/ 1873250 w 2114550"/>
                <a:gd name="connsiteY1" fmla="*/ 241300 h 438150"/>
                <a:gd name="connsiteX2" fmla="*/ 1873250 w 2114550"/>
                <a:gd name="connsiteY2" fmla="*/ 317500 h 438150"/>
                <a:gd name="connsiteX3" fmla="*/ 0 w 2114550"/>
                <a:gd name="connsiteY3" fmla="*/ 438150 h 438150"/>
                <a:gd name="connsiteX0" fmla="*/ 2114550 w 2114550"/>
                <a:gd name="connsiteY0" fmla="*/ 0 h 438150"/>
                <a:gd name="connsiteX1" fmla="*/ 1873250 w 2114550"/>
                <a:gd name="connsiteY1" fmla="*/ 241300 h 438150"/>
                <a:gd name="connsiteX2" fmla="*/ 0 w 2114550"/>
                <a:gd name="connsiteY2" fmla="*/ 438150 h 438150"/>
                <a:gd name="connsiteX0" fmla="*/ 2114550 w 2114550"/>
                <a:gd name="connsiteY0" fmla="*/ 0 h 438150"/>
                <a:gd name="connsiteX1" fmla="*/ 0 w 2114550"/>
                <a:gd name="connsiteY1" fmla="*/ 438150 h 438150"/>
                <a:gd name="connsiteX0" fmla="*/ 2114550 w 2114550"/>
                <a:gd name="connsiteY0" fmla="*/ 0 h 438150"/>
                <a:gd name="connsiteX1" fmla="*/ 0 w 2114550"/>
                <a:gd name="connsiteY1" fmla="*/ 438150 h 438150"/>
                <a:gd name="connsiteX0" fmla="*/ 2114550 w 2114550"/>
                <a:gd name="connsiteY0" fmla="*/ 0 h 542938"/>
                <a:gd name="connsiteX1" fmla="*/ 0 w 2114550"/>
                <a:gd name="connsiteY1" fmla="*/ 438150 h 542938"/>
                <a:gd name="connsiteX0" fmla="*/ 2114550 w 2114550"/>
                <a:gd name="connsiteY0" fmla="*/ 0 h 497642"/>
                <a:gd name="connsiteX1" fmla="*/ 0 w 2114550"/>
                <a:gd name="connsiteY1" fmla="*/ 438150 h 497642"/>
                <a:gd name="connsiteX0" fmla="*/ 2291299 w 2291299"/>
                <a:gd name="connsiteY0" fmla="*/ 0 h 977882"/>
                <a:gd name="connsiteX1" fmla="*/ 0 w 2291299"/>
                <a:gd name="connsiteY1" fmla="*/ 956487 h 977882"/>
                <a:gd name="connsiteX0" fmla="*/ 2291299 w 2291299"/>
                <a:gd name="connsiteY0" fmla="*/ 0 h 957171"/>
                <a:gd name="connsiteX1" fmla="*/ 0 w 2291299"/>
                <a:gd name="connsiteY1" fmla="*/ 956487 h 957171"/>
                <a:gd name="connsiteX0" fmla="*/ 2081819 w 2081819"/>
                <a:gd name="connsiteY0" fmla="*/ 0 h 1073856"/>
                <a:gd name="connsiteX1" fmla="*/ 0 w 2081819"/>
                <a:gd name="connsiteY1" fmla="*/ 1073295 h 1073856"/>
                <a:gd name="connsiteX0" fmla="*/ 2081819 w 2081819"/>
                <a:gd name="connsiteY0" fmla="*/ 0 h 1073998"/>
                <a:gd name="connsiteX1" fmla="*/ 0 w 2081819"/>
                <a:gd name="connsiteY1" fmla="*/ 1073295 h 1073998"/>
                <a:gd name="connsiteX0" fmla="*/ 2134189 w 2134189"/>
                <a:gd name="connsiteY0" fmla="*/ 0 h 1103163"/>
                <a:gd name="connsiteX1" fmla="*/ 0 w 2134189"/>
                <a:gd name="connsiteY1" fmla="*/ 1102496 h 1103163"/>
                <a:gd name="connsiteX0" fmla="*/ 2134189 w 2134189"/>
                <a:gd name="connsiteY0" fmla="*/ 0 h 1103051"/>
                <a:gd name="connsiteX1" fmla="*/ 0 w 2134189"/>
                <a:gd name="connsiteY1" fmla="*/ 1102496 h 1103051"/>
                <a:gd name="connsiteX0" fmla="*/ 2134189 w 2134189"/>
                <a:gd name="connsiteY0" fmla="*/ 0 h 1102748"/>
                <a:gd name="connsiteX1" fmla="*/ 0 w 2134189"/>
                <a:gd name="connsiteY1" fmla="*/ 1102496 h 1102748"/>
                <a:gd name="connsiteX0" fmla="*/ 2243402 w 2243402"/>
                <a:gd name="connsiteY0" fmla="*/ 0 h 505037"/>
                <a:gd name="connsiteX1" fmla="*/ 0 w 2243402"/>
                <a:gd name="connsiteY1" fmla="*/ 502210 h 505037"/>
                <a:gd name="connsiteX0" fmla="*/ 2243402 w 2243402"/>
                <a:gd name="connsiteY0" fmla="*/ 0 h 587258"/>
                <a:gd name="connsiteX1" fmla="*/ 0 w 2243402"/>
                <a:gd name="connsiteY1" fmla="*/ 502210 h 587258"/>
              </a:gdLst>
              <a:ahLst/>
              <a:cxnLst>
                <a:cxn ang="0">
                  <a:pos x="connsiteX0" y="connsiteY0"/>
                </a:cxn>
                <a:cxn ang="0">
                  <a:pos x="connsiteX1" y="connsiteY1"/>
                </a:cxn>
              </a:cxnLst>
              <a:rect l="l" t="t" r="r" b="b"/>
              <a:pathLst>
                <a:path w="2243402" h="587258">
                  <a:moveTo>
                    <a:pt x="2243402" y="0"/>
                  </a:moveTo>
                  <a:cubicBezTo>
                    <a:pt x="1957582" y="491802"/>
                    <a:pt x="809080" y="725647"/>
                    <a:pt x="0" y="502210"/>
                  </a:cubicBezTo>
                </a:path>
              </a:pathLst>
            </a:custGeom>
            <a:ln w="76200" cap="rnd"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105156" tIns="52578" rIns="105156" bIns="5257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89" name="Freeform 275">
              <a:extLst>
                <a:ext uri="{FF2B5EF4-FFF2-40B4-BE49-F238E27FC236}">
                  <a16:creationId xmlns:a16="http://schemas.microsoft.com/office/drawing/2014/main" id="{6B35748C-A99D-447D-9D22-96EF6FD20400}"/>
                </a:ext>
              </a:extLst>
            </p:cNvPr>
            <p:cNvSpPr/>
            <p:nvPr/>
          </p:nvSpPr>
          <p:spPr>
            <a:xfrm rot="6083154">
              <a:off x="3820813" y="3612178"/>
              <a:ext cx="832324" cy="262976"/>
            </a:xfrm>
            <a:custGeom>
              <a:avLst/>
              <a:gdLst>
                <a:gd name="connsiteX0" fmla="*/ 2114550 w 2114550"/>
                <a:gd name="connsiteY0" fmla="*/ 0 h 438150"/>
                <a:gd name="connsiteX1" fmla="*/ 1873250 w 2114550"/>
                <a:gd name="connsiteY1" fmla="*/ 241300 h 438150"/>
                <a:gd name="connsiteX2" fmla="*/ 1873250 w 2114550"/>
                <a:gd name="connsiteY2" fmla="*/ 317500 h 438150"/>
                <a:gd name="connsiteX3" fmla="*/ 0 w 2114550"/>
                <a:gd name="connsiteY3" fmla="*/ 438150 h 438150"/>
                <a:gd name="connsiteX0" fmla="*/ 2114550 w 2114550"/>
                <a:gd name="connsiteY0" fmla="*/ 0 h 438150"/>
                <a:gd name="connsiteX1" fmla="*/ 1873250 w 2114550"/>
                <a:gd name="connsiteY1" fmla="*/ 241300 h 438150"/>
                <a:gd name="connsiteX2" fmla="*/ 0 w 2114550"/>
                <a:gd name="connsiteY2" fmla="*/ 438150 h 438150"/>
                <a:gd name="connsiteX0" fmla="*/ 2114550 w 2114550"/>
                <a:gd name="connsiteY0" fmla="*/ 0 h 438150"/>
                <a:gd name="connsiteX1" fmla="*/ 0 w 2114550"/>
                <a:gd name="connsiteY1" fmla="*/ 438150 h 438150"/>
                <a:gd name="connsiteX0" fmla="*/ 2114550 w 2114550"/>
                <a:gd name="connsiteY0" fmla="*/ 0 h 438150"/>
                <a:gd name="connsiteX1" fmla="*/ 0 w 2114550"/>
                <a:gd name="connsiteY1" fmla="*/ 438150 h 438150"/>
                <a:gd name="connsiteX0" fmla="*/ 2114550 w 2114550"/>
                <a:gd name="connsiteY0" fmla="*/ 0 h 542938"/>
                <a:gd name="connsiteX1" fmla="*/ 0 w 2114550"/>
                <a:gd name="connsiteY1" fmla="*/ 438150 h 542938"/>
                <a:gd name="connsiteX0" fmla="*/ 2114550 w 2114550"/>
                <a:gd name="connsiteY0" fmla="*/ 0 h 497642"/>
                <a:gd name="connsiteX1" fmla="*/ 0 w 2114550"/>
                <a:gd name="connsiteY1" fmla="*/ 438150 h 497642"/>
                <a:gd name="connsiteX0" fmla="*/ 2291299 w 2291299"/>
                <a:gd name="connsiteY0" fmla="*/ 0 h 977882"/>
                <a:gd name="connsiteX1" fmla="*/ 0 w 2291299"/>
                <a:gd name="connsiteY1" fmla="*/ 956487 h 977882"/>
                <a:gd name="connsiteX0" fmla="*/ 2291299 w 2291299"/>
                <a:gd name="connsiteY0" fmla="*/ 0 h 957171"/>
                <a:gd name="connsiteX1" fmla="*/ 0 w 2291299"/>
                <a:gd name="connsiteY1" fmla="*/ 956487 h 957171"/>
                <a:gd name="connsiteX0" fmla="*/ 2081819 w 2081819"/>
                <a:gd name="connsiteY0" fmla="*/ 0 h 1073856"/>
                <a:gd name="connsiteX1" fmla="*/ 0 w 2081819"/>
                <a:gd name="connsiteY1" fmla="*/ 1073295 h 1073856"/>
                <a:gd name="connsiteX0" fmla="*/ 2081819 w 2081819"/>
                <a:gd name="connsiteY0" fmla="*/ 0 h 1073998"/>
                <a:gd name="connsiteX1" fmla="*/ 0 w 2081819"/>
                <a:gd name="connsiteY1" fmla="*/ 1073295 h 1073998"/>
                <a:gd name="connsiteX0" fmla="*/ 2134189 w 2134189"/>
                <a:gd name="connsiteY0" fmla="*/ 0 h 1103163"/>
                <a:gd name="connsiteX1" fmla="*/ 0 w 2134189"/>
                <a:gd name="connsiteY1" fmla="*/ 1102496 h 1103163"/>
                <a:gd name="connsiteX0" fmla="*/ 2134189 w 2134189"/>
                <a:gd name="connsiteY0" fmla="*/ 0 h 1103051"/>
                <a:gd name="connsiteX1" fmla="*/ 0 w 2134189"/>
                <a:gd name="connsiteY1" fmla="*/ 1102496 h 1103051"/>
                <a:gd name="connsiteX0" fmla="*/ 2134189 w 2134189"/>
                <a:gd name="connsiteY0" fmla="*/ 0 h 1102748"/>
                <a:gd name="connsiteX1" fmla="*/ 0 w 2134189"/>
                <a:gd name="connsiteY1" fmla="*/ 1102496 h 1102748"/>
                <a:gd name="connsiteX0" fmla="*/ 2243402 w 2243402"/>
                <a:gd name="connsiteY0" fmla="*/ 0 h 505037"/>
                <a:gd name="connsiteX1" fmla="*/ 0 w 2243402"/>
                <a:gd name="connsiteY1" fmla="*/ 502210 h 505037"/>
                <a:gd name="connsiteX0" fmla="*/ 2243402 w 2243402"/>
                <a:gd name="connsiteY0" fmla="*/ 0 h 587258"/>
                <a:gd name="connsiteX1" fmla="*/ 0 w 2243402"/>
                <a:gd name="connsiteY1" fmla="*/ 502210 h 587258"/>
              </a:gdLst>
              <a:ahLst/>
              <a:cxnLst>
                <a:cxn ang="0">
                  <a:pos x="connsiteX0" y="connsiteY0"/>
                </a:cxn>
                <a:cxn ang="0">
                  <a:pos x="connsiteX1" y="connsiteY1"/>
                </a:cxn>
              </a:cxnLst>
              <a:rect l="l" t="t" r="r" b="b"/>
              <a:pathLst>
                <a:path w="2243402" h="587258">
                  <a:moveTo>
                    <a:pt x="2243402" y="0"/>
                  </a:moveTo>
                  <a:cubicBezTo>
                    <a:pt x="1957582" y="491802"/>
                    <a:pt x="809080" y="725647"/>
                    <a:pt x="0" y="502210"/>
                  </a:cubicBezTo>
                </a:path>
              </a:pathLst>
            </a:custGeom>
            <a:ln w="76200" cap="rnd" cmpd="sng" algn="ctr">
              <a:solidFill>
                <a:schemeClr val="accent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105156" tIns="52578" rIns="105156" bIns="5257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4" name="TextBox 13">
            <a:extLst>
              <a:ext uri="{FF2B5EF4-FFF2-40B4-BE49-F238E27FC236}">
                <a16:creationId xmlns:a16="http://schemas.microsoft.com/office/drawing/2014/main" id="{C48129D4-E8A6-4E9C-B73A-7A408C275376}"/>
              </a:ext>
            </a:extLst>
          </p:cNvPr>
          <p:cNvSpPr txBox="1"/>
          <p:nvPr/>
        </p:nvSpPr>
        <p:spPr>
          <a:xfrm>
            <a:off x="6377943" y="5392935"/>
            <a:ext cx="5461598" cy="1203535"/>
          </a:xfrm>
          <a:prstGeom prst="rect">
            <a:avLst/>
          </a:prstGeom>
        </p:spPr>
        <p:txBody>
          <a:bodyPr vert="horz" wrap="square" lIns="0" tIns="0" rIns="0" bIns="0" rtlCol="0" anchor="t" anchorCtr="0">
            <a:spAutoFit/>
          </a:bodyPr>
          <a:lstStyle>
            <a:lvl1pPr lvl="0" indent="0">
              <a:lnSpc>
                <a:spcPct val="110000"/>
              </a:lnSpc>
              <a:spcBef>
                <a:spcPts val="600"/>
              </a:spcBef>
              <a:spcAft>
                <a:spcPts val="300"/>
              </a:spcAft>
              <a:buFont typeface="Arial" panose="020B0604020202020204" pitchFamily="34" charset="0"/>
              <a:buChar char="​"/>
              <a:defRPr lang="en-US" sz="1200">
                <a:solidFill>
                  <a:schemeClr val="tx1"/>
                </a:solidFill>
                <a:sym typeface="+mn-lt"/>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solidFill>
                  <a:schemeClr val="tx1"/>
                </a:solidFill>
                <a:sym typeface="+mn-lt"/>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solidFill>
                  <a:schemeClr val="tx1"/>
                </a:solidFill>
                <a:sym typeface="+mn-lt"/>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sym typeface="+mn-lt"/>
              </a:defRPr>
            </a:lvl4pPr>
            <a:lvl5pPr marL="0" lvl="4" indent="0">
              <a:lnSpc>
                <a:spcPct val="100000"/>
              </a:lnSpc>
              <a:spcBef>
                <a:spcPts val="0"/>
              </a:spcBef>
              <a:spcAft>
                <a:spcPts val="300"/>
              </a:spcAft>
              <a:buClrTx/>
              <a:buFont typeface="Arial" panose="020B0604020202020204" pitchFamily="34" charset="0"/>
              <a:buChar char="​"/>
              <a:defRPr lang="en-US" sz="1600" b="1" smtClean="0">
                <a:solidFill>
                  <a:schemeClr val="tx1"/>
                </a:solidFill>
                <a:sym typeface="+mn-lt"/>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solidFill>
                  <a:schemeClr val="tx1"/>
                </a:solidFill>
                <a:sym typeface="+mn-lt"/>
              </a:defRPr>
            </a:lvl6pPr>
            <a:lvl7pPr marL="0" lvl="6" indent="0">
              <a:lnSpc>
                <a:spcPct val="90000"/>
              </a:lnSpc>
              <a:spcBef>
                <a:spcPts val="900"/>
              </a:spcBef>
              <a:spcAft>
                <a:spcPts val="900"/>
              </a:spcAft>
              <a:buFont typeface="Arial" panose="020B0604020202020204" pitchFamily="34" charset="0"/>
              <a:buChar char="​"/>
              <a:defRPr lang="en-US" sz="4400" baseline="0" smtClean="0">
                <a:solidFill>
                  <a:schemeClr val="tx1"/>
                </a:solidFill>
                <a:sym typeface="+mn-lt"/>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sym typeface="+mn-lt"/>
              </a:rPr>
              <a:t>…</a:t>
            </a:r>
            <a:r>
              <a:rPr kumimoji="0" lang="ru-RU" sz="1800" b="0" i="0" u="none" strike="noStrike" kern="1200" cap="none" spc="0" normalizeH="0" baseline="0" noProof="0" dirty="0">
                <a:ln>
                  <a:noFill/>
                </a:ln>
                <a:solidFill>
                  <a:srgbClr val="000000"/>
                </a:solidFill>
                <a:effectLst/>
                <a:uLnTx/>
                <a:uFillTx/>
                <a:latin typeface="Calibri"/>
                <a:ea typeface="+mn-ea"/>
                <a:cs typeface="+mn-cs"/>
                <a:sym typeface="+mn-lt"/>
              </a:rPr>
              <a:t> поддерживаются национальными, региональными и глобальными сетями для обеспечения готовности к чрезвычайным ситуациям в области здравоохранения и реагирования на них</a:t>
            </a:r>
            <a:endParaRPr kumimoji="0" lang="en-US" sz="1800" b="0" i="0" u="none" strike="noStrike" kern="1200" cap="none" spc="0" normalizeH="0" baseline="0" noProof="0" dirty="0">
              <a:ln>
                <a:noFill/>
              </a:ln>
              <a:solidFill>
                <a:srgbClr val="000000"/>
              </a:solidFill>
              <a:effectLst/>
              <a:uLnTx/>
              <a:uFillTx/>
              <a:latin typeface="Calibri"/>
              <a:ea typeface="+mn-ea"/>
              <a:cs typeface="+mn-cs"/>
              <a:sym typeface="+mn-lt"/>
            </a:endParaRPr>
          </a:p>
        </p:txBody>
      </p:sp>
      <p:grpSp>
        <p:nvGrpSpPr>
          <p:cNvPr id="19" name="ChevronBlue 19">
            <a:extLst>
              <a:ext uri="{FF2B5EF4-FFF2-40B4-BE49-F238E27FC236}">
                <a16:creationId xmlns:a16="http://schemas.microsoft.com/office/drawing/2014/main" id="{6170B7CE-3376-40B3-83D4-DF0F8837F0BE}"/>
              </a:ext>
            </a:extLst>
          </p:cNvPr>
          <p:cNvGrpSpPr>
            <a:grpSpLocks noChangeAspect="1"/>
          </p:cNvGrpSpPr>
          <p:nvPr>
            <p:custDataLst>
              <p:tags r:id="rId6"/>
            </p:custDataLst>
          </p:nvPr>
        </p:nvGrpSpPr>
        <p:grpSpPr>
          <a:xfrm>
            <a:off x="6015479" y="3595718"/>
            <a:ext cx="457200" cy="457200"/>
            <a:chOff x="1016000" y="1016000"/>
            <a:chExt cx="396228" cy="396228"/>
          </a:xfrm>
        </p:grpSpPr>
        <p:sp>
          <p:nvSpPr>
            <p:cNvPr id="13" name="Oval 12">
              <a:extLst>
                <a:ext uri="{FF2B5EF4-FFF2-40B4-BE49-F238E27FC236}">
                  <a16:creationId xmlns:a16="http://schemas.microsoft.com/office/drawing/2014/main" id="{E25F66C3-3EA0-4E35-A9A0-6AB840C1F909}"/>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Calibri"/>
                <a:ea typeface="+mn-ea"/>
                <a:cs typeface="+mn-cs"/>
              </a:endParaRPr>
            </a:p>
          </p:txBody>
        </p:sp>
        <p:pic>
          <p:nvPicPr>
            <p:cNvPr id="16" name="Graphic 15">
              <a:extLst>
                <a:ext uri="{FF2B5EF4-FFF2-40B4-BE49-F238E27FC236}">
                  <a16:creationId xmlns:a16="http://schemas.microsoft.com/office/drawing/2014/main" id="{A911C6E2-D6E2-402A-A701-9D9AF5A0FEA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39" name="TextBox 38">
            <a:extLst>
              <a:ext uri="{FF2B5EF4-FFF2-40B4-BE49-F238E27FC236}">
                <a16:creationId xmlns:a16="http://schemas.microsoft.com/office/drawing/2014/main" id="{1DF3BF37-FCBC-4E08-B797-9BC58D2D0EF6}"/>
              </a:ext>
            </a:extLst>
          </p:cNvPr>
          <p:cNvSpPr txBox="1"/>
          <p:nvPr/>
        </p:nvSpPr>
        <p:spPr>
          <a:xfrm>
            <a:off x="6839207" y="1586056"/>
            <a:ext cx="4747793" cy="289438"/>
          </a:xfrm>
          <a:prstGeom prst="rect">
            <a:avLst/>
          </a:prstGeom>
        </p:spPr>
        <p:txBody>
          <a:bodyPr vert="horz" wrap="square" lIns="0" tIns="0" rIns="0" bIns="0" rtlCol="0" anchor="t" anchorCtr="0">
            <a:spAutoFit/>
          </a:bodyPr>
          <a:lstStyle>
            <a:lvl1pPr lvl="0" indent="0">
              <a:lnSpc>
                <a:spcPct val="110000"/>
              </a:lnSpc>
              <a:spcBef>
                <a:spcPts val="600"/>
              </a:spcBef>
              <a:spcAft>
                <a:spcPts val="300"/>
              </a:spcAft>
              <a:buFont typeface="Arial" panose="020B0604020202020204" pitchFamily="34" charset="0"/>
              <a:buChar char="​"/>
              <a:defRPr lang="en-US" sz="1200">
                <a:solidFill>
                  <a:schemeClr val="tx1"/>
                </a:solidFill>
                <a:sym typeface="+mn-lt"/>
              </a:defRPr>
            </a:lvl1pPr>
            <a:lvl2pPr marL="284400" lvl="1" indent="-172800">
              <a:lnSpc>
                <a:spcPct val="90000"/>
              </a:lnSpc>
              <a:spcBef>
                <a:spcPts val="0"/>
              </a:spcBef>
              <a:spcAft>
                <a:spcPts val="300"/>
              </a:spcAft>
              <a:buClr>
                <a:schemeClr val="tx2"/>
              </a:buClr>
              <a:buFont typeface="Arial" panose="020B0604020202020204" pitchFamily="34" charset="0"/>
              <a:buChar char="•"/>
              <a:defRPr lang="en-US" sz="1200">
                <a:solidFill>
                  <a:schemeClr val="tx1"/>
                </a:solidFill>
                <a:sym typeface="+mn-lt"/>
              </a:defRPr>
            </a:lvl2pPr>
            <a:lvl3pPr marL="511200" lvl="2" indent="-165600">
              <a:lnSpc>
                <a:spcPct val="90000"/>
              </a:lnSpc>
              <a:spcBef>
                <a:spcPts val="0"/>
              </a:spcBef>
              <a:spcAft>
                <a:spcPts val="300"/>
              </a:spcAft>
              <a:buClr>
                <a:schemeClr val="tx2"/>
              </a:buClr>
              <a:buFont typeface="Trebuchet MS" panose="020B0603020202020204" pitchFamily="34" charset="0"/>
              <a:buChar char="–"/>
              <a:defRPr lang="en-US" sz="1200">
                <a:solidFill>
                  <a:schemeClr val="tx1"/>
                </a:solidFill>
                <a:sym typeface="+mn-lt"/>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sym typeface="+mn-lt"/>
              </a:defRPr>
            </a:lvl4pPr>
            <a:lvl5pPr marL="0" lvl="4" indent="0">
              <a:lnSpc>
                <a:spcPct val="100000"/>
              </a:lnSpc>
              <a:spcBef>
                <a:spcPts val="0"/>
              </a:spcBef>
              <a:spcAft>
                <a:spcPts val="300"/>
              </a:spcAft>
              <a:buClrTx/>
              <a:buFont typeface="Arial" panose="020B0604020202020204" pitchFamily="34" charset="0"/>
              <a:buChar char="​"/>
              <a:defRPr lang="en-US" sz="1600" b="1" smtClean="0">
                <a:solidFill>
                  <a:schemeClr val="tx1"/>
                </a:solidFill>
                <a:sym typeface="+mn-lt"/>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solidFill>
                  <a:schemeClr val="tx1"/>
                </a:solidFill>
                <a:sym typeface="+mn-lt"/>
              </a:defRPr>
            </a:lvl6pPr>
            <a:lvl7pPr marL="0" lvl="6" indent="0">
              <a:lnSpc>
                <a:spcPct val="90000"/>
              </a:lnSpc>
              <a:spcBef>
                <a:spcPts val="900"/>
              </a:spcBef>
              <a:spcAft>
                <a:spcPts val="900"/>
              </a:spcAft>
              <a:buFont typeface="Arial" panose="020B0604020202020204" pitchFamily="34" charset="0"/>
              <a:buChar char="​"/>
              <a:defRPr lang="en-US" sz="4400" baseline="0" smtClean="0">
                <a:solidFill>
                  <a:schemeClr val="tx1"/>
                </a:solidFill>
                <a:sym typeface="+mn-lt"/>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0" marR="0" lvl="0" indent="0" algn="ctr" defTabSz="914400" rtl="0" eaLnBrk="1" fontAlgn="auto" latinLnBrk="0" hangingPunct="1">
              <a:lnSpc>
                <a:spcPct val="110000"/>
              </a:lnSpc>
              <a:spcBef>
                <a:spcPts val="600"/>
              </a:spcBef>
              <a:spcAft>
                <a:spcPts val="300"/>
              </a:spcAft>
              <a:buClrTx/>
              <a:buSzTx/>
              <a:buNone/>
              <a:tabLst/>
              <a:defRPr/>
            </a:pPr>
            <a:r>
              <a:rPr kumimoji="0" lang="ru-RU" sz="1800" i="0" u="none" strike="noStrike" kern="1200" cap="none" spc="0" normalizeH="0" baseline="0" noProof="0" dirty="0">
                <a:ln>
                  <a:noFill/>
                </a:ln>
                <a:solidFill>
                  <a:srgbClr val="000000"/>
                </a:solidFill>
                <a:effectLst/>
                <a:uLnTx/>
                <a:uFillTx/>
                <a:latin typeface="Calibri"/>
                <a:ea typeface="+mn-ea"/>
                <a:cs typeface="+mn-cs"/>
                <a:sym typeface="+mn-lt"/>
              </a:rPr>
              <a:t>Устойчивые сообщества</a:t>
            </a:r>
            <a:r>
              <a:rPr kumimoji="0" lang="en-US" sz="1800" i="0" u="none" strike="noStrike" kern="1200" cap="none" spc="0" normalizeH="0" baseline="0" noProof="0" dirty="0">
                <a:ln>
                  <a:noFill/>
                </a:ln>
                <a:solidFill>
                  <a:srgbClr val="000000"/>
                </a:solidFill>
                <a:effectLst/>
                <a:uLnTx/>
                <a:uFillTx/>
                <a:latin typeface="Calibri"/>
                <a:ea typeface="+mn-ea"/>
                <a:cs typeface="+mn-cs"/>
                <a:sym typeface="+mn-lt"/>
              </a:rPr>
              <a:t>…</a:t>
            </a:r>
          </a:p>
        </p:txBody>
      </p:sp>
      <p:pic>
        <p:nvPicPr>
          <p:cNvPr id="3" name="Picture 2">
            <a:extLst>
              <a:ext uri="{FF2B5EF4-FFF2-40B4-BE49-F238E27FC236}">
                <a16:creationId xmlns:a16="http://schemas.microsoft.com/office/drawing/2014/main" id="{136EAF05-64B5-4387-BA50-6A0867DDBAE5}"/>
              </a:ext>
            </a:extLst>
          </p:cNvPr>
          <p:cNvPicPr>
            <a:picLocks noChangeAspect="1"/>
          </p:cNvPicPr>
          <p:nvPr/>
        </p:nvPicPr>
        <p:blipFill>
          <a:blip r:embed="rId13"/>
          <a:stretch>
            <a:fillRect/>
          </a:stretch>
        </p:blipFill>
        <p:spPr>
          <a:xfrm>
            <a:off x="8079457" y="2068267"/>
            <a:ext cx="2147629" cy="2147629"/>
          </a:xfrm>
          <a:prstGeom prst="rect">
            <a:avLst/>
          </a:prstGeom>
        </p:spPr>
      </p:pic>
    </p:spTree>
    <p:extLst>
      <p:ext uri="{BB962C8B-B14F-4D97-AF65-F5344CB8AC3E}">
        <p14:creationId xmlns:p14="http://schemas.microsoft.com/office/powerpoint/2010/main" val="28784358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52C5AC-330D-4BC7-985E-A3F294E95E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6" progId="TCLayout.ActiveDocument.1">
                  <p:embed/>
                </p:oleObj>
              </mc:Choice>
              <mc:Fallback>
                <p:oleObj name="think-cell Slide" r:id="rId11" imgW="473" imgH="476" progId="TCLayout.ActiveDocument.1">
                  <p:embed/>
                  <p:pic>
                    <p:nvPicPr>
                      <p:cNvPr id="5" name="Object 6" hidden="1">
                        <a:extLst>
                          <a:ext uri="{FF2B5EF4-FFF2-40B4-BE49-F238E27FC236}">
                            <a16:creationId xmlns:a16="http://schemas.microsoft.com/office/drawing/2014/main" id="{0B52C5AC-330D-4BC7-985E-A3F294E95E6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DBFCC3-D204-44A1-98FA-F2D9025A08C6}"/>
              </a:ext>
            </a:extLst>
          </p:cNvPr>
          <p:cNvSpPr>
            <a:spLocks noGrp="1"/>
          </p:cNvSpPr>
          <p:nvPr>
            <p:ph type="title"/>
          </p:nvPr>
        </p:nvSpPr>
        <p:spPr>
          <a:xfrm>
            <a:off x="179102" y="-39715"/>
            <a:ext cx="12012898" cy="88639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ru-RU" dirty="0"/>
              <a:t>В официальном документе генерального директора представлены решения по укреплению глобальной архитектуры HEPR</a:t>
            </a:r>
            <a:endParaRPr lang="en-US" dirty="0"/>
          </a:p>
        </p:txBody>
      </p:sp>
      <p:sp>
        <p:nvSpPr>
          <p:cNvPr id="53" name="TextBox 52">
            <a:extLst>
              <a:ext uri="{FF2B5EF4-FFF2-40B4-BE49-F238E27FC236}">
                <a16:creationId xmlns:a16="http://schemas.microsoft.com/office/drawing/2014/main" id="{2820F539-8302-4409-B4C7-D6D3EF7DA466}"/>
              </a:ext>
            </a:extLst>
          </p:cNvPr>
          <p:cNvSpPr txBox="1">
            <a:spLocks/>
          </p:cNvSpPr>
          <p:nvPr/>
        </p:nvSpPr>
        <p:spPr>
          <a:xfrm>
            <a:off x="395093" y="1092418"/>
            <a:ext cx="2858406" cy="30008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1800"/>
              </a:spcAft>
              <a:buClr>
                <a:srgbClr val="000000"/>
              </a:buClr>
              <a:buSzPct val="100000"/>
              <a:buFont typeface="Segoe UI" panose="020B0502040204020203" pitchFamily="34" charset="0"/>
              <a:buNone/>
              <a:tabLst/>
              <a:defRPr/>
            </a:pPr>
            <a:r>
              <a:rPr kumimoji="0" lang="ru-RU"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Лидерство</a:t>
            </a:r>
            <a:r>
              <a:rPr kumimoji="0" lang="en-GB"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en-GB"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ru-RU"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Глобальный совет по чрезвычайным ситуациям в области здравоохранения, Комитет ВОЗ по чрезвычайным ситуациям</a:t>
            </a:r>
            <a:endParaRPr kumimoji="0" lang="en-GB" sz="1600" b="0" i="0" u="none" strike="noStrike" kern="1200" cap="none" spc="0" normalizeH="0" baseline="0" noProof="0" dirty="0">
              <a:ln>
                <a:noFill/>
              </a:ln>
              <a:solidFill>
                <a:srgbClr val="FF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1800"/>
              </a:spcAft>
              <a:buClr>
                <a:srgbClr val="000000"/>
              </a:buClr>
              <a:buSzPct val="100000"/>
              <a:buFont typeface="Segoe UI" panose="020B0502040204020203" pitchFamily="34" charset="0"/>
              <a:buNone/>
              <a:tabLst/>
              <a:defRPr/>
            </a:pPr>
            <a:r>
              <a:rPr kumimoji="0" lang="ru-RU"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Регулирование</a:t>
            </a:r>
            <a:r>
              <a:rPr kumimoji="0" lang="en-GB"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 </a:t>
            </a:r>
            <a:r>
              <a:rPr kumimoji="0" lang="ru-RU"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целенаправленные поправки к Международным медико-санитарным правилам</a:t>
            </a:r>
            <a:endParaRPr kumimoji="0" lang="en-GB"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1800"/>
              </a:spcAft>
              <a:buClr>
                <a:srgbClr val="000000"/>
              </a:buClr>
              <a:buSzPct val="100000"/>
              <a:buFont typeface="Segoe UI" panose="020B0502040204020203" pitchFamily="34" charset="0"/>
              <a:buNone/>
              <a:tabLst/>
              <a:defRPr/>
            </a:pPr>
            <a:r>
              <a:rPr kumimoji="0" lang="ru-RU"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Подотчетность</a:t>
            </a:r>
            <a:r>
              <a:rPr kumimoji="0" lang="en-GB"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 </a:t>
            </a:r>
            <a:r>
              <a:rPr kumimoji="0" lang="ru-RU"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Универсальный обзор состояния здравоохранения и готовности, независимые механизмы мониторинга</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nvGrpSpPr>
          <p:cNvPr id="70" name="Group 69">
            <a:extLst>
              <a:ext uri="{FF2B5EF4-FFF2-40B4-BE49-F238E27FC236}">
                <a16:creationId xmlns:a16="http://schemas.microsoft.com/office/drawing/2014/main" id="{3066DB5A-ED78-4D6E-BDE6-E8841B9EE09D}"/>
              </a:ext>
            </a:extLst>
          </p:cNvPr>
          <p:cNvGrpSpPr/>
          <p:nvPr/>
        </p:nvGrpSpPr>
        <p:grpSpPr>
          <a:xfrm>
            <a:off x="2165959" y="4726408"/>
            <a:ext cx="8028324" cy="445801"/>
            <a:chOff x="2407571" y="6505473"/>
            <a:chExt cx="5540937" cy="303036"/>
          </a:xfrm>
        </p:grpSpPr>
        <p:cxnSp>
          <p:nvCxnSpPr>
            <p:cNvPr id="71" name="LineSpecialityDiamond 70">
              <a:extLst>
                <a:ext uri="{FF2B5EF4-FFF2-40B4-BE49-F238E27FC236}">
                  <a16:creationId xmlns:a16="http://schemas.microsoft.com/office/drawing/2014/main" id="{10E5555D-D6CC-4539-8790-C29CC4C1C69E}"/>
                </a:ext>
              </a:extLst>
            </p:cNvPr>
            <p:cNvCxnSpPr>
              <a:cxnSpLocks/>
            </p:cNvCxnSpPr>
            <p:nvPr>
              <p:custDataLst>
                <p:tags r:id="rId8"/>
              </p:custDataLst>
            </p:nvPr>
          </p:nvCxnSpPr>
          <p:spPr>
            <a:xfrm flipV="1">
              <a:off x="4837187" y="6505473"/>
              <a:ext cx="0" cy="303036"/>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5E36584-6605-4EBD-AB8A-2A1BC0623D99}"/>
                </a:ext>
              </a:extLst>
            </p:cNvPr>
            <p:cNvCxnSpPr>
              <a:cxnSpLocks/>
            </p:cNvCxnSpPr>
            <p:nvPr/>
          </p:nvCxnSpPr>
          <p:spPr>
            <a:xfrm flipV="1">
              <a:off x="2407571" y="6808509"/>
              <a:ext cx="554093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7" name="TextBox 76">
            <a:extLst>
              <a:ext uri="{FF2B5EF4-FFF2-40B4-BE49-F238E27FC236}">
                <a16:creationId xmlns:a16="http://schemas.microsoft.com/office/drawing/2014/main" id="{9AD18895-A8E6-442C-AF23-46CB78B2F40C}"/>
              </a:ext>
            </a:extLst>
          </p:cNvPr>
          <p:cNvSpPr txBox="1">
            <a:spLocks/>
          </p:cNvSpPr>
          <p:nvPr/>
        </p:nvSpPr>
        <p:spPr>
          <a:xfrm>
            <a:off x="8237243" y="1253116"/>
            <a:ext cx="3725251" cy="3262432"/>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200"/>
              </a:spcBef>
              <a:spcAft>
                <a:spcPts val="0"/>
              </a:spcAft>
              <a:buClr>
                <a:srgbClr val="000000"/>
              </a:buClr>
              <a:buSzPct val="100000"/>
              <a:buFont typeface="Segoe UI" panose="020B0502040204020203" pitchFamily="34" charset="0"/>
              <a:buNone/>
              <a:tabLst/>
              <a:defRPr/>
            </a:pPr>
            <a:r>
              <a:rPr kumimoji="0" lang="ru-RU"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Потенциал</a:t>
            </a: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ru-RU"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усиленные группы оповещения и реагирования на чрезвычайные ситуации в области здравоохранения, совместимые и быстро развертываемые</a:t>
            </a:r>
          </a:p>
          <a:p>
            <a:pPr marL="0" marR="0" lvl="0" indent="0" algn="l" defTabSz="914400" rtl="0" eaLnBrk="1" fontAlgn="auto" latinLnBrk="0" hangingPunct="1">
              <a:lnSpc>
                <a:spcPct val="100000"/>
              </a:lnSpc>
              <a:spcBef>
                <a:spcPts val="1200"/>
              </a:spcBef>
              <a:spcAft>
                <a:spcPts val="0"/>
              </a:spcAft>
              <a:buClr>
                <a:srgbClr val="000000"/>
              </a:buClr>
              <a:buSzPct val="100000"/>
              <a:buFont typeface="Segoe UI" panose="020B0502040204020203" pitchFamily="34" charset="0"/>
              <a:buNone/>
              <a:tabLst/>
              <a:defRPr/>
            </a:pPr>
            <a:r>
              <a:rPr kumimoji="0" lang="ru-RU"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Координация</a:t>
            </a: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kumimoji="0" lang="ru-RU"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стандартизированные подходы к координации стратегии, финансирования, операций и мониторинга готовности и реагирования</a:t>
            </a:r>
          </a:p>
          <a:p>
            <a:pPr marL="0" marR="0" lvl="0" indent="0" algn="l" defTabSz="914400" rtl="0" eaLnBrk="1" fontAlgn="auto" latinLnBrk="0" hangingPunct="1">
              <a:lnSpc>
                <a:spcPct val="100000"/>
              </a:lnSpc>
              <a:spcBef>
                <a:spcPts val="1200"/>
              </a:spcBef>
              <a:spcAft>
                <a:spcPts val="0"/>
              </a:spcAft>
              <a:buClr>
                <a:srgbClr val="000000"/>
              </a:buClr>
              <a:buSzPct val="100000"/>
              <a:buFont typeface="Segoe UI" panose="020B0502040204020203" pitchFamily="34" charset="0"/>
              <a:buNone/>
              <a:tabLst/>
              <a:defRPr/>
            </a:pPr>
            <a:r>
              <a:rPr kumimoji="0" lang="ru-RU"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Коллаборация</a:t>
            </a: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r>
              <a:rPr lang="ru-RU" dirty="0">
                <a:solidFill>
                  <a:srgbClr val="000000"/>
                </a:solidFill>
                <a:latin typeface="Calibri"/>
              </a:rPr>
              <a:t>расширенные партнерские отношения и усиленные сети для совместного наблюдения, защиты сообщества, клинической помощи и доступа к контрмерам.</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79" name="TextBox 78">
            <a:extLst>
              <a:ext uri="{FF2B5EF4-FFF2-40B4-BE49-F238E27FC236}">
                <a16:creationId xmlns:a16="http://schemas.microsoft.com/office/drawing/2014/main" id="{EC950A7D-7C40-4A8C-991E-42479BC9A6B0}"/>
              </a:ext>
            </a:extLst>
          </p:cNvPr>
          <p:cNvSpPr txBox="1"/>
          <p:nvPr/>
        </p:nvSpPr>
        <p:spPr>
          <a:xfrm>
            <a:off x="1698774" y="5228479"/>
            <a:ext cx="9532620" cy="146193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1200"/>
              </a:spcAft>
              <a:buClr>
                <a:srgbClr val="000000"/>
              </a:buClr>
              <a:buSzPct val="100000"/>
              <a:buFont typeface="Segoe UI" panose="020B0502040204020203" pitchFamily="34" charset="0"/>
              <a:buNone/>
              <a:tabLst/>
              <a:defRPr/>
            </a:pP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Предсказуемое финансирование для обеспечения готовности - </a:t>
            </a:r>
            <a:r>
              <a:rPr kumimoji="0" lang="ru-RU" sz="14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координирующая платформа для финансирования с увеличением внутренних инвестиций и более эффективным/инновационным международным финансированием</a:t>
            </a:r>
          </a:p>
          <a:p>
            <a:pPr marL="0" marR="0" lvl="0" indent="0" algn="l" defTabSz="914400" rtl="0" eaLnBrk="1" fontAlgn="auto" latinLnBrk="0" hangingPunct="1">
              <a:lnSpc>
                <a:spcPct val="100000"/>
              </a:lnSpc>
              <a:spcBef>
                <a:spcPts val="300"/>
              </a:spcBef>
              <a:spcAft>
                <a:spcPts val="1200"/>
              </a:spcAft>
              <a:buClr>
                <a:srgbClr val="000000"/>
              </a:buClr>
              <a:buSzPct val="100000"/>
              <a:buFont typeface="Segoe UI" panose="020B0502040204020203" pitchFamily="34" charset="0"/>
              <a:buNone/>
              <a:tabLst/>
              <a:defRPr/>
            </a:pP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Быстро масштабируемое финансирование для реагирования </a:t>
            </a:r>
            <a:r>
              <a:rPr kumimoji="0" lang="ru-RU" sz="14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расширенный резервный фонд для чрезвычайных ситуаций</a:t>
            </a:r>
          </a:p>
          <a:p>
            <a:pPr marL="0" marR="0" lvl="0" indent="0" algn="l" defTabSz="914400" rtl="0" eaLnBrk="1" fontAlgn="auto" latinLnBrk="0" hangingPunct="1">
              <a:lnSpc>
                <a:spcPct val="100000"/>
              </a:lnSpc>
              <a:spcBef>
                <a:spcPts val="300"/>
              </a:spcBef>
              <a:spcAft>
                <a:spcPts val="1200"/>
              </a:spcAft>
              <a:buClr>
                <a:srgbClr val="000000"/>
              </a:buClr>
              <a:buSzPct val="100000"/>
              <a:buFont typeface="Segoe UI" panose="020B0502040204020203" pitchFamily="34" charset="0"/>
              <a:buNone/>
              <a:tabLst/>
              <a:defRPr/>
            </a:pP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Каталитическое финансирование для заполнения пробелов </a:t>
            </a:r>
            <a:r>
              <a:rPr kumimoji="0" lang="ru-RU" sz="14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расширенное финансирование через новый Фонд финансового посредничества</a:t>
            </a: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endParaRPr kumimoji="0" lang="en-GB"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cxnSp>
        <p:nvCxnSpPr>
          <p:cNvPr id="82" name="LineSpecialityDiamond 70">
            <a:extLst>
              <a:ext uri="{FF2B5EF4-FFF2-40B4-BE49-F238E27FC236}">
                <a16:creationId xmlns:a16="http://schemas.microsoft.com/office/drawing/2014/main" id="{33F73EDC-2BBD-44F2-AC65-ED2D708F57DA}"/>
              </a:ext>
            </a:extLst>
          </p:cNvPr>
          <p:cNvCxnSpPr>
            <a:cxnSpLocks/>
          </p:cNvCxnSpPr>
          <p:nvPr>
            <p:custDataLst>
              <p:tags r:id="rId2"/>
            </p:custDataLst>
          </p:nvPr>
        </p:nvCxnSpPr>
        <p:spPr>
          <a:xfrm>
            <a:off x="3334299" y="2519162"/>
            <a:ext cx="581471"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CB12665-068F-4D48-8731-82EE7A266739}"/>
              </a:ext>
            </a:extLst>
          </p:cNvPr>
          <p:cNvCxnSpPr>
            <a:cxnSpLocks/>
          </p:cNvCxnSpPr>
          <p:nvPr/>
        </p:nvCxnSpPr>
        <p:spPr>
          <a:xfrm>
            <a:off x="3334299" y="1383922"/>
            <a:ext cx="0" cy="300082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7" name="LineSpecialityDiamond 70">
            <a:extLst>
              <a:ext uri="{FF2B5EF4-FFF2-40B4-BE49-F238E27FC236}">
                <a16:creationId xmlns:a16="http://schemas.microsoft.com/office/drawing/2014/main" id="{E56249D0-4F8A-4A0B-AA9D-BC179F7B4459}"/>
              </a:ext>
            </a:extLst>
          </p:cNvPr>
          <p:cNvCxnSpPr>
            <a:cxnSpLocks/>
          </p:cNvCxnSpPr>
          <p:nvPr>
            <p:custDataLst>
              <p:tags r:id="rId3"/>
            </p:custDataLst>
          </p:nvPr>
        </p:nvCxnSpPr>
        <p:spPr>
          <a:xfrm flipH="1">
            <a:off x="7446205" y="2519162"/>
            <a:ext cx="672038"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C3D3641-8B6D-4B38-87FA-E8953911129D}"/>
              </a:ext>
            </a:extLst>
          </p:cNvPr>
          <p:cNvCxnSpPr>
            <a:cxnSpLocks/>
          </p:cNvCxnSpPr>
          <p:nvPr/>
        </p:nvCxnSpPr>
        <p:spPr>
          <a:xfrm>
            <a:off x="8118243" y="1253116"/>
            <a:ext cx="0" cy="326243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BA1F90F8-3CD2-4324-91D7-39E872F7665F}"/>
              </a:ext>
            </a:extLst>
          </p:cNvPr>
          <p:cNvGrpSpPr/>
          <p:nvPr/>
        </p:nvGrpSpPr>
        <p:grpSpPr>
          <a:xfrm>
            <a:off x="3855108" y="1199091"/>
            <a:ext cx="3731042" cy="3572551"/>
            <a:chOff x="3917197" y="1199091"/>
            <a:chExt cx="3731042" cy="3572551"/>
          </a:xfrm>
        </p:grpSpPr>
        <p:grpSp>
          <p:nvGrpSpPr>
            <p:cNvPr id="110" name="Group 109">
              <a:extLst>
                <a:ext uri="{FF2B5EF4-FFF2-40B4-BE49-F238E27FC236}">
                  <a16:creationId xmlns:a16="http://schemas.microsoft.com/office/drawing/2014/main" id="{7C879D45-0793-4F23-A4AB-F8F09A261383}"/>
                </a:ext>
              </a:extLst>
            </p:cNvPr>
            <p:cNvGrpSpPr/>
            <p:nvPr/>
          </p:nvGrpSpPr>
          <p:grpSpPr>
            <a:xfrm rot="14286634">
              <a:off x="4143542" y="1200073"/>
              <a:ext cx="3505680" cy="3503715"/>
              <a:chOff x="3040753" y="2485999"/>
              <a:chExt cx="2827336" cy="2825751"/>
            </a:xfrm>
            <a:solidFill>
              <a:srgbClr val="FFFFFF"/>
            </a:solidFill>
          </p:grpSpPr>
          <p:sp>
            <p:nvSpPr>
              <p:cNvPr id="112" name="Freeform 5">
                <a:extLst>
                  <a:ext uri="{FF2B5EF4-FFF2-40B4-BE49-F238E27FC236}">
                    <a16:creationId xmlns:a16="http://schemas.microsoft.com/office/drawing/2014/main" id="{C9C6CF49-8FB8-44C1-A297-5BD0C29EE268}"/>
                  </a:ext>
                </a:extLst>
              </p:cNvPr>
              <p:cNvSpPr>
                <a:spLocks/>
              </p:cNvSpPr>
              <p:nvPr/>
            </p:nvSpPr>
            <p:spPr bwMode="auto">
              <a:xfrm>
                <a:off x="4548876" y="2485999"/>
                <a:ext cx="1319213" cy="1979613"/>
              </a:xfrm>
              <a:custGeom>
                <a:avLst/>
                <a:gdLst>
                  <a:gd name="T0" fmla="*/ 0 w 13842"/>
                  <a:gd name="T1" fmla="*/ 0 h 20763"/>
                  <a:gd name="T2" fmla="*/ 13842 w 13842"/>
                  <a:gd name="T3" fmla="*/ 13842 h 20763"/>
                  <a:gd name="T4" fmla="*/ 11988 w 13842"/>
                  <a:gd name="T5" fmla="*/ 20763 h 20763"/>
                  <a:gd name="T6" fmla="*/ 5994 w 13842"/>
                  <a:gd name="T7" fmla="*/ 17303 h 20763"/>
                  <a:gd name="T8" fmla="*/ 3461 w 13842"/>
                  <a:gd name="T9" fmla="*/ 7849 h 20763"/>
                  <a:gd name="T10" fmla="*/ 0 w 13842"/>
                  <a:gd name="T11" fmla="*/ 6921 h 20763"/>
                  <a:gd name="T12" fmla="*/ 0 w 13842"/>
                  <a:gd name="T13" fmla="*/ 0 h 20763"/>
                </a:gdLst>
                <a:ahLst/>
                <a:cxnLst>
                  <a:cxn ang="0">
                    <a:pos x="T0" y="T1"/>
                  </a:cxn>
                  <a:cxn ang="0">
                    <a:pos x="T2" y="T3"/>
                  </a:cxn>
                  <a:cxn ang="0">
                    <a:pos x="T4" y="T5"/>
                  </a:cxn>
                  <a:cxn ang="0">
                    <a:pos x="T6" y="T7"/>
                  </a:cxn>
                  <a:cxn ang="0">
                    <a:pos x="T8" y="T9"/>
                  </a:cxn>
                  <a:cxn ang="0">
                    <a:pos x="T10" y="T11"/>
                  </a:cxn>
                  <a:cxn ang="0">
                    <a:pos x="T12" y="T13"/>
                  </a:cxn>
                </a:cxnLst>
                <a:rect l="0" t="0" r="r" b="b"/>
                <a:pathLst>
                  <a:path w="13842" h="20763">
                    <a:moveTo>
                      <a:pt x="0" y="0"/>
                    </a:moveTo>
                    <a:cubicBezTo>
                      <a:pt x="7645" y="0"/>
                      <a:pt x="13842" y="6198"/>
                      <a:pt x="13842" y="13842"/>
                    </a:cubicBezTo>
                    <a:cubicBezTo>
                      <a:pt x="13842" y="16272"/>
                      <a:pt x="13203" y="18659"/>
                      <a:pt x="11988" y="20763"/>
                    </a:cubicBezTo>
                    <a:lnTo>
                      <a:pt x="5994" y="17303"/>
                    </a:lnTo>
                    <a:cubicBezTo>
                      <a:pt x="7905" y="13992"/>
                      <a:pt x="6771" y="9760"/>
                      <a:pt x="3461" y="7849"/>
                    </a:cubicBezTo>
                    <a:cubicBezTo>
                      <a:pt x="2409" y="7241"/>
                      <a:pt x="1215" y="6921"/>
                      <a:pt x="0" y="6921"/>
                    </a:cubicBezTo>
                    <a:lnTo>
                      <a:pt x="0" y="0"/>
                    </a:lnTo>
                    <a:close/>
                  </a:path>
                </a:pathLst>
              </a:custGeom>
              <a:grpFill/>
              <a:ln w="38100" cap="flat" cmpd="sng" algn="ctr">
                <a:gradFill>
                  <a:gsLst>
                    <a:gs pos="0">
                      <a:srgbClr val="04A4EC"/>
                    </a:gs>
                    <a:gs pos="100000">
                      <a:srgbClr val="000000"/>
                    </a:gs>
                  </a:gsLst>
                </a:gradFill>
                <a:prstDash val="solid"/>
                <a:round/>
                <a:headEnd type="none" w="med" len="med"/>
                <a:tailEnd type="none" w="med" len="med"/>
              </a:ln>
            </p:spPr>
            <p:txBody>
              <a:bodyPr vert="horz" wrap="square" lIns="182880" tIns="91440" rIns="18288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113" name="Freeform 6">
                <a:extLst>
                  <a:ext uri="{FF2B5EF4-FFF2-40B4-BE49-F238E27FC236}">
                    <a16:creationId xmlns:a16="http://schemas.microsoft.com/office/drawing/2014/main" id="{E3DE198B-86DE-44B0-AC33-CF39591F422C}"/>
                  </a:ext>
                </a:extLst>
              </p:cNvPr>
              <p:cNvSpPr>
                <a:spLocks/>
              </p:cNvSpPr>
              <p:nvPr/>
            </p:nvSpPr>
            <p:spPr bwMode="auto">
              <a:xfrm>
                <a:off x="3405876" y="4135412"/>
                <a:ext cx="2284413" cy="1176338"/>
              </a:xfrm>
              <a:custGeom>
                <a:avLst/>
                <a:gdLst>
                  <a:gd name="T0" fmla="*/ 23975 w 23975"/>
                  <a:gd name="T1" fmla="*/ 3460 h 12349"/>
                  <a:gd name="T2" fmla="*/ 5067 w 23975"/>
                  <a:gd name="T3" fmla="*/ 8526 h 12349"/>
                  <a:gd name="T4" fmla="*/ 0 w 23975"/>
                  <a:gd name="T5" fmla="*/ 3460 h 12349"/>
                  <a:gd name="T6" fmla="*/ 5994 w 23975"/>
                  <a:gd name="T7" fmla="*/ 0 h 12349"/>
                  <a:gd name="T8" fmla="*/ 15448 w 23975"/>
                  <a:gd name="T9" fmla="*/ 2533 h 12349"/>
                  <a:gd name="T10" fmla="*/ 17981 w 23975"/>
                  <a:gd name="T11" fmla="*/ 0 h 12349"/>
                  <a:gd name="T12" fmla="*/ 23975 w 23975"/>
                  <a:gd name="T13" fmla="*/ 3460 h 12349"/>
                </a:gdLst>
                <a:ahLst/>
                <a:cxnLst>
                  <a:cxn ang="0">
                    <a:pos x="T0" y="T1"/>
                  </a:cxn>
                  <a:cxn ang="0">
                    <a:pos x="T2" y="T3"/>
                  </a:cxn>
                  <a:cxn ang="0">
                    <a:pos x="T4" y="T5"/>
                  </a:cxn>
                  <a:cxn ang="0">
                    <a:pos x="T6" y="T7"/>
                  </a:cxn>
                  <a:cxn ang="0">
                    <a:pos x="T8" y="T9"/>
                  </a:cxn>
                  <a:cxn ang="0">
                    <a:pos x="T10" y="T11"/>
                  </a:cxn>
                  <a:cxn ang="0">
                    <a:pos x="T12" y="T13"/>
                  </a:cxn>
                </a:cxnLst>
                <a:rect l="0" t="0" r="r" b="b"/>
                <a:pathLst>
                  <a:path w="23975" h="12349">
                    <a:moveTo>
                      <a:pt x="23975" y="3460"/>
                    </a:moveTo>
                    <a:cubicBezTo>
                      <a:pt x="20152" y="10080"/>
                      <a:pt x="11687" y="12349"/>
                      <a:pt x="5067" y="8526"/>
                    </a:cubicBezTo>
                    <a:cubicBezTo>
                      <a:pt x="2962" y="7312"/>
                      <a:pt x="1215" y="5564"/>
                      <a:pt x="0" y="3460"/>
                    </a:cubicBezTo>
                    <a:lnTo>
                      <a:pt x="5994" y="0"/>
                    </a:lnTo>
                    <a:cubicBezTo>
                      <a:pt x="7905" y="3310"/>
                      <a:pt x="12138" y="4444"/>
                      <a:pt x="15448" y="2533"/>
                    </a:cubicBezTo>
                    <a:cubicBezTo>
                      <a:pt x="16500" y="1925"/>
                      <a:pt x="17374" y="1052"/>
                      <a:pt x="17981" y="0"/>
                    </a:cubicBezTo>
                    <a:lnTo>
                      <a:pt x="23975" y="3460"/>
                    </a:lnTo>
                    <a:close/>
                  </a:path>
                </a:pathLst>
              </a:custGeom>
              <a:grpFill/>
              <a:ln w="38100" cap="flat" cmpd="sng" algn="ctr">
                <a:gradFill>
                  <a:gsLst>
                    <a:gs pos="0">
                      <a:srgbClr val="04A4EC"/>
                    </a:gs>
                    <a:gs pos="100000">
                      <a:srgbClr val="000000"/>
                    </a:gs>
                  </a:gsLst>
                </a:gradFill>
                <a:prstDash val="solid"/>
                <a:round/>
                <a:headEnd type="none" w="med" len="med"/>
                <a:tailEnd type="none" w="med" len="med"/>
              </a:ln>
            </p:spPr>
            <p:txBody>
              <a:bodyPr vert="horz" wrap="square" lIns="182880" tIns="91440" rIns="18288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114" name="Freeform 7">
                <a:extLst>
                  <a:ext uri="{FF2B5EF4-FFF2-40B4-BE49-F238E27FC236}">
                    <a16:creationId xmlns:a16="http://schemas.microsoft.com/office/drawing/2014/main" id="{7ABEECB2-9C37-4BF3-A320-0B1E48059486}"/>
                  </a:ext>
                </a:extLst>
              </p:cNvPr>
              <p:cNvSpPr>
                <a:spLocks noChangeAspect="1"/>
              </p:cNvSpPr>
              <p:nvPr/>
            </p:nvSpPr>
            <p:spPr bwMode="auto">
              <a:xfrm>
                <a:off x="3040753" y="2486000"/>
                <a:ext cx="1508125" cy="1979613"/>
              </a:xfrm>
              <a:custGeom>
                <a:avLst/>
                <a:gdLst>
                  <a:gd name="T0" fmla="*/ 3822 w 15809"/>
                  <a:gd name="T1" fmla="*/ 20763 h 20763"/>
                  <a:gd name="T2" fmla="*/ 8889 w 15809"/>
                  <a:gd name="T3" fmla="*/ 1855 h 20763"/>
                  <a:gd name="T4" fmla="*/ 15809 w 15809"/>
                  <a:gd name="T5" fmla="*/ 0 h 20763"/>
                  <a:gd name="T6" fmla="*/ 15809 w 15809"/>
                  <a:gd name="T7" fmla="*/ 6921 h 20763"/>
                  <a:gd name="T8" fmla="*/ 8889 w 15809"/>
                  <a:gd name="T9" fmla="*/ 13842 h 20763"/>
                  <a:gd name="T10" fmla="*/ 9816 w 15809"/>
                  <a:gd name="T11" fmla="*/ 17303 h 20763"/>
                  <a:gd name="T12" fmla="*/ 3822 w 15809"/>
                  <a:gd name="T13" fmla="*/ 20763 h 20763"/>
                </a:gdLst>
                <a:ahLst/>
                <a:cxnLst>
                  <a:cxn ang="0">
                    <a:pos x="T0" y="T1"/>
                  </a:cxn>
                  <a:cxn ang="0">
                    <a:pos x="T2" y="T3"/>
                  </a:cxn>
                  <a:cxn ang="0">
                    <a:pos x="T4" y="T5"/>
                  </a:cxn>
                  <a:cxn ang="0">
                    <a:pos x="T6" y="T7"/>
                  </a:cxn>
                  <a:cxn ang="0">
                    <a:pos x="T8" y="T9"/>
                  </a:cxn>
                  <a:cxn ang="0">
                    <a:pos x="T10" y="T11"/>
                  </a:cxn>
                  <a:cxn ang="0">
                    <a:pos x="T12" y="T13"/>
                  </a:cxn>
                </a:cxnLst>
                <a:rect l="0" t="0" r="r" b="b"/>
                <a:pathLst>
                  <a:path w="15809" h="20763">
                    <a:moveTo>
                      <a:pt x="3822" y="20763"/>
                    </a:moveTo>
                    <a:cubicBezTo>
                      <a:pt x="0" y="14143"/>
                      <a:pt x="2268" y="5677"/>
                      <a:pt x="8889" y="1855"/>
                    </a:cubicBezTo>
                    <a:cubicBezTo>
                      <a:pt x="10993" y="640"/>
                      <a:pt x="13380" y="0"/>
                      <a:pt x="15809" y="0"/>
                    </a:cubicBezTo>
                    <a:lnTo>
                      <a:pt x="15809" y="6921"/>
                    </a:lnTo>
                    <a:cubicBezTo>
                      <a:pt x="11987" y="6921"/>
                      <a:pt x="8889" y="10020"/>
                      <a:pt x="8889" y="13842"/>
                    </a:cubicBezTo>
                    <a:cubicBezTo>
                      <a:pt x="8889" y="15057"/>
                      <a:pt x="9208" y="16250"/>
                      <a:pt x="9816" y="17303"/>
                    </a:cubicBezTo>
                    <a:lnTo>
                      <a:pt x="3822" y="20763"/>
                    </a:lnTo>
                    <a:close/>
                  </a:path>
                </a:pathLst>
              </a:custGeom>
              <a:grpFill/>
              <a:ln w="38100" cap="flat" cmpd="sng" algn="ctr">
                <a:gradFill>
                  <a:gsLst>
                    <a:gs pos="0">
                      <a:srgbClr val="04A4EC"/>
                    </a:gs>
                    <a:gs pos="100000">
                      <a:srgbClr val="000000"/>
                    </a:gs>
                  </a:gsLst>
                  <a:lin ang="5400000" scaled="1"/>
                </a:gradFill>
                <a:prstDash val="solid"/>
                <a:round/>
                <a:headEnd type="none" w="med" len="med"/>
                <a:tailEnd type="none" w="med" len="med"/>
              </a:ln>
            </p:spPr>
            <p:txBody>
              <a:bodyPr vert="horz" wrap="square" lIns="182880" tIns="91440" rIns="18288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grpSp>
        <p:grpSp>
          <p:nvGrpSpPr>
            <p:cNvPr id="6" name="Group 5">
              <a:extLst>
                <a:ext uri="{FF2B5EF4-FFF2-40B4-BE49-F238E27FC236}">
                  <a16:creationId xmlns:a16="http://schemas.microsoft.com/office/drawing/2014/main" id="{A29CB53D-FBDC-4CC2-9D38-D260066CFEAB}"/>
                </a:ext>
              </a:extLst>
            </p:cNvPr>
            <p:cNvGrpSpPr/>
            <p:nvPr/>
          </p:nvGrpSpPr>
          <p:grpSpPr>
            <a:xfrm>
              <a:off x="3917197" y="1208888"/>
              <a:ext cx="3682104" cy="3562754"/>
              <a:chOff x="3917197" y="1208888"/>
              <a:chExt cx="3682104" cy="3562754"/>
            </a:xfrm>
          </p:grpSpPr>
          <p:sp>
            <p:nvSpPr>
              <p:cNvPr id="97" name="Rectangle 8">
                <a:extLst>
                  <a:ext uri="{FF2B5EF4-FFF2-40B4-BE49-F238E27FC236}">
                    <a16:creationId xmlns:a16="http://schemas.microsoft.com/office/drawing/2014/main" id="{2172C79B-34D2-4A14-AEEF-BD437ED47AF3}"/>
                  </a:ext>
                </a:extLst>
              </p:cNvPr>
              <p:cNvSpPr>
                <a:spLocks noChangeArrowheads="1"/>
              </p:cNvSpPr>
              <p:nvPr>
                <p:custDataLst>
                  <p:tags r:id="rId4"/>
                </p:custDataLst>
              </p:nvPr>
            </p:nvSpPr>
            <p:spPr bwMode="gray">
              <a:xfrm rot="10800000">
                <a:off x="3917197" y="1208888"/>
                <a:ext cx="3682104" cy="3562754"/>
              </a:xfrm>
              <a:prstGeom prst="rect">
                <a:avLst/>
              </a:prstGeom>
            </p:spPr>
            <p:txBody>
              <a:bodyPr wrap="none" lIns="0" tIns="0" rIns="0" bIns="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small" spc="0" normalizeH="0" baseline="0" noProof="0">
                  <a:ln>
                    <a:noFill/>
                  </a:ln>
                  <a:solidFill>
                    <a:srgbClr val="000000"/>
                  </a:solidFill>
                  <a:effectLst/>
                  <a:uLnTx/>
                  <a:uFillTx/>
                  <a:latin typeface="Calibri"/>
                  <a:ea typeface="+mn-ea"/>
                  <a:cs typeface="+mn-cs"/>
                  <a:sym typeface="Trebuchet MS" panose="020B0603020202020204" pitchFamily="34" charset="0"/>
                </a:endParaRPr>
              </a:p>
            </p:txBody>
          </p:sp>
          <p:sp>
            <p:nvSpPr>
              <p:cNvPr id="102" name="Oval 101">
                <a:extLst>
                  <a:ext uri="{FF2B5EF4-FFF2-40B4-BE49-F238E27FC236}">
                    <a16:creationId xmlns:a16="http://schemas.microsoft.com/office/drawing/2014/main" id="{77978686-1610-4471-B16E-6FB15A4FB934}"/>
                  </a:ext>
                </a:extLst>
              </p:cNvPr>
              <p:cNvSpPr>
                <a:spLocks noChangeAspect="1"/>
              </p:cNvSpPr>
              <p:nvPr/>
            </p:nvSpPr>
            <p:spPr>
              <a:xfrm rot="10800000">
                <a:off x="4941733" y="2120400"/>
                <a:ext cx="1585440" cy="1585441"/>
              </a:xfrm>
              <a:prstGeom prst="ellipse">
                <a:avLst/>
              </a:prstGeom>
              <a:solidFill>
                <a:schemeClr val="accent1">
                  <a:lumMod val="10000"/>
                  <a:lumOff val="90000"/>
                  <a:alpha val="34000"/>
                </a:schemeClr>
              </a:solid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85798E9A-8825-4D10-8246-CA4281B3C229}"/>
                  </a:ext>
                </a:extLst>
              </p:cNvPr>
              <p:cNvSpPr txBox="1"/>
              <p:nvPr/>
            </p:nvSpPr>
            <p:spPr>
              <a:xfrm>
                <a:off x="4771216" y="2339279"/>
                <a:ext cx="1931888" cy="113378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mn-ea"/>
                    <a:cs typeface="+mn-cs"/>
                  </a:rPr>
                  <a:t>Справедливость</a:t>
                </a: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mn-ea"/>
                    <a:cs typeface="+mn-cs"/>
                  </a:rPr>
                  <a:t>Инклюзивность</a:t>
                </a: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lang="ru-RU" sz="1400" dirty="0">
                    <a:solidFill>
                      <a:srgbClr val="000000"/>
                    </a:solidFill>
                    <a:latin typeface="Calibri"/>
                  </a:rPr>
                  <a:t>Согласованность</a:t>
                </a: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6" name="Rectangle 8">
                <a:extLst>
                  <a:ext uri="{FF2B5EF4-FFF2-40B4-BE49-F238E27FC236}">
                    <a16:creationId xmlns:a16="http://schemas.microsoft.com/office/drawing/2014/main" id="{6FDB5726-5665-4DBF-86DC-5F3DC5ADF0DE}"/>
                  </a:ext>
                </a:extLst>
              </p:cNvPr>
              <p:cNvSpPr>
                <a:spLocks noChangeArrowheads="1"/>
              </p:cNvSpPr>
              <p:nvPr>
                <p:custDataLst>
                  <p:tags r:id="rId5"/>
                </p:custDataLst>
              </p:nvPr>
            </p:nvSpPr>
            <p:spPr bwMode="gray">
              <a:xfrm rot="17648114">
                <a:off x="4518732" y="1758078"/>
                <a:ext cx="2062020" cy="1992891"/>
              </a:xfrm>
              <a:prstGeom prst="rect">
                <a:avLst/>
              </a:prstGeom>
            </p:spPr>
            <p:txBody>
              <a:bodyPr wrap="none" lIns="0" tIns="0" rIns="0" bIns="0" anchor="ctr">
                <a:prstTxWarp prst="textArchUp">
                  <a:avLst>
                    <a:gd name="adj" fmla="val 12908190"/>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800" b="0" i="0" u="none" strike="noStrike" kern="1200" cap="none" spc="0" normalizeH="0" baseline="0" noProof="0" dirty="0">
                    <a:ln>
                      <a:noFill/>
                    </a:ln>
                    <a:solidFill>
                      <a:srgbClr val="000000"/>
                    </a:solidFill>
                    <a:effectLst/>
                    <a:uLnTx/>
                    <a:uFillTx/>
                    <a:latin typeface="Calibri"/>
                    <a:ea typeface="+mn-ea"/>
                    <a:cs typeface="+mn-cs"/>
                    <a:sym typeface="Trebuchet MS" panose="020B0603020202020204" pitchFamily="34" charset="0"/>
                  </a:rPr>
                  <a:t>Управление</a:t>
                </a:r>
                <a:endParaRPr kumimoji="0" lang="en-US" sz="2800" b="0" i="0" u="none" strike="noStrike" kern="1200" cap="none" spc="0" normalizeH="0" baseline="0" noProof="0" dirty="0">
                  <a:ln>
                    <a:noFill/>
                  </a:ln>
                  <a:solidFill>
                    <a:srgbClr val="000000"/>
                  </a:solidFill>
                  <a:effectLst/>
                  <a:uLnTx/>
                  <a:uFillTx/>
                  <a:latin typeface="Calibri"/>
                  <a:ea typeface="+mn-ea"/>
                  <a:cs typeface="+mn-cs"/>
                  <a:sym typeface="Trebuchet MS" panose="020B0603020202020204" pitchFamily="34" charset="0"/>
                </a:endParaRPr>
              </a:p>
            </p:txBody>
          </p:sp>
          <p:sp>
            <p:nvSpPr>
              <p:cNvPr id="107" name="Rectangle 8">
                <a:extLst>
                  <a:ext uri="{FF2B5EF4-FFF2-40B4-BE49-F238E27FC236}">
                    <a16:creationId xmlns:a16="http://schemas.microsoft.com/office/drawing/2014/main" id="{2812F017-C4FA-444F-933A-2169DC585DC0}"/>
                  </a:ext>
                </a:extLst>
              </p:cNvPr>
              <p:cNvSpPr>
                <a:spLocks noChangeArrowheads="1"/>
              </p:cNvSpPr>
              <p:nvPr>
                <p:custDataLst>
                  <p:tags r:id="rId6"/>
                </p:custDataLst>
              </p:nvPr>
            </p:nvSpPr>
            <p:spPr bwMode="gray">
              <a:xfrm rot="3833604">
                <a:off x="5728725" y="2063516"/>
                <a:ext cx="1292282" cy="1014870"/>
              </a:xfrm>
              <a:prstGeom prst="rect">
                <a:avLst/>
              </a:prstGeom>
              <a:noFill/>
            </p:spPr>
            <p:txBody>
              <a:bodyPr wrap="none" lIns="0" tIns="0" rIns="0" bIns="0" anchor="ctr">
                <a:prstTxWarp prst="textArchUp">
                  <a:avLst>
                    <a:gd name="adj" fmla="val 8237637"/>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800" kern="0" dirty="0">
                    <a:solidFill>
                      <a:srgbClr val="000000"/>
                    </a:solidFill>
                    <a:latin typeface="Calibri"/>
                    <a:sym typeface="Trebuchet MS" panose="020B0603020202020204" pitchFamily="34" charset="0"/>
                  </a:rPr>
                  <a:t>Системы</a:t>
                </a:r>
                <a:endParaRPr kumimoji="0" lang="en-US" sz="2800" b="0" i="0" u="none" strike="noStrike" kern="0" cap="none" spc="0" normalizeH="0" baseline="0" noProof="0" dirty="0">
                  <a:ln>
                    <a:noFill/>
                  </a:ln>
                  <a:solidFill>
                    <a:srgbClr val="000000"/>
                  </a:solidFill>
                  <a:effectLst/>
                  <a:uLnTx/>
                  <a:uFillTx/>
                  <a:latin typeface="Calibri"/>
                  <a:ea typeface="+mn-ea"/>
                  <a:cs typeface="+mn-cs"/>
                  <a:sym typeface="Trebuchet MS" panose="020B0603020202020204" pitchFamily="34" charset="0"/>
                </a:endParaRPr>
              </a:p>
            </p:txBody>
          </p:sp>
          <p:sp>
            <p:nvSpPr>
              <p:cNvPr id="111" name="Rectangle 9">
                <a:extLst>
                  <a:ext uri="{FF2B5EF4-FFF2-40B4-BE49-F238E27FC236}">
                    <a16:creationId xmlns:a16="http://schemas.microsoft.com/office/drawing/2014/main" id="{E1204AC7-2F03-48D9-A87C-FB5CAC14C128}"/>
                  </a:ext>
                </a:extLst>
              </p:cNvPr>
              <p:cNvSpPr>
                <a:spLocks noChangeArrowheads="1"/>
              </p:cNvSpPr>
              <p:nvPr>
                <p:custDataLst>
                  <p:tags r:id="rId7"/>
                </p:custDataLst>
              </p:nvPr>
            </p:nvSpPr>
            <p:spPr bwMode="gray">
              <a:xfrm>
                <a:off x="4945906" y="3428333"/>
                <a:ext cx="1613391" cy="824777"/>
              </a:xfrm>
              <a:prstGeom prst="rect">
                <a:avLst/>
              </a:prstGeom>
              <a:noFill/>
              <a:ln w="9525" cap="flat" cmpd="sng" algn="ctr">
                <a:noFill/>
                <a:prstDash val="solid"/>
                <a:round/>
                <a:headEnd type="none" w="med" len="med"/>
                <a:tailEnd type="none" w="med" len="med"/>
              </a:ln>
            </p:spPr>
            <p:txBody>
              <a:bodyPr wrap="none" lIns="0" tIns="0" rIns="0" bIns="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800" b="0" i="0" u="none" strike="noStrike" kern="0" cap="none" spc="0" normalizeH="0" baseline="0" noProof="0" dirty="0">
                    <a:ln>
                      <a:noFill/>
                    </a:ln>
                    <a:solidFill>
                      <a:srgbClr val="000000"/>
                    </a:solidFill>
                    <a:effectLst/>
                    <a:uLnTx/>
                    <a:uFillTx/>
                    <a:latin typeface="Calibri"/>
                    <a:ea typeface="+mn-ea"/>
                    <a:cs typeface="+mn-cs"/>
                    <a:sym typeface="Trebuchet MS" panose="020B0603020202020204" pitchFamily="34" charset="0"/>
                  </a:rPr>
                  <a:t>Финансирование</a:t>
                </a:r>
                <a:endParaRPr kumimoji="0" lang="en-US" sz="2800" b="0" i="0" u="none" strike="noStrike" kern="0" cap="none" spc="0" normalizeH="0" baseline="0" noProof="0" dirty="0">
                  <a:ln>
                    <a:noFill/>
                  </a:ln>
                  <a:solidFill>
                    <a:srgbClr val="000000"/>
                  </a:solidFill>
                  <a:effectLst/>
                  <a:uLnTx/>
                  <a:uFillTx/>
                  <a:latin typeface="Calibri"/>
                  <a:ea typeface="+mn-ea"/>
                  <a:cs typeface="+mn-cs"/>
                  <a:sym typeface="Trebuchet MS" panose="020B0603020202020204" pitchFamily="34" charset="0"/>
                </a:endParaRPr>
              </a:p>
            </p:txBody>
          </p:sp>
        </p:grpSp>
      </p:grpSp>
      <p:sp>
        <p:nvSpPr>
          <p:cNvPr id="4" name="Oval 3">
            <a:extLst>
              <a:ext uri="{FF2B5EF4-FFF2-40B4-BE49-F238E27FC236}">
                <a16:creationId xmlns:a16="http://schemas.microsoft.com/office/drawing/2014/main" id="{0BDA5368-DC99-4FFF-8F8D-8D6259ECBC05}"/>
              </a:ext>
            </a:extLst>
          </p:cNvPr>
          <p:cNvSpPr/>
          <p:nvPr/>
        </p:nvSpPr>
        <p:spPr>
          <a:xfrm>
            <a:off x="3668309" y="904532"/>
            <a:ext cx="4023360" cy="4023360"/>
          </a:xfrm>
          <a:prstGeom prst="ellipse">
            <a:avLst/>
          </a:prstGeom>
          <a:grpFill/>
          <a:ln w="38100" cap="flat" cmpd="sng" algn="ctr">
            <a:solidFill>
              <a:schemeClr val="bg1">
                <a:lumMod val="75000"/>
              </a:schemeClr>
            </a:solidFill>
            <a:prstDash val="solid"/>
            <a:round/>
            <a:headEnd type="none" w="med" len="med"/>
            <a:tailEnd type="none" w="med" len="med"/>
          </a:ln>
        </p:spPr>
        <p:txBody>
          <a:bodyPr vert="horz" wrap="square" lIns="182880" tIns="91440" rIns="18288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000000"/>
              </a:solidFill>
              <a:effectLst/>
              <a:uLnTx/>
              <a:uFillTx/>
              <a:latin typeface="Calibri"/>
              <a:ea typeface="+mn-ea"/>
              <a:cs typeface="+mn-cs"/>
            </a:endParaRPr>
          </a:p>
        </p:txBody>
      </p:sp>
      <p:sp>
        <p:nvSpPr>
          <p:cNvPr id="10" name="Rectangle: Rounded Corners 9">
            <a:extLst>
              <a:ext uri="{FF2B5EF4-FFF2-40B4-BE49-F238E27FC236}">
                <a16:creationId xmlns:a16="http://schemas.microsoft.com/office/drawing/2014/main" id="{70040938-7FF5-46AE-96F2-C9DAFCB89AFC}"/>
              </a:ext>
            </a:extLst>
          </p:cNvPr>
          <p:cNvSpPr/>
          <p:nvPr/>
        </p:nvSpPr>
        <p:spPr>
          <a:xfrm>
            <a:off x="4627399" y="842907"/>
            <a:ext cx="1983069" cy="377229"/>
          </a:xfrm>
          <a:prstGeom prst="roundRect">
            <a:avLst/>
          </a:prstGeom>
          <a:solidFill>
            <a:schemeClr val="accent1">
              <a:lumMod val="10000"/>
              <a:lumOff val="9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b="0" i="0" u="none" strike="noStrike" kern="1200" cap="none" spc="0" normalizeH="0" baseline="0" noProof="0" dirty="0">
                <a:ln>
                  <a:noFill/>
                </a:ln>
                <a:solidFill>
                  <a:srgbClr val="002060"/>
                </a:solidFill>
                <a:effectLst/>
                <a:uLnTx/>
                <a:uFillTx/>
                <a:latin typeface="Calibri"/>
                <a:ea typeface="+mn-ea"/>
                <a:cs typeface="+mn-cs"/>
              </a:rPr>
              <a:t>Пандемическое соглашение</a:t>
            </a:r>
            <a:endParaRPr kumimoji="0" lang="en-US" b="0" i="0" u="none" strike="noStrike" kern="1200" cap="none" spc="0" normalizeH="0" baseline="0" noProof="0" dirty="0">
              <a:ln>
                <a:noFill/>
              </a:ln>
              <a:solidFill>
                <a:srgbClr val="002060"/>
              </a:solidFill>
              <a:effectLst/>
              <a:uLnTx/>
              <a:uFillTx/>
              <a:latin typeface="Calibri"/>
              <a:ea typeface="+mn-ea"/>
              <a:cs typeface="+mn-cs"/>
            </a:endParaRPr>
          </a:p>
        </p:txBody>
      </p:sp>
      <p:sp>
        <p:nvSpPr>
          <p:cNvPr id="3" name="Rectangle: Rounded Corners 2">
            <a:extLst>
              <a:ext uri="{FF2B5EF4-FFF2-40B4-BE49-F238E27FC236}">
                <a16:creationId xmlns:a16="http://schemas.microsoft.com/office/drawing/2014/main" id="{FFF8882E-CC4E-4D8B-2945-41A6AD6AB6BE}"/>
              </a:ext>
            </a:extLst>
          </p:cNvPr>
          <p:cNvSpPr/>
          <p:nvPr/>
        </p:nvSpPr>
        <p:spPr>
          <a:xfrm>
            <a:off x="1447801" y="4959245"/>
            <a:ext cx="10062207" cy="1823803"/>
          </a:xfrm>
          <a:prstGeom prst="round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42501930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3A0CDE8-1AE1-4E1C-AADD-7CCCD90CEFD4}"/>
              </a:ext>
            </a:extLst>
          </p:cNvPr>
          <p:cNvSpPr/>
          <p:nvPr/>
        </p:nvSpPr>
        <p:spPr>
          <a:xfrm>
            <a:off x="3394711" y="5669280"/>
            <a:ext cx="5360907" cy="57508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4" name="Object 3" hidden="1">
            <a:extLst>
              <a:ext uri="{FF2B5EF4-FFF2-40B4-BE49-F238E27FC236}">
                <a16:creationId xmlns:a16="http://schemas.microsoft.com/office/drawing/2014/main" id="{09B5CF1E-78FF-49F8-9586-307515372D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4" name="Object 3" hidden="1">
                        <a:extLst>
                          <a:ext uri="{FF2B5EF4-FFF2-40B4-BE49-F238E27FC236}">
                            <a16:creationId xmlns:a16="http://schemas.microsoft.com/office/drawing/2014/main" id="{09B5CF1E-78FF-49F8-9586-307515372D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DF78E36F-4CE6-44DB-B3C2-C5FC32A3BF1A}"/>
              </a:ext>
            </a:extLst>
          </p:cNvPr>
          <p:cNvGrpSpPr/>
          <p:nvPr/>
        </p:nvGrpSpPr>
        <p:grpSpPr>
          <a:xfrm>
            <a:off x="4083907" y="906693"/>
            <a:ext cx="4024187" cy="4047209"/>
            <a:chOff x="4073769" y="896419"/>
            <a:chExt cx="4024187" cy="4047209"/>
          </a:xfrm>
        </p:grpSpPr>
        <p:sp>
          <p:nvSpPr>
            <p:cNvPr id="25" name="Oval 24">
              <a:extLst>
                <a:ext uri="{FF2B5EF4-FFF2-40B4-BE49-F238E27FC236}">
                  <a16:creationId xmlns:a16="http://schemas.microsoft.com/office/drawing/2014/main" id="{DE6DC217-DB32-4709-8353-2363054A4EC1}"/>
                </a:ext>
              </a:extLst>
            </p:cNvPr>
            <p:cNvSpPr>
              <a:spLocks noChangeAspect="1"/>
            </p:cNvSpPr>
            <p:nvPr/>
          </p:nvSpPr>
          <p:spPr>
            <a:xfrm rot="2723860">
              <a:off x="4074436" y="909117"/>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22" name="Oval 21">
              <a:extLst>
                <a:ext uri="{FF2B5EF4-FFF2-40B4-BE49-F238E27FC236}">
                  <a16:creationId xmlns:a16="http://schemas.microsoft.com/office/drawing/2014/main" id="{CC7D3348-C76F-4BBF-8CDF-11A027E52792}"/>
                </a:ext>
              </a:extLst>
            </p:cNvPr>
            <p:cNvSpPr>
              <a:spLocks noChangeAspect="1"/>
            </p:cNvSpPr>
            <p:nvPr/>
          </p:nvSpPr>
          <p:spPr>
            <a:xfrm rot="2723860">
              <a:off x="5762914" y="2595223"/>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26" name="Oval 25">
              <a:extLst>
                <a:ext uri="{FF2B5EF4-FFF2-40B4-BE49-F238E27FC236}">
                  <a16:creationId xmlns:a16="http://schemas.microsoft.com/office/drawing/2014/main" id="{D59EC92E-C2E9-489F-8E3F-13D6C1EF3DE2}"/>
                </a:ext>
              </a:extLst>
            </p:cNvPr>
            <p:cNvSpPr>
              <a:spLocks noChangeAspect="1"/>
            </p:cNvSpPr>
            <p:nvPr/>
          </p:nvSpPr>
          <p:spPr>
            <a:xfrm rot="2723860">
              <a:off x="5762914" y="895753"/>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23" name="Oval 22">
              <a:extLst>
                <a:ext uri="{FF2B5EF4-FFF2-40B4-BE49-F238E27FC236}">
                  <a16:creationId xmlns:a16="http://schemas.microsoft.com/office/drawing/2014/main" id="{D36BC0B2-88F6-45BC-9DF0-9006ACA3376D}"/>
                </a:ext>
              </a:extLst>
            </p:cNvPr>
            <p:cNvSpPr>
              <a:spLocks noChangeAspect="1"/>
            </p:cNvSpPr>
            <p:nvPr/>
          </p:nvSpPr>
          <p:spPr>
            <a:xfrm rot="2723860">
              <a:off x="4074435" y="2608587"/>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27" name="Oval 26">
              <a:extLst>
                <a:ext uri="{FF2B5EF4-FFF2-40B4-BE49-F238E27FC236}">
                  <a16:creationId xmlns:a16="http://schemas.microsoft.com/office/drawing/2014/main" id="{25D10EB8-048E-4EB9-81E4-B98BFB50E5C1}"/>
                </a:ext>
              </a:extLst>
            </p:cNvPr>
            <p:cNvSpPr>
              <a:spLocks noChangeAspect="1"/>
            </p:cNvSpPr>
            <p:nvPr/>
          </p:nvSpPr>
          <p:spPr>
            <a:xfrm>
              <a:off x="5058741" y="1881314"/>
              <a:ext cx="2087853" cy="2089045"/>
            </a:xfrm>
            <a:prstGeom prst="ellipse">
              <a:avLst/>
            </a:prstGeom>
            <a:gradFill flip="none" rotWithShape="1">
              <a:gsLst>
                <a:gs pos="79000">
                  <a:srgbClr val="002060"/>
                </a:gs>
                <a:gs pos="30000">
                  <a:srgbClr val="04A4EC"/>
                </a:gs>
              </a:gsLst>
              <a:lin ang="13500000" scaled="1"/>
              <a:tileRect/>
            </a:gradFill>
            <a:ln w="10795" cap="flat" cmpd="sng" algn="ctr">
              <a:no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ru-RU" b="0" i="0" u="none" strike="noStrike" kern="0" cap="none" spc="0" normalizeH="0" baseline="0" noProof="0" dirty="0">
                  <a:ln>
                    <a:noFill/>
                  </a:ln>
                  <a:solidFill>
                    <a:prstClr val="white"/>
                  </a:solidFill>
                  <a:effectLst/>
                  <a:uLnTx/>
                  <a:uFillTx/>
                  <a:latin typeface="Calibri"/>
                  <a:ea typeface="+mn-ea"/>
                  <a:cs typeface="+mn-cs"/>
                </a:rPr>
                <a:t>Координация во время чрезвычайной ситуации</a:t>
              </a:r>
              <a:endParaRPr kumimoji="0" lang="en-US" b="0" i="0" u="none" strike="noStrike" kern="0" cap="none" spc="0" normalizeH="0" baseline="0" noProof="0" dirty="0">
                <a:ln>
                  <a:noFill/>
                </a:ln>
                <a:solidFill>
                  <a:prstClr val="white"/>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02FB79FA-6B51-4EE9-A8BA-B95B0099F814}"/>
                </a:ext>
              </a:extLst>
            </p:cNvPr>
            <p:cNvSpPr txBox="1"/>
            <p:nvPr/>
          </p:nvSpPr>
          <p:spPr>
            <a:xfrm>
              <a:off x="4156090" y="1430935"/>
              <a:ext cx="1694060" cy="553998"/>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15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Совместный </a:t>
              </a:r>
              <a:r>
                <a:rPr kumimoji="0" lang="ru-RU" sz="1500" b="0" i="0" u="none" strike="noStrike" kern="1200" cap="none" spc="0" normalizeH="0" baseline="0" noProof="0" dirty="0" err="1">
                  <a:ln>
                    <a:noFill/>
                  </a:ln>
                  <a:solidFill>
                    <a:srgbClr val="000000"/>
                  </a:solidFill>
                  <a:effectLst/>
                  <a:uLnTx/>
                  <a:uFillTx/>
                  <a:latin typeface="Abadi" panose="020B0604020104020204" pitchFamily="34" charset="0"/>
                  <a:ea typeface="+mn-ea"/>
                  <a:cs typeface="+mn-cs"/>
                </a:rPr>
                <a:t>эпиднадзор</a:t>
              </a:r>
              <a:endParaRPr kumimoji="0" lang="en-US" sz="15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p:txBody>
        </p:sp>
        <p:sp>
          <p:nvSpPr>
            <p:cNvPr id="33" name="TextBox 32">
              <a:extLst>
                <a:ext uri="{FF2B5EF4-FFF2-40B4-BE49-F238E27FC236}">
                  <a16:creationId xmlns:a16="http://schemas.microsoft.com/office/drawing/2014/main" id="{669E3D01-D3C9-45AD-A437-CD114337326F}"/>
                </a:ext>
              </a:extLst>
            </p:cNvPr>
            <p:cNvSpPr txBox="1"/>
            <p:nvPr/>
          </p:nvSpPr>
          <p:spPr>
            <a:xfrm>
              <a:off x="6086605" y="1431647"/>
              <a:ext cx="2004593" cy="646331"/>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Защита сообщества</a:t>
              </a:r>
              <a:endParaRPr kumimoji="0" lang="en-US"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p:txBody>
        </p:sp>
        <p:sp>
          <p:nvSpPr>
            <p:cNvPr id="34" name="TextBox 33">
              <a:extLst>
                <a:ext uri="{FF2B5EF4-FFF2-40B4-BE49-F238E27FC236}">
                  <a16:creationId xmlns:a16="http://schemas.microsoft.com/office/drawing/2014/main" id="{2F6EF038-A622-4619-85FA-4241ADB5E7F9}"/>
                </a:ext>
              </a:extLst>
            </p:cNvPr>
            <p:cNvSpPr txBox="1"/>
            <p:nvPr/>
          </p:nvSpPr>
          <p:spPr>
            <a:xfrm>
              <a:off x="6542731" y="3794661"/>
              <a:ext cx="1452724" cy="646331"/>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Клиническая помощь</a:t>
              </a:r>
              <a:endParaRPr kumimoji="0" lang="en-US"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p:txBody>
        </p:sp>
        <p:sp>
          <p:nvSpPr>
            <p:cNvPr id="35" name="TextBox 34">
              <a:extLst>
                <a:ext uri="{FF2B5EF4-FFF2-40B4-BE49-F238E27FC236}">
                  <a16:creationId xmlns:a16="http://schemas.microsoft.com/office/drawing/2014/main" id="{974226C4-4129-4C0E-BD8B-942A5749277D}"/>
                </a:ext>
              </a:extLst>
            </p:cNvPr>
            <p:cNvSpPr txBox="1"/>
            <p:nvPr/>
          </p:nvSpPr>
          <p:spPr>
            <a:xfrm>
              <a:off x="4209880" y="3865767"/>
              <a:ext cx="1877874" cy="646331"/>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Доступ к контрмерам</a:t>
              </a:r>
              <a:endParaRPr kumimoji="0" lang="en-US"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p:txBody>
        </p:sp>
      </p:grpSp>
      <p:sp>
        <p:nvSpPr>
          <p:cNvPr id="41" name="TextBox 40">
            <a:extLst>
              <a:ext uri="{FF2B5EF4-FFF2-40B4-BE49-F238E27FC236}">
                <a16:creationId xmlns:a16="http://schemas.microsoft.com/office/drawing/2014/main" id="{83A6A253-39B4-417C-85BD-28810C37EA6C}"/>
              </a:ext>
            </a:extLst>
          </p:cNvPr>
          <p:cNvSpPr txBox="1">
            <a:spLocks/>
          </p:cNvSpPr>
          <p:nvPr/>
        </p:nvSpPr>
        <p:spPr>
          <a:xfrm>
            <a:off x="146021" y="849702"/>
            <a:ext cx="3302175" cy="2123658"/>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ts val="0"/>
              </a:spcBef>
              <a:spcAft>
                <a:spcPts val="1200"/>
              </a:spcAft>
              <a:buClr>
                <a:srgbClr val="000000"/>
              </a:buClr>
              <a:buSzPct val="100000"/>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Усиленный национальный комплексный </a:t>
            </a:r>
            <a:r>
              <a:rPr kumimoji="0" lang="ru-RU" sz="14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эпиднадзор</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за болезнями, угрозами и уязвимостью</a:t>
            </a:r>
          </a:p>
          <a:p>
            <a:pPr marL="0" marR="0" lvl="0" indent="0" algn="l" defTabSz="914400" rtl="0" eaLnBrk="1" fontAlgn="auto" latinLnBrk="0" hangingPunct="1">
              <a:lnSpc>
                <a:spcPct val="100000"/>
              </a:lnSpc>
              <a:spcBef>
                <a:spcPts val="0"/>
              </a:spcBef>
              <a:spcAft>
                <a:spcPts val="1200"/>
              </a:spcAft>
              <a:buClr>
                <a:srgbClr val="000000"/>
              </a:buClr>
              <a:buSzPct val="100000"/>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Расширение </a:t>
            </a: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лабораторного</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потенциала для </a:t>
            </a:r>
            <a:r>
              <a:rPr kumimoji="0" lang="ru-RU" sz="14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эпиднадзора</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за патогенами и геномами</a:t>
            </a:r>
          </a:p>
          <a:p>
            <a:pPr marL="0" marR="0" lvl="0" indent="0" algn="l" defTabSz="914400" rtl="0" eaLnBrk="1" fontAlgn="auto" latinLnBrk="0" hangingPunct="1">
              <a:lnSpc>
                <a:spcPct val="100000"/>
              </a:lnSpc>
              <a:spcBef>
                <a:spcPts val="0"/>
              </a:spcBef>
              <a:spcAft>
                <a:spcPts val="1200"/>
              </a:spcAft>
              <a:buClr>
                <a:srgbClr val="000000"/>
              </a:buClr>
              <a:buSzPct val="100000"/>
              <a:buFontTx/>
              <a:buNone/>
              <a:tabLst/>
              <a:defRPr/>
            </a:pP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Совместные</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подходы к прогнозированию рисков, обнаружению событий и мониторингу реагирования </a:t>
            </a:r>
            <a:endPar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43" name="TextBox 42">
            <a:extLst>
              <a:ext uri="{FF2B5EF4-FFF2-40B4-BE49-F238E27FC236}">
                <a16:creationId xmlns:a16="http://schemas.microsoft.com/office/drawing/2014/main" id="{58D11ADF-B777-452B-8CAC-39D1412F10E2}"/>
              </a:ext>
            </a:extLst>
          </p:cNvPr>
          <p:cNvSpPr txBox="1">
            <a:spLocks/>
          </p:cNvSpPr>
          <p:nvPr/>
        </p:nvSpPr>
        <p:spPr>
          <a:xfrm>
            <a:off x="8875538" y="663697"/>
            <a:ext cx="3310625" cy="2719097"/>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ts val="0"/>
              </a:spcBef>
              <a:spcAft>
                <a:spcPts val="1200"/>
              </a:spcAft>
              <a:buClr>
                <a:srgbClr val="000000"/>
              </a:buClr>
              <a:buSzPct val="100000"/>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Упреждающее </a:t>
            </a: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информирование о рисках и управление инфодемией</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для информирования сообществ и укрепления доверия</a:t>
            </a:r>
          </a:p>
          <a:p>
            <a:pPr marL="0" marR="0" lvl="0" indent="0" algn="l" defTabSz="914400" rtl="0" eaLnBrk="1" fontAlgn="auto" latinLnBrk="0" hangingPunct="1">
              <a:lnSpc>
                <a:spcPct val="100000"/>
              </a:lnSpc>
              <a:spcBef>
                <a:spcPts val="0"/>
              </a:spcBef>
              <a:spcAft>
                <a:spcPts val="1200"/>
              </a:spcAft>
              <a:buClr>
                <a:srgbClr val="000000"/>
              </a:buClr>
              <a:buSzPct val="100000"/>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Вовлечение сообщества в совместное создание массовых </a:t>
            </a: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демографических и экологических интервенций </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на основе местных условий и обычаев</a:t>
            </a:r>
          </a:p>
          <a:p>
            <a:pPr marL="0" marR="0" lvl="0" indent="0" algn="l" defTabSz="914400" rtl="0" eaLnBrk="1" fontAlgn="auto" latinLnBrk="0" hangingPunct="1">
              <a:lnSpc>
                <a:spcPct val="100000"/>
              </a:lnSpc>
              <a:spcBef>
                <a:spcPts val="0"/>
              </a:spcBef>
              <a:spcAft>
                <a:spcPts val="1200"/>
              </a:spcAft>
              <a:buClr>
                <a:srgbClr val="000000"/>
              </a:buClr>
              <a:buSzPct val="100000"/>
              <a:buFontTx/>
              <a:buNone/>
              <a:tabLst/>
              <a:defRPr/>
            </a:pPr>
            <a:r>
              <a:rPr kumimoji="0" lang="ru-RU" sz="1400" b="1"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Многосекторальные</a:t>
            </a: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действия </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для решения проблем сообщества, таких как социальное обеспечение и защита средств к существованию</a:t>
            </a:r>
            <a:endParaRPr kumimoji="0" lang="en-GB"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47" name="TextBox 46">
            <a:extLst>
              <a:ext uri="{FF2B5EF4-FFF2-40B4-BE49-F238E27FC236}">
                <a16:creationId xmlns:a16="http://schemas.microsoft.com/office/drawing/2014/main" id="{727CAF07-DED9-4609-AEC5-8D55ED4C6A2D}"/>
              </a:ext>
            </a:extLst>
          </p:cNvPr>
          <p:cNvSpPr txBox="1">
            <a:spLocks/>
          </p:cNvSpPr>
          <p:nvPr/>
        </p:nvSpPr>
        <p:spPr>
          <a:xfrm>
            <a:off x="8920848" y="3794661"/>
            <a:ext cx="3254429" cy="1699886"/>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mn-cs"/>
              </a:rPr>
              <a:t>Безопасная и масштабируемая </a:t>
            </a:r>
            <a:r>
              <a:rPr kumimoji="0" lang="ru-RU" sz="14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mn-cs"/>
              </a:rPr>
              <a:t>неотложная помощь</a:t>
            </a:r>
          </a:p>
          <a:p>
            <a:pPr lvl="0">
              <a:spcAft>
                <a:spcPts val="600"/>
              </a:spcAft>
              <a:defRPr/>
            </a:pPr>
            <a:r>
              <a:rPr kumimoji="0" lang="ru-RU" sz="14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mn-cs"/>
              </a:rPr>
              <a:t>Профилактика и </a:t>
            </a:r>
            <a:r>
              <a:rPr lang="ru-RU" sz="1400" b="1" dirty="0">
                <a:solidFill>
                  <a:srgbClr val="000000"/>
                </a:solidFill>
                <a:ea typeface="Times New Roman" panose="02020603050405020304" pitchFamily="18" charset="0"/>
              </a:rPr>
              <a:t>контроль инфекций, </a:t>
            </a:r>
            <a:r>
              <a:rPr kumimoji="0" lang="ru-RU" sz="14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mn-cs"/>
              </a:rPr>
              <a:t>которые защищают пациентов, медицинских работников и сообщества</a:t>
            </a:r>
          </a:p>
          <a:p>
            <a:pPr lvl="0">
              <a:spcAft>
                <a:spcPts val="600"/>
              </a:spcAft>
              <a:defRPr/>
            </a:pPr>
            <a:r>
              <a:rPr kumimoji="0" lang="ru-RU" sz="14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mn-cs"/>
              </a:rPr>
              <a:t>Системы здравоохранения, которые могут </a:t>
            </a:r>
            <a:r>
              <a:rPr kumimoji="0" lang="ru-RU" sz="1400" b="1"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mn-cs"/>
              </a:rPr>
              <a:t>поддерживать основные медицинские услуги </a:t>
            </a:r>
            <a:r>
              <a:rPr kumimoji="0" lang="ru-RU" sz="1400" b="0" i="0" u="none" strike="noStrike" kern="1200" cap="none" spc="0" normalizeH="0" baseline="0" noProof="0" dirty="0">
                <a:ln>
                  <a:noFill/>
                </a:ln>
                <a:solidFill>
                  <a:srgbClr val="000000"/>
                </a:solidFill>
                <a:effectLst/>
                <a:uLnTx/>
                <a:uFillTx/>
                <a:latin typeface="Calibri"/>
                <a:ea typeface="Times New Roman" panose="02020603050405020304" pitchFamily="18" charset="0"/>
                <a:cs typeface="+mn-cs"/>
              </a:rPr>
              <a:t>во время чрезвычайных ситуаций</a:t>
            </a:r>
          </a:p>
        </p:txBody>
      </p:sp>
      <p:sp>
        <p:nvSpPr>
          <p:cNvPr id="49" name="TextBox 48">
            <a:extLst>
              <a:ext uri="{FF2B5EF4-FFF2-40B4-BE49-F238E27FC236}">
                <a16:creationId xmlns:a16="http://schemas.microsoft.com/office/drawing/2014/main" id="{10511B99-0C83-4692-A919-F31D4F38098A}"/>
              </a:ext>
            </a:extLst>
          </p:cNvPr>
          <p:cNvSpPr txBox="1">
            <a:spLocks/>
          </p:cNvSpPr>
          <p:nvPr/>
        </p:nvSpPr>
        <p:spPr>
          <a:xfrm>
            <a:off x="111623" y="3312875"/>
            <a:ext cx="3419358" cy="1878105"/>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ts val="0"/>
              </a:spcBef>
              <a:spcAft>
                <a:spcPts val="1200"/>
              </a:spcAft>
              <a:buClr>
                <a:srgbClr val="000000"/>
              </a:buClr>
              <a:buSzPct val="100000"/>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Ускоренное проведение </a:t>
            </a: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НИОКР</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благодаря заранее заключенным соглашениям о совместном использовании выгод</a:t>
            </a:r>
          </a:p>
          <a:p>
            <a:pPr marL="0" marR="0" lvl="0" indent="0" algn="l" defTabSz="914400" rtl="0" eaLnBrk="1" fontAlgn="auto" latinLnBrk="0" hangingPunct="1">
              <a:lnSpc>
                <a:spcPct val="100000"/>
              </a:lnSpc>
              <a:spcBef>
                <a:spcPts val="0"/>
              </a:spcBef>
              <a:spcAft>
                <a:spcPts val="1200"/>
              </a:spcAft>
              <a:buClr>
                <a:srgbClr val="000000"/>
              </a:buClr>
              <a:buSzPct val="100000"/>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Масштабируемые </a:t>
            </a: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производственные платформы</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и соглашения о трансферте технологий</a:t>
            </a:r>
          </a:p>
          <a:p>
            <a:pPr marL="0" marR="0" lvl="0" indent="0" algn="l" defTabSz="914400" rtl="0" eaLnBrk="1" fontAlgn="auto" latinLnBrk="0" hangingPunct="1">
              <a:lnSpc>
                <a:spcPct val="100000"/>
              </a:lnSpc>
              <a:spcBef>
                <a:spcPts val="0"/>
              </a:spcBef>
              <a:spcAft>
                <a:spcPts val="1200"/>
              </a:spcAft>
              <a:buClr>
                <a:srgbClr val="000000"/>
              </a:buClr>
              <a:buSzPct val="100000"/>
              <a:buFontTx/>
              <a:buNone/>
              <a:tabLst/>
              <a:defRPr/>
            </a:pP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Скоординированные цепочки закупок и </a:t>
            </a:r>
            <a:r>
              <a:rPr kumimoji="0" lang="ru-RU"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экстренных поставок </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для обеспечения </a:t>
            </a:r>
            <a:r>
              <a:rPr lang="ru-RU" sz="1400" dirty="0">
                <a:solidFill>
                  <a:srgbClr val="000000"/>
                </a:solidFill>
                <a:latin typeface="Calibri"/>
                <a:cs typeface="Arial" panose="020B0604020202020204" pitchFamily="34" charset="0"/>
              </a:rPr>
              <a:t>справедливого</a:t>
            </a:r>
            <a:r>
              <a:rPr kumimoji="0" lang="ru-RU"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доступа</a:t>
            </a:r>
          </a:p>
        </p:txBody>
      </p:sp>
      <p:cxnSp>
        <p:nvCxnSpPr>
          <p:cNvPr id="52" name="Straight Connector 51">
            <a:extLst>
              <a:ext uri="{FF2B5EF4-FFF2-40B4-BE49-F238E27FC236}">
                <a16:creationId xmlns:a16="http://schemas.microsoft.com/office/drawing/2014/main" id="{6F5811FE-045E-4780-9FB1-570F0A9147FA}"/>
              </a:ext>
            </a:extLst>
          </p:cNvPr>
          <p:cNvCxnSpPr>
            <a:cxnSpLocks/>
          </p:cNvCxnSpPr>
          <p:nvPr/>
        </p:nvCxnSpPr>
        <p:spPr>
          <a:xfrm>
            <a:off x="3566424" y="1219200"/>
            <a:ext cx="0" cy="148916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LineSpecialityDiamond 70">
            <a:extLst>
              <a:ext uri="{FF2B5EF4-FFF2-40B4-BE49-F238E27FC236}">
                <a16:creationId xmlns:a16="http://schemas.microsoft.com/office/drawing/2014/main" id="{4C9F1A92-A32A-4547-B3AF-3CF9E2F8E1E0}"/>
              </a:ext>
            </a:extLst>
          </p:cNvPr>
          <p:cNvCxnSpPr>
            <a:cxnSpLocks/>
          </p:cNvCxnSpPr>
          <p:nvPr>
            <p:custDataLst>
              <p:tags r:id="rId2"/>
            </p:custDataLst>
          </p:nvPr>
        </p:nvCxnSpPr>
        <p:spPr>
          <a:xfrm>
            <a:off x="3566424" y="1786321"/>
            <a:ext cx="37953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58" name="LineSpecialityDiamond 70">
            <a:extLst>
              <a:ext uri="{FF2B5EF4-FFF2-40B4-BE49-F238E27FC236}">
                <a16:creationId xmlns:a16="http://schemas.microsoft.com/office/drawing/2014/main" id="{7D63357E-875A-4F8A-B89E-2E7F80EA6A48}"/>
              </a:ext>
            </a:extLst>
          </p:cNvPr>
          <p:cNvCxnSpPr>
            <a:cxnSpLocks/>
          </p:cNvCxnSpPr>
          <p:nvPr>
            <p:custDataLst>
              <p:tags r:id="rId3"/>
            </p:custDataLst>
          </p:nvPr>
        </p:nvCxnSpPr>
        <p:spPr>
          <a:xfrm>
            <a:off x="3566284" y="4292470"/>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1B033AC-26BF-4B55-AAE3-461EE811D35D}"/>
              </a:ext>
            </a:extLst>
          </p:cNvPr>
          <p:cNvCxnSpPr>
            <a:cxnSpLocks/>
          </p:cNvCxnSpPr>
          <p:nvPr/>
        </p:nvCxnSpPr>
        <p:spPr>
          <a:xfrm>
            <a:off x="3566424" y="3714688"/>
            <a:ext cx="0" cy="107440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C1E52A0-2A8C-452F-8921-53D0D68397AD}"/>
              </a:ext>
            </a:extLst>
          </p:cNvPr>
          <p:cNvCxnSpPr>
            <a:cxnSpLocks/>
          </p:cNvCxnSpPr>
          <p:nvPr/>
        </p:nvCxnSpPr>
        <p:spPr>
          <a:xfrm>
            <a:off x="8620630" y="1036320"/>
            <a:ext cx="0" cy="175042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LineSpecialityDiamond 70">
            <a:extLst>
              <a:ext uri="{FF2B5EF4-FFF2-40B4-BE49-F238E27FC236}">
                <a16:creationId xmlns:a16="http://schemas.microsoft.com/office/drawing/2014/main" id="{DA547FE1-D866-419E-86FE-C8558110015C}"/>
              </a:ext>
            </a:extLst>
          </p:cNvPr>
          <p:cNvCxnSpPr>
            <a:cxnSpLocks/>
          </p:cNvCxnSpPr>
          <p:nvPr>
            <p:custDataLst>
              <p:tags r:id="rId4"/>
            </p:custDataLst>
          </p:nvPr>
        </p:nvCxnSpPr>
        <p:spPr>
          <a:xfrm flipH="1">
            <a:off x="8240960" y="1786321"/>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C081969-5E59-415A-B1AC-F2F10377219E}"/>
              </a:ext>
            </a:extLst>
          </p:cNvPr>
          <p:cNvCxnSpPr>
            <a:cxnSpLocks/>
          </p:cNvCxnSpPr>
          <p:nvPr/>
        </p:nvCxnSpPr>
        <p:spPr>
          <a:xfrm>
            <a:off x="8620630" y="3794661"/>
            <a:ext cx="0" cy="99443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LineSpecialityDiamond 70">
            <a:extLst>
              <a:ext uri="{FF2B5EF4-FFF2-40B4-BE49-F238E27FC236}">
                <a16:creationId xmlns:a16="http://schemas.microsoft.com/office/drawing/2014/main" id="{4B3B04DE-9875-4859-8A5F-736F45CEF8BD}"/>
              </a:ext>
            </a:extLst>
          </p:cNvPr>
          <p:cNvCxnSpPr>
            <a:cxnSpLocks/>
          </p:cNvCxnSpPr>
          <p:nvPr>
            <p:custDataLst>
              <p:tags r:id="rId5"/>
            </p:custDataLst>
          </p:nvPr>
        </p:nvCxnSpPr>
        <p:spPr>
          <a:xfrm flipH="1">
            <a:off x="8240960" y="4292472"/>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sp>
        <p:nvSpPr>
          <p:cNvPr id="81" name="Title 1">
            <a:extLst>
              <a:ext uri="{FF2B5EF4-FFF2-40B4-BE49-F238E27FC236}">
                <a16:creationId xmlns:a16="http://schemas.microsoft.com/office/drawing/2014/main" id="{7B6A0491-DFF8-4824-8A0F-85E47F20432C}"/>
              </a:ext>
            </a:extLst>
          </p:cNvPr>
          <p:cNvSpPr>
            <a:spLocks noGrp="1"/>
          </p:cNvSpPr>
          <p:nvPr>
            <p:ph type="title"/>
          </p:nvPr>
        </p:nvSpPr>
        <p:spPr>
          <a:xfrm>
            <a:off x="552263" y="-19596"/>
            <a:ext cx="11082528" cy="88639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ru-RU" dirty="0"/>
              <a:t>Тщательный анализ</a:t>
            </a:r>
            <a:r>
              <a:rPr lang="en-US" dirty="0"/>
              <a:t>: </a:t>
            </a:r>
            <a:r>
              <a:rPr lang="ru-RU" dirty="0"/>
              <a:t>взаимосвязанные основные возможности и решения для систем HEPR</a:t>
            </a:r>
            <a:endParaRPr lang="en-US" dirty="0"/>
          </a:p>
        </p:txBody>
      </p:sp>
      <p:cxnSp>
        <p:nvCxnSpPr>
          <p:cNvPr id="88" name="Straight Connector 87">
            <a:extLst>
              <a:ext uri="{FF2B5EF4-FFF2-40B4-BE49-F238E27FC236}">
                <a16:creationId xmlns:a16="http://schemas.microsoft.com/office/drawing/2014/main" id="{B4EE9CD6-45C1-4FD8-A258-F565C72F3011}"/>
              </a:ext>
            </a:extLst>
          </p:cNvPr>
          <p:cNvCxnSpPr>
            <a:cxnSpLocks/>
          </p:cNvCxnSpPr>
          <p:nvPr/>
        </p:nvCxnSpPr>
        <p:spPr>
          <a:xfrm>
            <a:off x="4075611" y="5054213"/>
            <a:ext cx="3857898" cy="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LineSpecialityDiamond 70">
            <a:extLst>
              <a:ext uri="{FF2B5EF4-FFF2-40B4-BE49-F238E27FC236}">
                <a16:creationId xmlns:a16="http://schemas.microsoft.com/office/drawing/2014/main" id="{BF99F9C3-E52E-473A-B2E4-2B6B18AAE4AD}"/>
              </a:ext>
            </a:extLst>
          </p:cNvPr>
          <p:cNvCxnSpPr>
            <a:cxnSpLocks/>
          </p:cNvCxnSpPr>
          <p:nvPr>
            <p:custDataLst>
              <p:tags r:id="rId6"/>
            </p:custDataLst>
          </p:nvPr>
        </p:nvCxnSpPr>
        <p:spPr>
          <a:xfrm flipV="1">
            <a:off x="6095944" y="3515330"/>
            <a:ext cx="0" cy="1538883"/>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19B2C76-2746-49A4-83DC-3ED63FDDA3FA}"/>
              </a:ext>
            </a:extLst>
          </p:cNvPr>
          <p:cNvSpPr txBox="1">
            <a:spLocks/>
          </p:cNvSpPr>
          <p:nvPr/>
        </p:nvSpPr>
        <p:spPr>
          <a:xfrm>
            <a:off x="3280410" y="5116204"/>
            <a:ext cx="5804730" cy="1692771"/>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ts val="1200"/>
              </a:spcBef>
              <a:spcAft>
                <a:spcPts val="0"/>
              </a:spcAft>
              <a:buClr>
                <a:srgbClr val="000000"/>
              </a:buClr>
              <a:buSzTx/>
              <a:buFontTx/>
              <a:buNone/>
              <a:tabLst/>
              <a:defRPr/>
            </a:pPr>
            <a:r>
              <a:rPr kumimoji="0" lang="ru-RU" sz="1300" i="0" u="none" strike="noStrike" kern="1200" cap="none" spc="0" normalizeH="0" baseline="0" noProof="0" dirty="0">
                <a:ln>
                  <a:noFill/>
                </a:ln>
                <a:solidFill>
                  <a:srgbClr val="000000"/>
                </a:solidFill>
                <a:effectLst/>
                <a:uLnTx/>
                <a:uFillTx/>
                <a:latin typeface="Calibri"/>
                <a:ea typeface="+mn-ea"/>
                <a:cs typeface="+mn-cs"/>
              </a:rPr>
              <a:t>Усиленные </a:t>
            </a:r>
            <a:r>
              <a:rPr kumimoji="0" lang="ru-RU" sz="1300" b="1" i="0" u="none" strike="noStrike" kern="1200" cap="none" spc="0" normalizeH="0" baseline="0" noProof="0" dirty="0">
                <a:ln>
                  <a:noFill/>
                </a:ln>
                <a:solidFill>
                  <a:srgbClr val="000000"/>
                </a:solidFill>
                <a:effectLst/>
                <a:uLnTx/>
                <a:uFillTx/>
                <a:latin typeface="Calibri"/>
                <a:ea typeface="+mn-ea"/>
                <a:cs typeface="+mn-cs"/>
              </a:rPr>
              <a:t>группы оповещения и реагирования на чрезвычайные ситуации </a:t>
            </a:r>
            <a:r>
              <a:rPr kumimoji="0" lang="ru-RU" sz="1300" i="0" u="none" strike="noStrike" kern="1200" cap="none" spc="0" normalizeH="0" baseline="0" noProof="0" dirty="0">
                <a:ln>
                  <a:noFill/>
                </a:ln>
                <a:solidFill>
                  <a:srgbClr val="000000"/>
                </a:solidFill>
                <a:effectLst/>
                <a:uLnTx/>
                <a:uFillTx/>
                <a:latin typeface="Calibri"/>
                <a:ea typeface="+mn-ea"/>
                <a:cs typeface="+mn-cs"/>
              </a:rPr>
              <a:t>в области здравоохранения, совместимые и быстро развертываемые</a:t>
            </a:r>
          </a:p>
          <a:p>
            <a:pPr marL="0" marR="0" lvl="0" indent="0" algn="l" defTabSz="914400" rtl="0" eaLnBrk="1" fontAlgn="auto" latinLnBrk="0" hangingPunct="1">
              <a:lnSpc>
                <a:spcPct val="100000"/>
              </a:lnSpc>
              <a:spcBef>
                <a:spcPts val="1200"/>
              </a:spcBef>
              <a:spcAft>
                <a:spcPts val="0"/>
              </a:spcAft>
              <a:buClr>
                <a:srgbClr val="000000"/>
              </a:buClr>
              <a:buSzTx/>
              <a:buFontTx/>
              <a:buNone/>
              <a:tabLst/>
              <a:defRPr/>
            </a:pPr>
            <a:r>
              <a:rPr kumimoji="0" lang="ru-RU" sz="1300" b="0" i="0" u="none" strike="noStrike" kern="1200" cap="none" spc="0" normalizeH="0" baseline="0" noProof="0" dirty="0">
                <a:ln>
                  <a:noFill/>
                </a:ln>
                <a:solidFill>
                  <a:schemeClr val="bg1"/>
                </a:solidFill>
                <a:effectLst/>
                <a:uLnTx/>
                <a:uFillTx/>
                <a:latin typeface="Calibri"/>
                <a:ea typeface="+mn-ea"/>
                <a:cs typeface="+mn-cs"/>
              </a:rPr>
              <a:t>Согласованные </a:t>
            </a:r>
            <a:r>
              <a:rPr kumimoji="0" lang="ru-RU" sz="1300" b="1" i="0" u="none" strike="noStrike" kern="1200" cap="none" spc="0" normalizeH="0" baseline="0" noProof="0" dirty="0">
                <a:ln>
                  <a:noFill/>
                </a:ln>
                <a:solidFill>
                  <a:schemeClr val="bg1"/>
                </a:solidFill>
                <a:effectLst/>
                <a:uLnTx/>
                <a:uFillTx/>
                <a:latin typeface="Calibri"/>
                <a:ea typeface="+mn-ea"/>
                <a:cs typeface="+mn-cs"/>
              </a:rPr>
              <a:t>национальные планы действий</a:t>
            </a:r>
            <a:r>
              <a:rPr kumimoji="0" lang="ru-RU" sz="1300" b="0" i="0" u="none" strike="noStrike" kern="1200" cap="none" spc="0" normalizeH="0" baseline="0" noProof="0" dirty="0">
                <a:ln>
                  <a:noFill/>
                </a:ln>
                <a:solidFill>
                  <a:schemeClr val="bg1"/>
                </a:solidFill>
                <a:effectLst/>
                <a:uLnTx/>
                <a:uFillTx/>
                <a:latin typeface="Calibri"/>
                <a:ea typeface="+mn-ea"/>
                <a:cs typeface="+mn-cs"/>
              </a:rPr>
              <a:t> по обеспечению готовности, предотвращению, снижению рисков и оперативной готовности</a:t>
            </a:r>
          </a:p>
          <a:p>
            <a:pPr marL="0" marR="0" lvl="0" indent="0" algn="l" defTabSz="914400" rtl="0" eaLnBrk="1" fontAlgn="auto" latinLnBrk="0" hangingPunct="1">
              <a:lnSpc>
                <a:spcPct val="100000"/>
              </a:lnSpc>
              <a:spcBef>
                <a:spcPts val="1200"/>
              </a:spcBef>
              <a:spcAft>
                <a:spcPts val="0"/>
              </a:spcAft>
              <a:buClr>
                <a:srgbClr val="000000"/>
              </a:buClr>
              <a:buSzTx/>
              <a:buFontTx/>
              <a:buNone/>
              <a:tabLst/>
              <a:defRPr/>
            </a:pPr>
            <a:r>
              <a:rPr kumimoji="0" lang="ru-RU" sz="1300" b="0" i="0" u="none" strike="noStrike" kern="1200" cap="none" spc="0" normalizeH="0" baseline="0" noProof="0" dirty="0">
                <a:ln>
                  <a:noFill/>
                </a:ln>
                <a:solidFill>
                  <a:srgbClr val="000000"/>
                </a:solidFill>
                <a:effectLst/>
                <a:uLnTx/>
                <a:uFillTx/>
                <a:latin typeface="Calibri"/>
                <a:ea typeface="+mn-ea"/>
                <a:cs typeface="+mn-cs"/>
              </a:rPr>
              <a:t>Масштабируемая </a:t>
            </a:r>
            <a:r>
              <a:rPr kumimoji="0" lang="ru-RU" sz="1300" b="1" i="0" u="none" strike="noStrike" kern="1200" cap="none" spc="0" normalizeH="0" baseline="0" noProof="0" dirty="0">
                <a:ln>
                  <a:noFill/>
                </a:ln>
                <a:solidFill>
                  <a:srgbClr val="000000"/>
                </a:solidFill>
                <a:effectLst/>
                <a:uLnTx/>
                <a:uFillTx/>
                <a:latin typeface="Calibri"/>
                <a:ea typeface="+mn-ea"/>
                <a:cs typeface="+mn-cs"/>
              </a:rPr>
              <a:t>координация реагирования на чрезвычайные ситуации </a:t>
            </a:r>
            <a:r>
              <a:rPr kumimoji="0" lang="ru-RU" sz="1300" b="0" i="0" u="none" strike="noStrike" kern="1200" cap="none" spc="0" normalizeH="0" baseline="0" noProof="0" dirty="0">
                <a:ln>
                  <a:noFill/>
                </a:ln>
                <a:solidFill>
                  <a:srgbClr val="000000"/>
                </a:solidFill>
                <a:effectLst/>
                <a:uLnTx/>
                <a:uFillTx/>
                <a:latin typeface="Calibri"/>
                <a:ea typeface="+mn-ea"/>
                <a:cs typeface="+mn-cs"/>
              </a:rPr>
              <a:t>в области здравоохранения с помощью стандартизированной и широко применяемой системы реагирования на чрезвычайные ситуации</a:t>
            </a:r>
            <a:endParaRPr kumimoji="0" lang="en-US" sz="13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150929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5B41B6-AF46-4282-BA05-B258BC1FD5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C5B41B6-AF46-4282-BA05-B258BC1FD5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Title 1">
            <a:extLst>
              <a:ext uri="{FF2B5EF4-FFF2-40B4-BE49-F238E27FC236}">
                <a16:creationId xmlns:a16="http://schemas.microsoft.com/office/drawing/2014/main" id="{7B6A0491-DFF8-4824-8A0F-85E47F20432C}"/>
              </a:ext>
            </a:extLst>
          </p:cNvPr>
          <p:cNvSpPr>
            <a:spLocks noGrp="1"/>
          </p:cNvSpPr>
          <p:nvPr>
            <p:ph type="title"/>
          </p:nvPr>
        </p:nvSpPr>
        <p:spPr>
          <a:xfrm>
            <a:off x="544797" y="99805"/>
            <a:ext cx="5369130" cy="132959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ru-RU" dirty="0"/>
              <a:t>Системы должны быть взаимосвязаны горизонтально и вертикально</a:t>
            </a:r>
            <a:r>
              <a:rPr lang="en-US" dirty="0"/>
              <a:t>…</a:t>
            </a:r>
          </a:p>
        </p:txBody>
      </p:sp>
      <p:sp>
        <p:nvSpPr>
          <p:cNvPr id="45" name="TextBox 44">
            <a:extLst>
              <a:ext uri="{FF2B5EF4-FFF2-40B4-BE49-F238E27FC236}">
                <a16:creationId xmlns:a16="http://schemas.microsoft.com/office/drawing/2014/main" id="{FBA1537F-CE92-499E-A97C-0E1F4C0D7F20}"/>
              </a:ext>
            </a:extLst>
          </p:cNvPr>
          <p:cNvSpPr txBox="1"/>
          <p:nvPr/>
        </p:nvSpPr>
        <p:spPr>
          <a:xfrm>
            <a:off x="182019" y="1754167"/>
            <a:ext cx="1722566" cy="307777"/>
          </a:xfrm>
          <a:prstGeom prst="rect">
            <a:avLst/>
          </a:prstGeom>
        </p:spPr>
        <p:txBody>
          <a:bodyPr vert="horz" wrap="square" lIns="0" tIns="0" rIns="0" bIns="0" rtlCol="0" anchor="ctr" anchorCtr="0">
            <a:noAutofit/>
          </a:bodyPr>
          <a:lstStyle>
            <a:defPPr>
              <a:defRPr lang="en-US"/>
            </a:defPPr>
            <a:lvl1pPr lvl="0" indent="0" algn="r">
              <a:lnSpc>
                <a:spcPct val="100000"/>
              </a:lnSpc>
              <a:spcBef>
                <a:spcPts val="0"/>
              </a:spcBef>
              <a:spcAft>
                <a:spcPts val="0"/>
              </a:spcAft>
              <a:buFont typeface="Segoe UI" panose="020B0502040204020203" pitchFamily="34" charset="0"/>
              <a:buChar char="​"/>
              <a:defRPr sz="2000" b="1">
                <a:solidFill>
                  <a:schemeClr val="accent1"/>
                </a:solidFill>
              </a:defRPr>
            </a:lvl1pPr>
            <a:lvl2pPr marL="228600" lvl="1" indent="-225425">
              <a:lnSpc>
                <a:spcPct val="100000"/>
              </a:lnSpc>
              <a:spcBef>
                <a:spcPts val="0"/>
              </a:spcBef>
              <a:spcAft>
                <a:spcPts val="300"/>
              </a:spcAft>
              <a:buFont typeface="Wingdings" panose="05000000000000000000" pitchFamily="2" charset="2"/>
              <a:buChar char=""/>
              <a:defRPr sz="1600">
                <a:solidFill>
                  <a:schemeClr val="tx1"/>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tx1"/>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tx1"/>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9pPr>
          </a:lstStyle>
          <a:p>
            <a:r>
              <a:rPr lang="ru-RU" dirty="0"/>
              <a:t>ГЛОБАЛЬНЫЙ</a:t>
            </a:r>
            <a:endParaRPr lang="en-US" dirty="0"/>
          </a:p>
        </p:txBody>
      </p:sp>
      <p:sp>
        <p:nvSpPr>
          <p:cNvPr id="46" name="TextBox 45">
            <a:extLst>
              <a:ext uri="{FF2B5EF4-FFF2-40B4-BE49-F238E27FC236}">
                <a16:creationId xmlns:a16="http://schemas.microsoft.com/office/drawing/2014/main" id="{42A8880E-C185-4971-B30B-A1399D1436EE}"/>
              </a:ext>
            </a:extLst>
          </p:cNvPr>
          <p:cNvSpPr txBox="1"/>
          <p:nvPr/>
        </p:nvSpPr>
        <p:spPr>
          <a:xfrm>
            <a:off x="105570" y="3480922"/>
            <a:ext cx="1875459"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2000" b="1" dirty="0">
                <a:solidFill>
                  <a:schemeClr val="accent1"/>
                </a:solidFill>
              </a:rPr>
              <a:t>РЕГИОНАЛЬНЫЙ</a:t>
            </a:r>
            <a:endParaRPr lang="en-US" sz="2000" b="1" dirty="0">
              <a:solidFill>
                <a:schemeClr val="accent1"/>
              </a:solidFill>
            </a:endParaRPr>
          </a:p>
        </p:txBody>
      </p:sp>
      <p:sp>
        <p:nvSpPr>
          <p:cNvPr id="48" name="TextBox 47">
            <a:extLst>
              <a:ext uri="{FF2B5EF4-FFF2-40B4-BE49-F238E27FC236}">
                <a16:creationId xmlns:a16="http://schemas.microsoft.com/office/drawing/2014/main" id="{C061AB32-EE8C-4D24-8221-22B5A7C63582}"/>
              </a:ext>
            </a:extLst>
          </p:cNvPr>
          <p:cNvSpPr txBox="1"/>
          <p:nvPr/>
        </p:nvSpPr>
        <p:spPr>
          <a:xfrm>
            <a:off x="-113964" y="5410446"/>
            <a:ext cx="2053493" cy="307777"/>
          </a:xfrm>
          <a:prstGeom prst="rect">
            <a:avLst/>
          </a:prstGeom>
        </p:spPr>
        <p:txBody>
          <a:bodyPr vert="horz" wrap="square" lIns="0" tIns="0" rIns="0" bIns="0" rtlCol="0" anchor="ctr" anchorCtr="0">
            <a:noAutofit/>
          </a:bodyPr>
          <a:lstStyle>
            <a:defPPr>
              <a:defRPr lang="en-US"/>
            </a:defPPr>
            <a:lvl1pPr lvl="0" indent="0" algn="r">
              <a:lnSpc>
                <a:spcPct val="100000"/>
              </a:lnSpc>
              <a:spcBef>
                <a:spcPts val="0"/>
              </a:spcBef>
              <a:spcAft>
                <a:spcPts val="0"/>
              </a:spcAft>
              <a:buFont typeface="Segoe UI" panose="020B0502040204020203" pitchFamily="34" charset="0"/>
              <a:buChar char="​"/>
              <a:defRPr sz="2000" b="1">
                <a:solidFill>
                  <a:schemeClr val="accent1"/>
                </a:solidFill>
              </a:defRPr>
            </a:lvl1pPr>
            <a:lvl2pPr marL="228600" lvl="1" indent="-225425">
              <a:lnSpc>
                <a:spcPct val="100000"/>
              </a:lnSpc>
              <a:spcBef>
                <a:spcPts val="0"/>
              </a:spcBef>
              <a:spcAft>
                <a:spcPts val="300"/>
              </a:spcAft>
              <a:buFont typeface="Wingdings" panose="05000000000000000000" pitchFamily="2" charset="2"/>
              <a:buChar char=""/>
              <a:defRPr sz="1600">
                <a:solidFill>
                  <a:schemeClr val="tx1"/>
                </a:solidFill>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solidFill>
                  <a:schemeClr val="tx1"/>
                </a:solidFill>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solidFill>
                  <a:schemeClr val="tx1"/>
                </a:solidFill>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solidFill>
                  <a:schemeClr val="tx1"/>
                </a:solidFill>
                <a:cs typeface="Arial" panose="020B0604020202020204" pitchFamily="34" charset="0"/>
              </a:defRPr>
            </a:lvl9pPr>
          </a:lstStyle>
          <a:p>
            <a:r>
              <a:rPr lang="ru-RU" dirty="0"/>
              <a:t>НАЦИОНАЛЬНЫЙ</a:t>
            </a:r>
            <a:endParaRPr lang="en-US" dirty="0"/>
          </a:p>
        </p:txBody>
      </p:sp>
      <p:cxnSp>
        <p:nvCxnSpPr>
          <p:cNvPr id="6" name="Straight Arrow Connector 5">
            <a:extLst>
              <a:ext uri="{FF2B5EF4-FFF2-40B4-BE49-F238E27FC236}">
                <a16:creationId xmlns:a16="http://schemas.microsoft.com/office/drawing/2014/main" id="{C150E2CF-6722-4194-A597-DCE2B729149B}"/>
              </a:ext>
            </a:extLst>
          </p:cNvPr>
          <p:cNvCxnSpPr>
            <a:cxnSpLocks/>
          </p:cNvCxnSpPr>
          <p:nvPr/>
        </p:nvCxnSpPr>
        <p:spPr>
          <a:xfrm>
            <a:off x="2273200" y="6433162"/>
            <a:ext cx="3154003" cy="0"/>
          </a:xfrm>
          <a:prstGeom prst="straightConnector1">
            <a:avLst/>
          </a:prstGeom>
          <a:ln w="50800" cap="flat">
            <a:solidFill>
              <a:srgbClr val="002E89"/>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6F3C01C5-BD65-42A6-B04A-2EB4C404F58F}"/>
              </a:ext>
            </a:extLst>
          </p:cNvPr>
          <p:cNvCxnSpPr>
            <a:cxnSpLocks/>
          </p:cNvCxnSpPr>
          <p:nvPr/>
        </p:nvCxnSpPr>
        <p:spPr>
          <a:xfrm>
            <a:off x="1981033" y="1551398"/>
            <a:ext cx="0" cy="4510355"/>
          </a:xfrm>
          <a:prstGeom prst="straightConnector1">
            <a:avLst/>
          </a:prstGeom>
          <a:ln w="50800" cap="flat">
            <a:solidFill>
              <a:srgbClr val="002E89"/>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6BDED99-B9D6-4652-8A58-2C8508308FBD}"/>
              </a:ext>
            </a:extLst>
          </p:cNvPr>
          <p:cNvPicPr>
            <a:picLocks noChangeAspect="1"/>
          </p:cNvPicPr>
          <p:nvPr/>
        </p:nvPicPr>
        <p:blipFill>
          <a:blip r:embed="rId6"/>
          <a:stretch>
            <a:fillRect/>
          </a:stretch>
        </p:blipFill>
        <p:spPr>
          <a:xfrm>
            <a:off x="5913927" y="1770751"/>
            <a:ext cx="6019607" cy="4321060"/>
          </a:xfrm>
          <a:prstGeom prst="rect">
            <a:avLst/>
          </a:prstGeom>
        </p:spPr>
      </p:pic>
      <p:pic>
        <p:nvPicPr>
          <p:cNvPr id="10" name="Picture 9">
            <a:extLst>
              <a:ext uri="{FF2B5EF4-FFF2-40B4-BE49-F238E27FC236}">
                <a16:creationId xmlns:a16="http://schemas.microsoft.com/office/drawing/2014/main" id="{D742ADAB-D234-4DEE-A1C6-12ED2127FDF7}"/>
              </a:ext>
            </a:extLst>
          </p:cNvPr>
          <p:cNvPicPr>
            <a:picLocks noChangeAspect="1"/>
          </p:cNvPicPr>
          <p:nvPr/>
        </p:nvPicPr>
        <p:blipFill>
          <a:blip r:embed="rId7"/>
          <a:stretch>
            <a:fillRect/>
          </a:stretch>
        </p:blipFill>
        <p:spPr>
          <a:xfrm>
            <a:off x="2064042" y="1175058"/>
            <a:ext cx="3363161" cy="5227281"/>
          </a:xfrm>
          <a:prstGeom prst="rect">
            <a:avLst/>
          </a:prstGeom>
        </p:spPr>
      </p:pic>
      <p:sp>
        <p:nvSpPr>
          <p:cNvPr id="107" name="Title 1">
            <a:extLst>
              <a:ext uri="{FF2B5EF4-FFF2-40B4-BE49-F238E27FC236}">
                <a16:creationId xmlns:a16="http://schemas.microsoft.com/office/drawing/2014/main" id="{F95A1854-0772-4C10-AF10-F6553B1816C6}"/>
              </a:ext>
            </a:extLst>
          </p:cNvPr>
          <p:cNvSpPr txBox="1">
            <a:spLocks/>
          </p:cNvSpPr>
          <p:nvPr/>
        </p:nvSpPr>
        <p:spPr>
          <a:xfrm>
            <a:off x="6470469" y="405617"/>
            <a:ext cx="4990011" cy="76944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a:lstStyle>
          <a:p>
            <a:r>
              <a:rPr lang="en-US" dirty="0"/>
              <a:t>… </a:t>
            </a:r>
            <a:r>
              <a:rPr lang="ru-RU" dirty="0"/>
              <a:t>и по всему циклу чрезвычайной ситуации</a:t>
            </a:r>
            <a:endParaRPr lang="en-US" dirty="0"/>
          </a:p>
        </p:txBody>
      </p:sp>
      <p:sp>
        <p:nvSpPr>
          <p:cNvPr id="2" name="Прямоугольник 1">
            <a:extLst>
              <a:ext uri="{FF2B5EF4-FFF2-40B4-BE49-F238E27FC236}">
                <a16:creationId xmlns:a16="http://schemas.microsoft.com/office/drawing/2014/main" id="{C967151B-5AC3-4180-9C7F-BCE0CD1D4315}"/>
              </a:ext>
            </a:extLst>
          </p:cNvPr>
          <p:cNvSpPr/>
          <p:nvPr/>
        </p:nvSpPr>
        <p:spPr>
          <a:xfrm>
            <a:off x="5743255" y="2158293"/>
            <a:ext cx="1849348" cy="296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solidFill>
                  <a:schemeClr val="tx2"/>
                </a:solidFill>
              </a:rPr>
              <a:t>ВОССТАНОВЛЕНИЕ</a:t>
            </a:r>
            <a:r>
              <a:rPr lang="ru-RU" b="1" dirty="0">
                <a:solidFill>
                  <a:schemeClr val="tx2"/>
                </a:solidFill>
              </a:rPr>
              <a:t> </a:t>
            </a:r>
            <a:endParaRPr lang="ru-KZ" b="1" dirty="0">
              <a:solidFill>
                <a:schemeClr val="tx2"/>
              </a:solidFill>
            </a:endParaRPr>
          </a:p>
        </p:txBody>
      </p:sp>
      <p:sp>
        <p:nvSpPr>
          <p:cNvPr id="4" name="Прямоугольник 3">
            <a:extLst>
              <a:ext uri="{FF2B5EF4-FFF2-40B4-BE49-F238E27FC236}">
                <a16:creationId xmlns:a16="http://schemas.microsoft.com/office/drawing/2014/main" id="{E44C7BB3-AF62-A0E5-8B88-0EA63D253279}"/>
              </a:ext>
            </a:extLst>
          </p:cNvPr>
          <p:cNvSpPr/>
          <p:nvPr/>
        </p:nvSpPr>
        <p:spPr>
          <a:xfrm>
            <a:off x="10342652" y="2158293"/>
            <a:ext cx="1849348" cy="296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2"/>
                </a:solidFill>
              </a:rPr>
              <a:t>ПОДГОТОВКА</a:t>
            </a:r>
            <a:endParaRPr lang="ru-KZ" b="1" dirty="0">
              <a:solidFill>
                <a:schemeClr val="tx2"/>
              </a:solidFill>
            </a:endParaRPr>
          </a:p>
        </p:txBody>
      </p:sp>
      <p:sp>
        <p:nvSpPr>
          <p:cNvPr id="5" name="Прямоугольник 4">
            <a:extLst>
              <a:ext uri="{FF2B5EF4-FFF2-40B4-BE49-F238E27FC236}">
                <a16:creationId xmlns:a16="http://schemas.microsoft.com/office/drawing/2014/main" id="{9277D361-94D6-9400-74B7-C7B37E9CF30A}"/>
              </a:ext>
            </a:extLst>
          </p:cNvPr>
          <p:cNvSpPr/>
          <p:nvPr/>
        </p:nvSpPr>
        <p:spPr>
          <a:xfrm>
            <a:off x="10796428" y="3855286"/>
            <a:ext cx="1395572" cy="296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00" b="1" dirty="0">
                <a:solidFill>
                  <a:schemeClr val="tx2"/>
                </a:solidFill>
              </a:rPr>
              <a:t>ПРОФИЛАКТИКА</a:t>
            </a:r>
            <a:endParaRPr lang="ru-KZ" sz="1300" b="1" dirty="0">
              <a:solidFill>
                <a:schemeClr val="tx2"/>
              </a:solidFill>
            </a:endParaRPr>
          </a:p>
        </p:txBody>
      </p:sp>
      <p:sp>
        <p:nvSpPr>
          <p:cNvPr id="7" name="Прямоугольник 6">
            <a:extLst>
              <a:ext uri="{FF2B5EF4-FFF2-40B4-BE49-F238E27FC236}">
                <a16:creationId xmlns:a16="http://schemas.microsoft.com/office/drawing/2014/main" id="{298080AB-6EEE-65EB-388B-0132966B8ACD}"/>
              </a:ext>
            </a:extLst>
          </p:cNvPr>
          <p:cNvSpPr/>
          <p:nvPr/>
        </p:nvSpPr>
        <p:spPr>
          <a:xfrm>
            <a:off x="5171326" y="3806575"/>
            <a:ext cx="1849348" cy="296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ru-RU" sz="1400" b="1" dirty="0">
                <a:solidFill>
                  <a:schemeClr val="tx2"/>
                </a:solidFill>
              </a:rPr>
              <a:t>РЕАГИРОВАНИЕ</a:t>
            </a:r>
            <a:endParaRPr lang="ru-KZ" b="1" dirty="0">
              <a:solidFill>
                <a:schemeClr val="tx2"/>
              </a:solidFill>
            </a:endParaRPr>
          </a:p>
        </p:txBody>
      </p:sp>
      <p:sp>
        <p:nvSpPr>
          <p:cNvPr id="8" name="Прямоугольник 7">
            <a:extLst>
              <a:ext uri="{FF2B5EF4-FFF2-40B4-BE49-F238E27FC236}">
                <a16:creationId xmlns:a16="http://schemas.microsoft.com/office/drawing/2014/main" id="{207DFC22-27B1-3DDA-16E3-98C0F861AD93}"/>
              </a:ext>
            </a:extLst>
          </p:cNvPr>
          <p:cNvSpPr/>
          <p:nvPr/>
        </p:nvSpPr>
        <p:spPr>
          <a:xfrm>
            <a:off x="8247788" y="5579923"/>
            <a:ext cx="1849348" cy="2968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solidFill>
                  <a:schemeClr val="tx2"/>
                </a:solidFill>
              </a:rPr>
              <a:t>ВЫЯВЛЕНИЕ</a:t>
            </a:r>
            <a:endParaRPr lang="ru-KZ" b="1" dirty="0">
              <a:solidFill>
                <a:schemeClr val="tx2"/>
              </a:solidFill>
            </a:endParaRPr>
          </a:p>
        </p:txBody>
      </p:sp>
      <p:sp>
        <p:nvSpPr>
          <p:cNvPr id="11" name="Прямоугольник 10">
            <a:extLst>
              <a:ext uri="{FF2B5EF4-FFF2-40B4-BE49-F238E27FC236}">
                <a16:creationId xmlns:a16="http://schemas.microsoft.com/office/drawing/2014/main" id="{E5CBCE29-60E5-04A6-F336-7AF87AB95605}"/>
              </a:ext>
            </a:extLst>
          </p:cNvPr>
          <p:cNvSpPr/>
          <p:nvPr/>
        </p:nvSpPr>
        <p:spPr>
          <a:xfrm>
            <a:off x="8163311" y="3282281"/>
            <a:ext cx="1655851" cy="649000"/>
          </a:xfrm>
          <a:prstGeom prst="rect">
            <a:avLst/>
          </a:prstGeom>
          <a:solidFill>
            <a:srgbClr val="0272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solidFill>
                  <a:schemeClr val="bg1"/>
                </a:solidFill>
              </a:rPr>
              <a:t>КООРДИНАЦИЯ ВО ВРЕМЯ ЧС</a:t>
            </a:r>
            <a:endParaRPr lang="ru-KZ" b="1" dirty="0">
              <a:solidFill>
                <a:schemeClr val="bg1"/>
              </a:solidFill>
            </a:endParaRPr>
          </a:p>
        </p:txBody>
      </p:sp>
    </p:spTree>
    <p:extLst>
      <p:ext uri="{BB962C8B-B14F-4D97-AF65-F5344CB8AC3E}">
        <p14:creationId xmlns:p14="http://schemas.microsoft.com/office/powerpoint/2010/main" val="3558963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7DEF0C7-485D-4026-8DE9-9C893C19C742}"/>
              </a:ext>
            </a:extLst>
          </p:cNvPr>
          <p:cNvPicPr>
            <a:picLocks noChangeAspect="1"/>
          </p:cNvPicPr>
          <p:nvPr/>
        </p:nvPicPr>
        <p:blipFill>
          <a:blip r:embed="rId9"/>
          <a:stretch>
            <a:fillRect/>
          </a:stretch>
        </p:blipFill>
        <p:spPr>
          <a:xfrm>
            <a:off x="375050" y="1222368"/>
            <a:ext cx="3407959" cy="4895512"/>
          </a:xfrm>
          <a:prstGeom prst="rect">
            <a:avLst/>
          </a:prstGeom>
        </p:spPr>
      </p:pic>
      <p:graphicFrame>
        <p:nvGraphicFramePr>
          <p:cNvPr id="4" name="Object 3" hidden="1">
            <a:extLst>
              <a:ext uri="{FF2B5EF4-FFF2-40B4-BE49-F238E27FC236}">
                <a16:creationId xmlns:a16="http://schemas.microsoft.com/office/drawing/2014/main" id="{09B5CF1E-78FF-49F8-9586-307515372D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4" name="Object 3" hidden="1">
                        <a:extLst>
                          <a:ext uri="{FF2B5EF4-FFF2-40B4-BE49-F238E27FC236}">
                            <a16:creationId xmlns:a16="http://schemas.microsoft.com/office/drawing/2014/main" id="{09B5CF1E-78FF-49F8-9586-307515372D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cxnSp>
        <p:nvCxnSpPr>
          <p:cNvPr id="52" name="Straight Connector 51">
            <a:extLst>
              <a:ext uri="{FF2B5EF4-FFF2-40B4-BE49-F238E27FC236}">
                <a16:creationId xmlns:a16="http://schemas.microsoft.com/office/drawing/2014/main" id="{6F5811FE-045E-4780-9FB1-570F0A9147FA}"/>
              </a:ext>
            </a:extLst>
          </p:cNvPr>
          <p:cNvCxnSpPr>
            <a:cxnSpLocks/>
          </p:cNvCxnSpPr>
          <p:nvPr/>
        </p:nvCxnSpPr>
        <p:spPr>
          <a:xfrm flipH="1">
            <a:off x="3566284" y="1454343"/>
            <a:ext cx="140" cy="987643"/>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LineSpecialityDiamond 70">
            <a:extLst>
              <a:ext uri="{FF2B5EF4-FFF2-40B4-BE49-F238E27FC236}">
                <a16:creationId xmlns:a16="http://schemas.microsoft.com/office/drawing/2014/main" id="{4C9F1A92-A32A-4547-B3AF-3CF9E2F8E1E0}"/>
              </a:ext>
            </a:extLst>
          </p:cNvPr>
          <p:cNvCxnSpPr>
            <a:cxnSpLocks/>
          </p:cNvCxnSpPr>
          <p:nvPr>
            <p:custDataLst>
              <p:tags r:id="rId2"/>
            </p:custDataLst>
          </p:nvPr>
        </p:nvCxnSpPr>
        <p:spPr>
          <a:xfrm>
            <a:off x="3566424" y="1870858"/>
            <a:ext cx="37953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58" name="LineSpecialityDiamond 70">
            <a:extLst>
              <a:ext uri="{FF2B5EF4-FFF2-40B4-BE49-F238E27FC236}">
                <a16:creationId xmlns:a16="http://schemas.microsoft.com/office/drawing/2014/main" id="{7D63357E-875A-4F8A-B89E-2E7F80EA6A48}"/>
              </a:ext>
            </a:extLst>
          </p:cNvPr>
          <p:cNvCxnSpPr>
            <a:cxnSpLocks/>
          </p:cNvCxnSpPr>
          <p:nvPr>
            <p:custDataLst>
              <p:tags r:id="rId3"/>
            </p:custDataLst>
          </p:nvPr>
        </p:nvCxnSpPr>
        <p:spPr>
          <a:xfrm>
            <a:off x="3566284" y="4527613"/>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1B033AC-26BF-4B55-AAE3-461EE811D35D}"/>
              </a:ext>
            </a:extLst>
          </p:cNvPr>
          <p:cNvCxnSpPr>
            <a:cxnSpLocks/>
          </p:cNvCxnSpPr>
          <p:nvPr/>
        </p:nvCxnSpPr>
        <p:spPr>
          <a:xfrm>
            <a:off x="3566424" y="3949831"/>
            <a:ext cx="0" cy="107440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C1E52A0-2A8C-452F-8921-53D0D68397AD}"/>
              </a:ext>
            </a:extLst>
          </p:cNvPr>
          <p:cNvCxnSpPr>
            <a:cxnSpLocks/>
          </p:cNvCxnSpPr>
          <p:nvPr/>
        </p:nvCxnSpPr>
        <p:spPr>
          <a:xfrm>
            <a:off x="8620630" y="1666079"/>
            <a:ext cx="0" cy="77590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9" name="LineSpecialityDiamond 70">
            <a:extLst>
              <a:ext uri="{FF2B5EF4-FFF2-40B4-BE49-F238E27FC236}">
                <a16:creationId xmlns:a16="http://schemas.microsoft.com/office/drawing/2014/main" id="{DA547FE1-D866-419E-86FE-C8558110015C}"/>
              </a:ext>
            </a:extLst>
          </p:cNvPr>
          <p:cNvCxnSpPr>
            <a:cxnSpLocks/>
          </p:cNvCxnSpPr>
          <p:nvPr>
            <p:custDataLst>
              <p:tags r:id="rId4"/>
            </p:custDataLst>
          </p:nvPr>
        </p:nvCxnSpPr>
        <p:spPr>
          <a:xfrm flipH="1">
            <a:off x="8240960" y="2021464"/>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C081969-5E59-415A-B1AC-F2F10377219E}"/>
              </a:ext>
            </a:extLst>
          </p:cNvPr>
          <p:cNvCxnSpPr>
            <a:cxnSpLocks/>
          </p:cNvCxnSpPr>
          <p:nvPr/>
        </p:nvCxnSpPr>
        <p:spPr>
          <a:xfrm>
            <a:off x="8620630" y="3707073"/>
            <a:ext cx="0" cy="99443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LineSpecialityDiamond 70">
            <a:extLst>
              <a:ext uri="{FF2B5EF4-FFF2-40B4-BE49-F238E27FC236}">
                <a16:creationId xmlns:a16="http://schemas.microsoft.com/office/drawing/2014/main" id="{4B3B04DE-9875-4859-8A5F-736F45CEF8BD}"/>
              </a:ext>
            </a:extLst>
          </p:cNvPr>
          <p:cNvCxnSpPr>
            <a:cxnSpLocks/>
          </p:cNvCxnSpPr>
          <p:nvPr>
            <p:custDataLst>
              <p:tags r:id="rId5"/>
            </p:custDataLst>
          </p:nvPr>
        </p:nvCxnSpPr>
        <p:spPr>
          <a:xfrm flipH="1">
            <a:off x="8240960" y="4204884"/>
            <a:ext cx="379670"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sp>
        <p:nvSpPr>
          <p:cNvPr id="81" name="Title 1">
            <a:extLst>
              <a:ext uri="{FF2B5EF4-FFF2-40B4-BE49-F238E27FC236}">
                <a16:creationId xmlns:a16="http://schemas.microsoft.com/office/drawing/2014/main" id="{7B6A0491-DFF8-4824-8A0F-85E47F20432C}"/>
              </a:ext>
            </a:extLst>
          </p:cNvPr>
          <p:cNvSpPr>
            <a:spLocks noGrp="1"/>
          </p:cNvSpPr>
          <p:nvPr>
            <p:ph type="title"/>
          </p:nvPr>
        </p:nvSpPr>
        <p:spPr>
          <a:xfrm>
            <a:off x="516857" y="58139"/>
            <a:ext cx="11082528" cy="132959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ru-RU" dirty="0"/>
              <a:t>Комплексная система, реализованная через центры инклюзивного партнерства для коллаборации и совместного созидания</a:t>
            </a:r>
            <a:endParaRPr lang="en-US" dirty="0"/>
          </a:p>
        </p:txBody>
      </p:sp>
      <p:cxnSp>
        <p:nvCxnSpPr>
          <p:cNvPr id="88" name="Straight Connector 87">
            <a:extLst>
              <a:ext uri="{FF2B5EF4-FFF2-40B4-BE49-F238E27FC236}">
                <a16:creationId xmlns:a16="http://schemas.microsoft.com/office/drawing/2014/main" id="{B4EE9CD6-45C1-4FD8-A258-F565C72F3011}"/>
              </a:ext>
            </a:extLst>
          </p:cNvPr>
          <p:cNvCxnSpPr>
            <a:cxnSpLocks/>
          </p:cNvCxnSpPr>
          <p:nvPr/>
        </p:nvCxnSpPr>
        <p:spPr>
          <a:xfrm>
            <a:off x="4075611" y="5289356"/>
            <a:ext cx="3857898" cy="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LineSpecialityDiamond 70">
            <a:extLst>
              <a:ext uri="{FF2B5EF4-FFF2-40B4-BE49-F238E27FC236}">
                <a16:creationId xmlns:a16="http://schemas.microsoft.com/office/drawing/2014/main" id="{BF99F9C3-E52E-473A-B2E4-2B6B18AAE4AD}"/>
              </a:ext>
            </a:extLst>
          </p:cNvPr>
          <p:cNvCxnSpPr>
            <a:cxnSpLocks/>
          </p:cNvCxnSpPr>
          <p:nvPr>
            <p:custDataLst>
              <p:tags r:id="rId6"/>
            </p:custDataLst>
          </p:nvPr>
        </p:nvCxnSpPr>
        <p:spPr>
          <a:xfrm flipV="1">
            <a:off x="6095944" y="3750473"/>
            <a:ext cx="0" cy="1538883"/>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427C5245-8830-4F2A-92B4-38642427ECFB}"/>
              </a:ext>
            </a:extLst>
          </p:cNvPr>
          <p:cNvPicPr>
            <a:picLocks noChangeAspect="1"/>
          </p:cNvPicPr>
          <p:nvPr/>
        </p:nvPicPr>
        <p:blipFill>
          <a:blip r:embed="rId12"/>
          <a:stretch>
            <a:fillRect/>
          </a:stretch>
        </p:blipFill>
        <p:spPr>
          <a:xfrm>
            <a:off x="8910047" y="1271463"/>
            <a:ext cx="3188484" cy="3999323"/>
          </a:xfrm>
          <a:prstGeom prst="rect">
            <a:avLst/>
          </a:prstGeom>
        </p:spPr>
      </p:pic>
      <p:pic>
        <p:nvPicPr>
          <p:cNvPr id="6" name="Picture 5">
            <a:extLst>
              <a:ext uri="{FF2B5EF4-FFF2-40B4-BE49-F238E27FC236}">
                <a16:creationId xmlns:a16="http://schemas.microsoft.com/office/drawing/2014/main" id="{ED4B7A0B-0B10-4EF2-9890-A73094CB6816}"/>
              </a:ext>
            </a:extLst>
          </p:cNvPr>
          <p:cNvPicPr>
            <a:picLocks noChangeAspect="1"/>
          </p:cNvPicPr>
          <p:nvPr/>
        </p:nvPicPr>
        <p:blipFill>
          <a:blip r:embed="rId13"/>
          <a:stretch>
            <a:fillRect/>
          </a:stretch>
        </p:blipFill>
        <p:spPr>
          <a:xfrm>
            <a:off x="4220018" y="5482038"/>
            <a:ext cx="3676207" cy="1182727"/>
          </a:xfrm>
          <a:prstGeom prst="rect">
            <a:avLst/>
          </a:prstGeom>
        </p:spPr>
      </p:pic>
      <p:sp>
        <p:nvSpPr>
          <p:cNvPr id="7" name="Rectangle 6">
            <a:extLst>
              <a:ext uri="{FF2B5EF4-FFF2-40B4-BE49-F238E27FC236}">
                <a16:creationId xmlns:a16="http://schemas.microsoft.com/office/drawing/2014/main" id="{1370040A-0A9D-4EA2-A912-AE3BB3251D8B}"/>
              </a:ext>
            </a:extLst>
          </p:cNvPr>
          <p:cNvSpPr/>
          <p:nvPr/>
        </p:nvSpPr>
        <p:spPr>
          <a:xfrm>
            <a:off x="375050" y="2614108"/>
            <a:ext cx="2936201" cy="699247"/>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8" name="Rectangle 27">
            <a:extLst>
              <a:ext uri="{FF2B5EF4-FFF2-40B4-BE49-F238E27FC236}">
                <a16:creationId xmlns:a16="http://schemas.microsoft.com/office/drawing/2014/main" id="{F29CCC6E-DDA3-45C9-8473-F6A24B725E9C}"/>
              </a:ext>
            </a:extLst>
          </p:cNvPr>
          <p:cNvSpPr/>
          <p:nvPr/>
        </p:nvSpPr>
        <p:spPr>
          <a:xfrm>
            <a:off x="444308" y="5175446"/>
            <a:ext cx="3156364" cy="93626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9" name="Rectangle 28">
            <a:extLst>
              <a:ext uri="{FF2B5EF4-FFF2-40B4-BE49-F238E27FC236}">
                <a16:creationId xmlns:a16="http://schemas.microsoft.com/office/drawing/2014/main" id="{1BCBA0FF-620A-47BA-96A2-16401FE2940D}"/>
              </a:ext>
            </a:extLst>
          </p:cNvPr>
          <p:cNvSpPr/>
          <p:nvPr/>
        </p:nvSpPr>
        <p:spPr>
          <a:xfrm>
            <a:off x="8965359" y="4859713"/>
            <a:ext cx="3156364" cy="54062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0" name="Rectangle 29">
            <a:extLst>
              <a:ext uri="{FF2B5EF4-FFF2-40B4-BE49-F238E27FC236}">
                <a16:creationId xmlns:a16="http://schemas.microsoft.com/office/drawing/2014/main" id="{3953E277-C18E-4E22-9375-644A4BAAB419}"/>
              </a:ext>
            </a:extLst>
          </p:cNvPr>
          <p:cNvSpPr/>
          <p:nvPr/>
        </p:nvSpPr>
        <p:spPr>
          <a:xfrm>
            <a:off x="8734784" y="2620353"/>
            <a:ext cx="3156364" cy="54062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nvGrpSpPr>
          <p:cNvPr id="8" name="Group 2">
            <a:extLst>
              <a:ext uri="{FF2B5EF4-FFF2-40B4-BE49-F238E27FC236}">
                <a16:creationId xmlns:a16="http://schemas.microsoft.com/office/drawing/2014/main" id="{929C8247-8B55-608E-82D7-05981C89561D}"/>
              </a:ext>
            </a:extLst>
          </p:cNvPr>
          <p:cNvGrpSpPr/>
          <p:nvPr/>
        </p:nvGrpSpPr>
        <p:grpSpPr>
          <a:xfrm>
            <a:off x="4083907" y="896419"/>
            <a:ext cx="4024187" cy="4047209"/>
            <a:chOff x="4073769" y="896419"/>
            <a:chExt cx="4024187" cy="4047209"/>
          </a:xfrm>
        </p:grpSpPr>
        <p:sp>
          <p:nvSpPr>
            <p:cNvPr id="9" name="Oval 24">
              <a:extLst>
                <a:ext uri="{FF2B5EF4-FFF2-40B4-BE49-F238E27FC236}">
                  <a16:creationId xmlns:a16="http://schemas.microsoft.com/office/drawing/2014/main" id="{2545A86A-D88D-F339-45F3-DB06665CF77E}"/>
                </a:ext>
              </a:extLst>
            </p:cNvPr>
            <p:cNvSpPr>
              <a:spLocks noChangeAspect="1"/>
            </p:cNvSpPr>
            <p:nvPr/>
          </p:nvSpPr>
          <p:spPr>
            <a:xfrm rot="2723860">
              <a:off x="4074436" y="909117"/>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10" name="Oval 21">
              <a:extLst>
                <a:ext uri="{FF2B5EF4-FFF2-40B4-BE49-F238E27FC236}">
                  <a16:creationId xmlns:a16="http://schemas.microsoft.com/office/drawing/2014/main" id="{61D2B26D-00AA-FD8B-C0B2-7E52C2C22028}"/>
                </a:ext>
              </a:extLst>
            </p:cNvPr>
            <p:cNvSpPr>
              <a:spLocks noChangeAspect="1"/>
            </p:cNvSpPr>
            <p:nvPr/>
          </p:nvSpPr>
          <p:spPr>
            <a:xfrm rot="2723860">
              <a:off x="5762914" y="2595223"/>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11" name="Oval 25">
              <a:extLst>
                <a:ext uri="{FF2B5EF4-FFF2-40B4-BE49-F238E27FC236}">
                  <a16:creationId xmlns:a16="http://schemas.microsoft.com/office/drawing/2014/main" id="{17022D8B-883B-6ECF-FEB4-E82AEFBB9D92}"/>
                </a:ext>
              </a:extLst>
            </p:cNvPr>
            <p:cNvSpPr>
              <a:spLocks noChangeAspect="1"/>
            </p:cNvSpPr>
            <p:nvPr/>
          </p:nvSpPr>
          <p:spPr>
            <a:xfrm rot="2723860">
              <a:off x="5762914" y="895753"/>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12" name="Oval 22">
              <a:extLst>
                <a:ext uri="{FF2B5EF4-FFF2-40B4-BE49-F238E27FC236}">
                  <a16:creationId xmlns:a16="http://schemas.microsoft.com/office/drawing/2014/main" id="{C2F21978-CA06-0954-56E1-59F24FE1077B}"/>
                </a:ext>
              </a:extLst>
            </p:cNvPr>
            <p:cNvSpPr>
              <a:spLocks noChangeAspect="1"/>
            </p:cNvSpPr>
            <p:nvPr/>
          </p:nvSpPr>
          <p:spPr>
            <a:xfrm rot="2723860">
              <a:off x="4074435" y="2608587"/>
              <a:ext cx="2334375" cy="2335708"/>
            </a:xfrm>
            <a:prstGeom prst="ellipse">
              <a:avLst/>
            </a:prstGeom>
            <a:solidFill>
              <a:srgbClr val="FFFFFF">
                <a:alpha val="69804"/>
              </a:srgbClr>
            </a:solidFill>
            <a:ln w="38100" cap="flat" cmpd="sng" algn="ctr">
              <a:gradFill flip="none" rotWithShape="1">
                <a:gsLst>
                  <a:gs pos="0">
                    <a:srgbClr val="002060"/>
                  </a:gs>
                  <a:gs pos="100000">
                    <a:srgbClr val="04A4EC"/>
                  </a:gs>
                </a:gsLst>
                <a:lin ang="2700000" scaled="1"/>
                <a:tileRect/>
              </a:gradFill>
              <a:prstDash val="solid"/>
            </a:ln>
            <a:effectLst/>
          </p:spPr>
          <p:txBody>
            <a:bodyPr wrap="none" lIns="0" tIns="0" rIns="0" b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0" cap="none" spc="-20" normalizeH="0" baseline="0" noProof="0" err="1">
                <a:ln>
                  <a:noFill/>
                </a:ln>
                <a:solidFill>
                  <a:prstClr val="black"/>
                </a:solidFill>
                <a:effectLst/>
                <a:uLnTx/>
                <a:uFillTx/>
                <a:latin typeface="Calibri"/>
                <a:ea typeface="+mn-ea"/>
                <a:cs typeface="+mn-cs"/>
              </a:endParaRPr>
            </a:p>
          </p:txBody>
        </p:sp>
        <p:sp>
          <p:nvSpPr>
            <p:cNvPr id="13" name="Oval 26">
              <a:extLst>
                <a:ext uri="{FF2B5EF4-FFF2-40B4-BE49-F238E27FC236}">
                  <a16:creationId xmlns:a16="http://schemas.microsoft.com/office/drawing/2014/main" id="{A9EA6F97-6F60-5272-A778-B78D386FC99F}"/>
                </a:ext>
              </a:extLst>
            </p:cNvPr>
            <p:cNvSpPr>
              <a:spLocks noChangeAspect="1"/>
            </p:cNvSpPr>
            <p:nvPr/>
          </p:nvSpPr>
          <p:spPr>
            <a:xfrm>
              <a:off x="5058741" y="1881314"/>
              <a:ext cx="2087853" cy="2089045"/>
            </a:xfrm>
            <a:prstGeom prst="ellipse">
              <a:avLst/>
            </a:prstGeom>
            <a:gradFill flip="none" rotWithShape="1">
              <a:gsLst>
                <a:gs pos="79000">
                  <a:srgbClr val="002060"/>
                </a:gs>
                <a:gs pos="30000">
                  <a:srgbClr val="04A4EC"/>
                </a:gs>
              </a:gsLst>
              <a:lin ang="13500000" scaled="1"/>
              <a:tileRect/>
            </a:gradFill>
            <a:ln w="10795" cap="flat" cmpd="sng" algn="ctr">
              <a:no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ru-RU" b="0" i="0" u="none" strike="noStrike" kern="0" cap="none" spc="0" normalizeH="0" baseline="0" noProof="0" dirty="0">
                  <a:ln>
                    <a:noFill/>
                  </a:ln>
                  <a:solidFill>
                    <a:prstClr val="white"/>
                  </a:solidFill>
                  <a:effectLst/>
                  <a:uLnTx/>
                  <a:uFillTx/>
                  <a:latin typeface="Calibri"/>
                  <a:ea typeface="+mn-ea"/>
                  <a:cs typeface="+mn-cs"/>
                </a:rPr>
                <a:t>Координация во время чрезвычайной ситуации</a:t>
              </a:r>
              <a:endParaRPr kumimoji="0" lang="en-US" b="0" i="0" u="none" strike="noStrike" kern="0" cap="none" spc="0" normalizeH="0" baseline="0" noProof="0" dirty="0">
                <a:ln>
                  <a:noFill/>
                </a:ln>
                <a:solidFill>
                  <a:prstClr val="white"/>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324EE8BB-F7A5-98A8-A6EF-31A77DA6B588}"/>
                </a:ext>
              </a:extLst>
            </p:cNvPr>
            <p:cNvSpPr txBox="1"/>
            <p:nvPr/>
          </p:nvSpPr>
          <p:spPr>
            <a:xfrm>
              <a:off x="4156090" y="1430935"/>
              <a:ext cx="1694060" cy="553998"/>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15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Совместный </a:t>
              </a:r>
              <a:r>
                <a:rPr kumimoji="0" lang="ru-RU" sz="1500" b="0" i="0" u="none" strike="noStrike" kern="1200" cap="none" spc="0" normalizeH="0" baseline="0" noProof="0" dirty="0" err="1">
                  <a:ln>
                    <a:noFill/>
                  </a:ln>
                  <a:solidFill>
                    <a:srgbClr val="000000"/>
                  </a:solidFill>
                  <a:effectLst/>
                  <a:uLnTx/>
                  <a:uFillTx/>
                  <a:latin typeface="Abadi" panose="020B0604020104020204" pitchFamily="34" charset="0"/>
                  <a:ea typeface="+mn-ea"/>
                  <a:cs typeface="+mn-cs"/>
                </a:rPr>
                <a:t>эпиднадзор</a:t>
              </a:r>
              <a:endParaRPr kumimoji="0" lang="en-US" sz="15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p:txBody>
        </p:sp>
        <p:sp>
          <p:nvSpPr>
            <p:cNvPr id="15" name="TextBox 14">
              <a:extLst>
                <a:ext uri="{FF2B5EF4-FFF2-40B4-BE49-F238E27FC236}">
                  <a16:creationId xmlns:a16="http://schemas.microsoft.com/office/drawing/2014/main" id="{9AB64F3A-B390-EB6A-765B-0D49C9ECD1BB}"/>
                </a:ext>
              </a:extLst>
            </p:cNvPr>
            <p:cNvSpPr txBox="1"/>
            <p:nvPr/>
          </p:nvSpPr>
          <p:spPr>
            <a:xfrm>
              <a:off x="6086605" y="1431647"/>
              <a:ext cx="2004593" cy="646331"/>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Защита сообщества</a:t>
              </a:r>
              <a:endParaRPr kumimoji="0" lang="en-US"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p:txBody>
        </p:sp>
        <p:sp>
          <p:nvSpPr>
            <p:cNvPr id="16" name="TextBox 15">
              <a:extLst>
                <a:ext uri="{FF2B5EF4-FFF2-40B4-BE49-F238E27FC236}">
                  <a16:creationId xmlns:a16="http://schemas.microsoft.com/office/drawing/2014/main" id="{FD754264-90C0-BBBA-452B-029AE057BC8B}"/>
                </a:ext>
              </a:extLst>
            </p:cNvPr>
            <p:cNvSpPr txBox="1"/>
            <p:nvPr/>
          </p:nvSpPr>
          <p:spPr>
            <a:xfrm>
              <a:off x="6542731" y="3794661"/>
              <a:ext cx="1452724" cy="646331"/>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Клиническая помощь</a:t>
              </a:r>
              <a:endParaRPr kumimoji="0" lang="en-US"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p:txBody>
        </p:sp>
        <p:sp>
          <p:nvSpPr>
            <p:cNvPr id="17" name="TextBox 16">
              <a:extLst>
                <a:ext uri="{FF2B5EF4-FFF2-40B4-BE49-F238E27FC236}">
                  <a16:creationId xmlns:a16="http://schemas.microsoft.com/office/drawing/2014/main" id="{3400ABD5-7850-DED7-2056-D0AB0848CA6F}"/>
                </a:ext>
              </a:extLst>
            </p:cNvPr>
            <p:cNvSpPr txBox="1"/>
            <p:nvPr/>
          </p:nvSpPr>
          <p:spPr>
            <a:xfrm>
              <a:off x="4209880" y="3865767"/>
              <a:ext cx="1877874" cy="646331"/>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Доступ к контрмерам</a:t>
              </a:r>
              <a:endParaRPr kumimoji="0" lang="en-US" sz="18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p:txBody>
        </p:sp>
      </p:grpSp>
    </p:spTree>
    <p:extLst>
      <p:ext uri="{BB962C8B-B14F-4D97-AF65-F5344CB8AC3E}">
        <p14:creationId xmlns:p14="http://schemas.microsoft.com/office/powerpoint/2010/main" val="16954044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1FFA5-B500-42BC-B471-57DDDEBFBF2F}"/>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BC57DC49-1E91-4D27-A20C-7AED06DE5F15}"/>
              </a:ext>
            </a:extLst>
          </p:cNvPr>
          <p:cNvSpPr>
            <a:spLocks noGrp="1"/>
          </p:cNvSpPr>
          <p:nvPr>
            <p:ph type="subTitle" idx="1"/>
          </p:nvPr>
        </p:nvSpPr>
        <p:spPr/>
        <p:txBody>
          <a:bodyPr/>
          <a:lstStyle/>
          <a:p>
            <a:endParaRPr lang="en-US"/>
          </a:p>
        </p:txBody>
      </p:sp>
      <p:sp>
        <p:nvSpPr>
          <p:cNvPr id="5" name="Title 1">
            <a:extLst>
              <a:ext uri="{FF2B5EF4-FFF2-40B4-BE49-F238E27FC236}">
                <a16:creationId xmlns:a16="http://schemas.microsoft.com/office/drawing/2014/main" id="{889DE33E-5593-4784-A53B-D41580AA7AF6}"/>
              </a:ext>
            </a:extLst>
          </p:cNvPr>
          <p:cNvSpPr txBox="1">
            <a:spLocks/>
          </p:cNvSpPr>
          <p:nvPr/>
        </p:nvSpPr>
        <p:spPr>
          <a:xfrm>
            <a:off x="457200" y="437337"/>
            <a:ext cx="11277600" cy="100488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a:ln>
                  <a:noFill/>
                </a:ln>
                <a:solidFill>
                  <a:prstClr val="black"/>
                </a:solidFill>
                <a:effectLst/>
                <a:uLnTx/>
                <a:uFillTx/>
                <a:latin typeface="Calibri Light" panose="020F0302020204030204"/>
                <a:ea typeface="+mj-ea"/>
                <a:cs typeface="+mj-cs"/>
              </a:rPr>
              <a:t>Fully aligned with global processes to strengthen health security</a:t>
            </a:r>
            <a:r>
              <a:rPr kumimoji="0" lang="en-GB" sz="3200" b="0" i="0" u="none" strike="noStrike" kern="1200" cap="none" spc="0" normalizeH="0" baseline="0" noProof="0">
                <a:ln>
                  <a:noFill/>
                </a:ln>
                <a:solidFill>
                  <a:prstClr val="black"/>
                </a:solidFill>
                <a:effectLst/>
                <a:uLnTx/>
                <a:uFillTx/>
                <a:latin typeface="Calibri Light" panose="020F0302020204030204"/>
                <a:ea typeface="+mj-ea"/>
                <a:cs typeface="+mj-cs"/>
              </a:rPr>
              <a:t> </a:t>
            </a:r>
            <a:endParaRPr kumimoji="0" lang="en-US" sz="2800" b="0" i="0" u="none" strike="noStrike" kern="1200" cap="none" spc="0" normalizeH="0" baseline="0" noProof="0">
              <a:ln>
                <a:noFill/>
              </a:ln>
              <a:solidFill>
                <a:prstClr val="black"/>
              </a:solidFill>
              <a:effectLst/>
              <a:uLnTx/>
              <a:uFillTx/>
              <a:latin typeface="Calibri Light" panose="020F0302020204030204"/>
              <a:ea typeface="+mj-ea"/>
              <a:cs typeface="+mj-cs"/>
            </a:endParaRPr>
          </a:p>
        </p:txBody>
      </p:sp>
      <p:sp>
        <p:nvSpPr>
          <p:cNvPr id="6" name="TextBox 5">
            <a:extLst>
              <a:ext uri="{FF2B5EF4-FFF2-40B4-BE49-F238E27FC236}">
                <a16:creationId xmlns:a16="http://schemas.microsoft.com/office/drawing/2014/main" id="{BB77D246-E3AF-4D1D-8A06-E54AA1A8D5E8}"/>
              </a:ext>
            </a:extLst>
          </p:cNvPr>
          <p:cNvSpPr txBox="1">
            <a:spLocks/>
          </p:cNvSpPr>
          <p:nvPr/>
        </p:nvSpPr>
        <p:spPr>
          <a:xfrm>
            <a:off x="7391480" y="5802021"/>
            <a:ext cx="4343319" cy="84638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1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INB		</a:t>
            </a:r>
            <a:r>
              <a:rPr lang="ru-RU" sz="1100" b="1" kern="0" dirty="0">
                <a:solidFill>
                  <a:srgbClr val="112946"/>
                </a:solidFill>
                <a:latin typeface="Arial"/>
                <a:sym typeface="Arial"/>
              </a:rPr>
              <a:t>Межправительственный переговорный орган </a:t>
            </a:r>
            <a:endParaRPr kumimoji="0" lang="en-US" sz="11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endParaRP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ru-RU" sz="1100" b="1" i="0" u="none" strike="noStrike" kern="0" cap="none" spc="0" normalizeH="0" baseline="0" noProof="0" dirty="0">
                <a:ln>
                  <a:noFill/>
                </a:ln>
                <a:solidFill>
                  <a:srgbClr val="132330"/>
                </a:solidFill>
                <a:effectLst/>
                <a:uLnTx/>
                <a:uFillTx/>
                <a:latin typeface="Arial"/>
                <a:ea typeface="+mn-ea"/>
                <a:cs typeface="Arial"/>
                <a:sym typeface="Arial"/>
                <a:rtl val="0"/>
              </a:rPr>
              <a:t>ВАЗ</a:t>
            </a:r>
            <a:r>
              <a:rPr kumimoji="0" lang="en-US" sz="1100" b="1" i="0" u="none" strike="noStrike" kern="0" cap="none" spc="0" normalizeH="0" baseline="0" noProof="0" dirty="0">
                <a:ln>
                  <a:noFill/>
                </a:ln>
                <a:solidFill>
                  <a:srgbClr val="132330"/>
                </a:solidFill>
                <a:effectLst/>
                <a:uLnTx/>
                <a:uFillTx/>
                <a:latin typeface="Arial"/>
                <a:ea typeface="+mn-ea"/>
                <a:cs typeface="Arial"/>
                <a:sym typeface="Arial"/>
                <a:rtl val="0"/>
              </a:rPr>
              <a:t>		</a:t>
            </a:r>
            <a:r>
              <a:rPr lang="ru-RU" sz="1100" b="1" kern="0" dirty="0">
                <a:solidFill>
                  <a:srgbClr val="132330"/>
                </a:solidFill>
                <a:latin typeface="Arial"/>
                <a:cs typeface="Arial"/>
                <a:sym typeface="Arial"/>
                <a:rtl val="0"/>
              </a:rPr>
              <a:t>Всемирная ассамблея здравоохранения</a:t>
            </a:r>
            <a:endParaRPr kumimoji="0" lang="en-US" sz="1100" b="1" i="0" u="none" strike="noStrike" kern="0" cap="none" spc="0" normalizeH="0" baseline="0" noProof="0" dirty="0">
              <a:ln>
                <a:noFill/>
              </a:ln>
              <a:solidFill>
                <a:srgbClr val="132330"/>
              </a:solidFill>
              <a:effectLst/>
              <a:uLnTx/>
              <a:uFillTx/>
              <a:latin typeface="Arial"/>
              <a:ea typeface="+mn-ea"/>
              <a:cs typeface="Arial"/>
              <a:sym typeface="Arial"/>
              <a:rtl val="0"/>
            </a:endParaRP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1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WGIHR	</a:t>
            </a:r>
            <a:r>
              <a:rPr kumimoji="0" lang="ru-RU" sz="11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Рабочая группа по поправкам к ММСП</a:t>
            </a:r>
            <a:r>
              <a:rPr kumimoji="0" lang="en-US" sz="11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 	</a:t>
            </a: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endParaRPr kumimoji="0" lang="en-US" sz="1100" b="1" i="0" u="none" strike="noStrike" kern="0" cap="none" spc="0" normalizeH="0" baseline="0" noProof="0" dirty="0">
              <a:ln>
                <a:noFill/>
              </a:ln>
              <a:solidFill>
                <a:srgbClr val="132330"/>
              </a:solidFill>
              <a:effectLst/>
              <a:uLnTx/>
              <a:uFillTx/>
              <a:latin typeface="Arial"/>
              <a:ea typeface="+mn-ea"/>
              <a:cs typeface="Arial"/>
              <a:sym typeface="Arial"/>
              <a:rtl val="0"/>
            </a:endParaRP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endParaRPr kumimoji="0" lang="en-US" sz="1100" b="0" i="1" u="none" strike="noStrike" kern="0" cap="none" spc="0" normalizeH="0" baseline="0" noProof="0" dirty="0">
              <a:ln>
                <a:noFill/>
              </a:ln>
              <a:solidFill>
                <a:srgbClr val="FFFFFF"/>
              </a:solidFill>
              <a:effectLst/>
              <a:uLnTx/>
              <a:uFillTx/>
              <a:latin typeface="Arial"/>
              <a:ea typeface="+mn-ea"/>
              <a:cs typeface="Arial" panose="020B0604020202020204" pitchFamily="34" charset="0"/>
              <a:sym typeface="Arial"/>
            </a:endParaRPr>
          </a:p>
        </p:txBody>
      </p:sp>
      <p:grpSp>
        <p:nvGrpSpPr>
          <p:cNvPr id="7" name="Group 6">
            <a:extLst>
              <a:ext uri="{FF2B5EF4-FFF2-40B4-BE49-F238E27FC236}">
                <a16:creationId xmlns:a16="http://schemas.microsoft.com/office/drawing/2014/main" id="{94013AA5-BC42-4DC2-9975-C961C2664540}"/>
              </a:ext>
            </a:extLst>
          </p:cNvPr>
          <p:cNvGrpSpPr/>
          <p:nvPr/>
        </p:nvGrpSpPr>
        <p:grpSpPr>
          <a:xfrm>
            <a:off x="878304" y="834826"/>
            <a:ext cx="9920012" cy="5201834"/>
            <a:chOff x="756498" y="1109146"/>
            <a:chExt cx="9920012" cy="5201834"/>
          </a:xfrm>
        </p:grpSpPr>
        <p:grpSp>
          <p:nvGrpSpPr>
            <p:cNvPr id="8" name="Group 7">
              <a:extLst>
                <a:ext uri="{FF2B5EF4-FFF2-40B4-BE49-F238E27FC236}">
                  <a16:creationId xmlns:a16="http://schemas.microsoft.com/office/drawing/2014/main" id="{7C4B706F-216E-46AF-8AA7-3202F8495EB3}"/>
                </a:ext>
              </a:extLst>
            </p:cNvPr>
            <p:cNvGrpSpPr/>
            <p:nvPr/>
          </p:nvGrpSpPr>
          <p:grpSpPr>
            <a:xfrm>
              <a:off x="756498" y="1109146"/>
              <a:ext cx="9920012" cy="5201834"/>
              <a:chOff x="-14012" y="1109159"/>
              <a:chExt cx="9920012" cy="5438695"/>
            </a:xfrm>
          </p:grpSpPr>
          <p:sp>
            <p:nvSpPr>
              <p:cNvPr id="18" name="Rectangle 17">
                <a:extLst>
                  <a:ext uri="{FF2B5EF4-FFF2-40B4-BE49-F238E27FC236}">
                    <a16:creationId xmlns:a16="http://schemas.microsoft.com/office/drawing/2014/main" id="{8A375909-EB1F-4F52-BA98-730FE987515F}"/>
                  </a:ext>
                </a:extLst>
              </p:cNvPr>
              <p:cNvSpPr/>
              <p:nvPr/>
            </p:nvSpPr>
            <p:spPr>
              <a:xfrm>
                <a:off x="-1454" y="1109159"/>
                <a:ext cx="9907454" cy="5125865"/>
              </a:xfrm>
              <a:prstGeom prst="rect">
                <a:avLst/>
              </a:prstGeom>
              <a:solidFill>
                <a:srgbClr val="E6E6E6"/>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244"/>
                  </a:spcBef>
                  <a:spcAft>
                    <a:spcPts val="244"/>
                  </a:spcAft>
                  <a:buClrTx/>
                  <a:buSzTx/>
                  <a:buFontTx/>
                  <a:buNone/>
                  <a:tabLst/>
                  <a:defRPr/>
                </a:pPr>
                <a:endParaRPr kumimoji="0" lang="en-US" sz="1300" b="0" i="0" u="none" strike="noStrike" kern="0" cap="none" spc="0" normalizeH="0" baseline="0" noProof="0" dirty="0">
                  <a:ln>
                    <a:noFill/>
                  </a:ln>
                  <a:solidFill>
                    <a:srgbClr val="FFFFFF"/>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51399D01-C81A-4636-922A-EC9A3B851DF6}"/>
                  </a:ext>
                </a:extLst>
              </p:cNvPr>
              <p:cNvSpPr/>
              <p:nvPr/>
            </p:nvSpPr>
            <p:spPr>
              <a:xfrm>
                <a:off x="6800" y="2121579"/>
                <a:ext cx="9896215" cy="4092007"/>
              </a:xfrm>
              <a:custGeom>
                <a:avLst/>
                <a:gdLst>
                  <a:gd name="connsiteX0" fmla="*/ 0 w 12376727"/>
                  <a:gd name="connsiteY0" fmla="*/ 1902691 h 1921163"/>
                  <a:gd name="connsiteX1" fmla="*/ 0 w 12376727"/>
                  <a:gd name="connsiteY1" fmla="*/ 1126836 h 1921163"/>
                  <a:gd name="connsiteX2" fmla="*/ 295563 w 12376727"/>
                  <a:gd name="connsiteY2" fmla="*/ 942109 h 1921163"/>
                  <a:gd name="connsiteX3" fmla="*/ 942109 w 12376727"/>
                  <a:gd name="connsiteY3" fmla="*/ 942109 h 1921163"/>
                  <a:gd name="connsiteX4" fmla="*/ 1865745 w 12376727"/>
                  <a:gd name="connsiteY4" fmla="*/ 517236 h 1921163"/>
                  <a:gd name="connsiteX5" fmla="*/ 2937163 w 12376727"/>
                  <a:gd name="connsiteY5" fmla="*/ 295563 h 1921163"/>
                  <a:gd name="connsiteX6" fmla="*/ 3472873 w 12376727"/>
                  <a:gd name="connsiteY6" fmla="*/ 646545 h 1921163"/>
                  <a:gd name="connsiteX7" fmla="*/ 4396509 w 12376727"/>
                  <a:gd name="connsiteY7" fmla="*/ 831272 h 1921163"/>
                  <a:gd name="connsiteX8" fmla="*/ 5080000 w 12376727"/>
                  <a:gd name="connsiteY8" fmla="*/ 757382 h 1921163"/>
                  <a:gd name="connsiteX9" fmla="*/ 5855854 w 12376727"/>
                  <a:gd name="connsiteY9" fmla="*/ 609600 h 1921163"/>
                  <a:gd name="connsiteX10" fmla="*/ 6668654 w 12376727"/>
                  <a:gd name="connsiteY10" fmla="*/ 720436 h 1921163"/>
                  <a:gd name="connsiteX11" fmla="*/ 7869382 w 12376727"/>
                  <a:gd name="connsiteY11" fmla="*/ 387927 h 1921163"/>
                  <a:gd name="connsiteX12" fmla="*/ 8719127 w 12376727"/>
                  <a:gd name="connsiteY12" fmla="*/ 55418 h 1921163"/>
                  <a:gd name="connsiteX13" fmla="*/ 9402618 w 12376727"/>
                  <a:gd name="connsiteY13" fmla="*/ 0 h 1921163"/>
                  <a:gd name="connsiteX14" fmla="*/ 10104582 w 12376727"/>
                  <a:gd name="connsiteY14" fmla="*/ 0 h 1921163"/>
                  <a:gd name="connsiteX15" fmla="*/ 11397673 w 12376727"/>
                  <a:gd name="connsiteY15" fmla="*/ 0 h 1921163"/>
                  <a:gd name="connsiteX16" fmla="*/ 11914909 w 12376727"/>
                  <a:gd name="connsiteY16" fmla="*/ 147782 h 1921163"/>
                  <a:gd name="connsiteX17" fmla="*/ 12376727 w 12376727"/>
                  <a:gd name="connsiteY17" fmla="*/ 387927 h 1921163"/>
                  <a:gd name="connsiteX18" fmla="*/ 12376727 w 12376727"/>
                  <a:gd name="connsiteY18" fmla="*/ 1921163 h 1921163"/>
                  <a:gd name="connsiteX19" fmla="*/ 0 w 12376727"/>
                  <a:gd name="connsiteY19" fmla="*/ 1902691 h 1921163"/>
                  <a:gd name="connsiteX0" fmla="*/ 0 w 12376727"/>
                  <a:gd name="connsiteY0" fmla="*/ 1902691 h 1921163"/>
                  <a:gd name="connsiteX1" fmla="*/ 0 w 12376727"/>
                  <a:gd name="connsiteY1" fmla="*/ 1126836 h 1921163"/>
                  <a:gd name="connsiteX2" fmla="*/ 295563 w 12376727"/>
                  <a:gd name="connsiteY2" fmla="*/ 942109 h 1921163"/>
                  <a:gd name="connsiteX3" fmla="*/ 942109 w 12376727"/>
                  <a:gd name="connsiteY3" fmla="*/ 942109 h 1921163"/>
                  <a:gd name="connsiteX4" fmla="*/ 1865745 w 12376727"/>
                  <a:gd name="connsiteY4" fmla="*/ 517236 h 1921163"/>
                  <a:gd name="connsiteX5" fmla="*/ 2937163 w 12376727"/>
                  <a:gd name="connsiteY5" fmla="*/ 295563 h 1921163"/>
                  <a:gd name="connsiteX6" fmla="*/ 3472873 w 12376727"/>
                  <a:gd name="connsiteY6" fmla="*/ 646545 h 1921163"/>
                  <a:gd name="connsiteX7" fmla="*/ 4396509 w 12376727"/>
                  <a:gd name="connsiteY7" fmla="*/ 831272 h 1921163"/>
                  <a:gd name="connsiteX8" fmla="*/ 5080000 w 12376727"/>
                  <a:gd name="connsiteY8" fmla="*/ 757382 h 1921163"/>
                  <a:gd name="connsiteX9" fmla="*/ 5855854 w 12376727"/>
                  <a:gd name="connsiteY9" fmla="*/ 609600 h 1921163"/>
                  <a:gd name="connsiteX10" fmla="*/ 6668654 w 12376727"/>
                  <a:gd name="connsiteY10" fmla="*/ 720436 h 1921163"/>
                  <a:gd name="connsiteX11" fmla="*/ 7869382 w 12376727"/>
                  <a:gd name="connsiteY11" fmla="*/ 387927 h 1921163"/>
                  <a:gd name="connsiteX12" fmla="*/ 8719127 w 12376727"/>
                  <a:gd name="connsiteY12" fmla="*/ 55418 h 1921163"/>
                  <a:gd name="connsiteX13" fmla="*/ 9402618 w 12376727"/>
                  <a:gd name="connsiteY13" fmla="*/ 0 h 1921163"/>
                  <a:gd name="connsiteX14" fmla="*/ 10104582 w 12376727"/>
                  <a:gd name="connsiteY14" fmla="*/ 0 h 1921163"/>
                  <a:gd name="connsiteX15" fmla="*/ 11397673 w 12376727"/>
                  <a:gd name="connsiteY15" fmla="*/ 0 h 1921163"/>
                  <a:gd name="connsiteX16" fmla="*/ 11914909 w 12376727"/>
                  <a:gd name="connsiteY16" fmla="*/ 147782 h 1921163"/>
                  <a:gd name="connsiteX17" fmla="*/ 12376727 w 12376727"/>
                  <a:gd name="connsiteY17" fmla="*/ 387927 h 1921163"/>
                  <a:gd name="connsiteX18" fmla="*/ 9273309 w 12376727"/>
                  <a:gd name="connsiteY18" fmla="*/ 1921163 h 1921163"/>
                  <a:gd name="connsiteX19" fmla="*/ 0 w 12376727"/>
                  <a:gd name="connsiteY19" fmla="*/ 1902691 h 1921163"/>
                  <a:gd name="connsiteX0" fmla="*/ 0 w 11914909"/>
                  <a:gd name="connsiteY0" fmla="*/ 1902691 h 1921163"/>
                  <a:gd name="connsiteX1" fmla="*/ 0 w 11914909"/>
                  <a:gd name="connsiteY1" fmla="*/ 1126836 h 1921163"/>
                  <a:gd name="connsiteX2" fmla="*/ 295563 w 11914909"/>
                  <a:gd name="connsiteY2" fmla="*/ 942109 h 1921163"/>
                  <a:gd name="connsiteX3" fmla="*/ 942109 w 11914909"/>
                  <a:gd name="connsiteY3" fmla="*/ 942109 h 1921163"/>
                  <a:gd name="connsiteX4" fmla="*/ 1865745 w 11914909"/>
                  <a:gd name="connsiteY4" fmla="*/ 517236 h 1921163"/>
                  <a:gd name="connsiteX5" fmla="*/ 2937163 w 11914909"/>
                  <a:gd name="connsiteY5" fmla="*/ 295563 h 1921163"/>
                  <a:gd name="connsiteX6" fmla="*/ 3472873 w 11914909"/>
                  <a:gd name="connsiteY6" fmla="*/ 646545 h 1921163"/>
                  <a:gd name="connsiteX7" fmla="*/ 4396509 w 11914909"/>
                  <a:gd name="connsiteY7" fmla="*/ 831272 h 1921163"/>
                  <a:gd name="connsiteX8" fmla="*/ 5080000 w 11914909"/>
                  <a:gd name="connsiteY8" fmla="*/ 757382 h 1921163"/>
                  <a:gd name="connsiteX9" fmla="*/ 5855854 w 11914909"/>
                  <a:gd name="connsiteY9" fmla="*/ 609600 h 1921163"/>
                  <a:gd name="connsiteX10" fmla="*/ 6668654 w 11914909"/>
                  <a:gd name="connsiteY10" fmla="*/ 720436 h 1921163"/>
                  <a:gd name="connsiteX11" fmla="*/ 7869382 w 11914909"/>
                  <a:gd name="connsiteY11" fmla="*/ 387927 h 1921163"/>
                  <a:gd name="connsiteX12" fmla="*/ 8719127 w 11914909"/>
                  <a:gd name="connsiteY12" fmla="*/ 55418 h 1921163"/>
                  <a:gd name="connsiteX13" fmla="*/ 9402618 w 11914909"/>
                  <a:gd name="connsiteY13" fmla="*/ 0 h 1921163"/>
                  <a:gd name="connsiteX14" fmla="*/ 10104582 w 11914909"/>
                  <a:gd name="connsiteY14" fmla="*/ 0 h 1921163"/>
                  <a:gd name="connsiteX15" fmla="*/ 11397673 w 11914909"/>
                  <a:gd name="connsiteY15" fmla="*/ 0 h 1921163"/>
                  <a:gd name="connsiteX16" fmla="*/ 11914909 w 11914909"/>
                  <a:gd name="connsiteY16" fmla="*/ 147782 h 1921163"/>
                  <a:gd name="connsiteX17" fmla="*/ 9273309 w 11914909"/>
                  <a:gd name="connsiteY17" fmla="*/ 1921163 h 1921163"/>
                  <a:gd name="connsiteX18" fmla="*/ 0 w 11914909"/>
                  <a:gd name="connsiteY18" fmla="*/ 1902691 h 1921163"/>
                  <a:gd name="connsiteX0" fmla="*/ 0 w 11397673"/>
                  <a:gd name="connsiteY0" fmla="*/ 1902691 h 1921163"/>
                  <a:gd name="connsiteX1" fmla="*/ 0 w 11397673"/>
                  <a:gd name="connsiteY1" fmla="*/ 1126836 h 1921163"/>
                  <a:gd name="connsiteX2" fmla="*/ 295563 w 11397673"/>
                  <a:gd name="connsiteY2" fmla="*/ 942109 h 1921163"/>
                  <a:gd name="connsiteX3" fmla="*/ 942109 w 11397673"/>
                  <a:gd name="connsiteY3" fmla="*/ 942109 h 1921163"/>
                  <a:gd name="connsiteX4" fmla="*/ 1865745 w 11397673"/>
                  <a:gd name="connsiteY4" fmla="*/ 517236 h 1921163"/>
                  <a:gd name="connsiteX5" fmla="*/ 2937163 w 11397673"/>
                  <a:gd name="connsiteY5" fmla="*/ 295563 h 1921163"/>
                  <a:gd name="connsiteX6" fmla="*/ 3472873 w 11397673"/>
                  <a:gd name="connsiteY6" fmla="*/ 646545 h 1921163"/>
                  <a:gd name="connsiteX7" fmla="*/ 4396509 w 11397673"/>
                  <a:gd name="connsiteY7" fmla="*/ 831272 h 1921163"/>
                  <a:gd name="connsiteX8" fmla="*/ 5080000 w 11397673"/>
                  <a:gd name="connsiteY8" fmla="*/ 757382 h 1921163"/>
                  <a:gd name="connsiteX9" fmla="*/ 5855854 w 11397673"/>
                  <a:gd name="connsiteY9" fmla="*/ 609600 h 1921163"/>
                  <a:gd name="connsiteX10" fmla="*/ 6668654 w 11397673"/>
                  <a:gd name="connsiteY10" fmla="*/ 720436 h 1921163"/>
                  <a:gd name="connsiteX11" fmla="*/ 7869382 w 11397673"/>
                  <a:gd name="connsiteY11" fmla="*/ 387927 h 1921163"/>
                  <a:gd name="connsiteX12" fmla="*/ 8719127 w 11397673"/>
                  <a:gd name="connsiteY12" fmla="*/ 55418 h 1921163"/>
                  <a:gd name="connsiteX13" fmla="*/ 9402618 w 11397673"/>
                  <a:gd name="connsiteY13" fmla="*/ 0 h 1921163"/>
                  <a:gd name="connsiteX14" fmla="*/ 10104582 w 11397673"/>
                  <a:gd name="connsiteY14" fmla="*/ 0 h 1921163"/>
                  <a:gd name="connsiteX15" fmla="*/ 11397673 w 11397673"/>
                  <a:gd name="connsiteY15" fmla="*/ 0 h 1921163"/>
                  <a:gd name="connsiteX16" fmla="*/ 9273309 w 11397673"/>
                  <a:gd name="connsiteY16" fmla="*/ 1921163 h 1921163"/>
                  <a:gd name="connsiteX17" fmla="*/ 0 w 11397673"/>
                  <a:gd name="connsiteY17" fmla="*/ 1902691 h 1921163"/>
                  <a:gd name="connsiteX0" fmla="*/ 0 w 10104582"/>
                  <a:gd name="connsiteY0" fmla="*/ 1902691 h 1921163"/>
                  <a:gd name="connsiteX1" fmla="*/ 0 w 10104582"/>
                  <a:gd name="connsiteY1" fmla="*/ 1126836 h 1921163"/>
                  <a:gd name="connsiteX2" fmla="*/ 295563 w 10104582"/>
                  <a:gd name="connsiteY2" fmla="*/ 942109 h 1921163"/>
                  <a:gd name="connsiteX3" fmla="*/ 942109 w 10104582"/>
                  <a:gd name="connsiteY3" fmla="*/ 942109 h 1921163"/>
                  <a:gd name="connsiteX4" fmla="*/ 1865745 w 10104582"/>
                  <a:gd name="connsiteY4" fmla="*/ 517236 h 1921163"/>
                  <a:gd name="connsiteX5" fmla="*/ 2937163 w 10104582"/>
                  <a:gd name="connsiteY5" fmla="*/ 295563 h 1921163"/>
                  <a:gd name="connsiteX6" fmla="*/ 3472873 w 10104582"/>
                  <a:gd name="connsiteY6" fmla="*/ 646545 h 1921163"/>
                  <a:gd name="connsiteX7" fmla="*/ 4396509 w 10104582"/>
                  <a:gd name="connsiteY7" fmla="*/ 831272 h 1921163"/>
                  <a:gd name="connsiteX8" fmla="*/ 5080000 w 10104582"/>
                  <a:gd name="connsiteY8" fmla="*/ 757382 h 1921163"/>
                  <a:gd name="connsiteX9" fmla="*/ 5855854 w 10104582"/>
                  <a:gd name="connsiteY9" fmla="*/ 609600 h 1921163"/>
                  <a:gd name="connsiteX10" fmla="*/ 6668654 w 10104582"/>
                  <a:gd name="connsiteY10" fmla="*/ 720436 h 1921163"/>
                  <a:gd name="connsiteX11" fmla="*/ 7869382 w 10104582"/>
                  <a:gd name="connsiteY11" fmla="*/ 387927 h 1921163"/>
                  <a:gd name="connsiteX12" fmla="*/ 8719127 w 10104582"/>
                  <a:gd name="connsiteY12" fmla="*/ 55418 h 1921163"/>
                  <a:gd name="connsiteX13" fmla="*/ 9402618 w 10104582"/>
                  <a:gd name="connsiteY13" fmla="*/ 0 h 1921163"/>
                  <a:gd name="connsiteX14" fmla="*/ 10104582 w 10104582"/>
                  <a:gd name="connsiteY14" fmla="*/ 0 h 1921163"/>
                  <a:gd name="connsiteX15" fmla="*/ 9273309 w 10104582"/>
                  <a:gd name="connsiteY15" fmla="*/ 1921163 h 1921163"/>
                  <a:gd name="connsiteX16" fmla="*/ 0 w 10104582"/>
                  <a:gd name="connsiteY16" fmla="*/ 1902691 h 1921163"/>
                  <a:gd name="connsiteX0" fmla="*/ 0 w 9402618"/>
                  <a:gd name="connsiteY0" fmla="*/ 1902691 h 1921163"/>
                  <a:gd name="connsiteX1" fmla="*/ 0 w 9402618"/>
                  <a:gd name="connsiteY1" fmla="*/ 1126836 h 1921163"/>
                  <a:gd name="connsiteX2" fmla="*/ 295563 w 9402618"/>
                  <a:gd name="connsiteY2" fmla="*/ 942109 h 1921163"/>
                  <a:gd name="connsiteX3" fmla="*/ 942109 w 9402618"/>
                  <a:gd name="connsiteY3" fmla="*/ 942109 h 1921163"/>
                  <a:gd name="connsiteX4" fmla="*/ 1865745 w 9402618"/>
                  <a:gd name="connsiteY4" fmla="*/ 517236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295563 w 9402618"/>
                  <a:gd name="connsiteY2" fmla="*/ 942109 h 1921163"/>
                  <a:gd name="connsiteX3" fmla="*/ 942109 w 9402618"/>
                  <a:gd name="connsiteY3" fmla="*/ 942109 h 1921163"/>
                  <a:gd name="connsiteX4" fmla="*/ 1366982 w 9402618"/>
                  <a:gd name="connsiteY4" fmla="*/ 332508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2641600 w 9402618"/>
                  <a:gd name="connsiteY6" fmla="*/ 36945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2641600 w 9402618"/>
                  <a:gd name="connsiteY6" fmla="*/ 369455 h 1921163"/>
                  <a:gd name="connsiteX7" fmla="*/ 3491345 w 9402618"/>
                  <a:gd name="connsiteY7" fmla="*/ 285922 h 1921163"/>
                  <a:gd name="connsiteX8" fmla="*/ 4396509 w 9402618"/>
                  <a:gd name="connsiteY8" fmla="*/ 831272 h 1921163"/>
                  <a:gd name="connsiteX9" fmla="*/ 5080000 w 9402618"/>
                  <a:gd name="connsiteY9" fmla="*/ 757382 h 1921163"/>
                  <a:gd name="connsiteX10" fmla="*/ 5855854 w 9402618"/>
                  <a:gd name="connsiteY10" fmla="*/ 609600 h 1921163"/>
                  <a:gd name="connsiteX11" fmla="*/ 6668654 w 9402618"/>
                  <a:gd name="connsiteY11" fmla="*/ 720436 h 1921163"/>
                  <a:gd name="connsiteX12" fmla="*/ 7869382 w 9402618"/>
                  <a:gd name="connsiteY12" fmla="*/ 387927 h 1921163"/>
                  <a:gd name="connsiteX13" fmla="*/ 8719127 w 9402618"/>
                  <a:gd name="connsiteY13" fmla="*/ 55418 h 1921163"/>
                  <a:gd name="connsiteX14" fmla="*/ 9402618 w 9402618"/>
                  <a:gd name="connsiteY14" fmla="*/ 0 h 1921163"/>
                  <a:gd name="connsiteX15" fmla="*/ 9273309 w 9402618"/>
                  <a:gd name="connsiteY15" fmla="*/ 1921163 h 1921163"/>
                  <a:gd name="connsiteX16" fmla="*/ 0 w 9402618"/>
                  <a:gd name="connsiteY16"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2641600 w 9402618"/>
                  <a:gd name="connsiteY6" fmla="*/ 369455 h 1921163"/>
                  <a:gd name="connsiteX7" fmla="*/ 3491345 w 9402618"/>
                  <a:gd name="connsiteY7" fmla="*/ 285922 h 1921163"/>
                  <a:gd name="connsiteX8" fmla="*/ 4193309 w 9402618"/>
                  <a:gd name="connsiteY8" fmla="*/ 129308 h 1921163"/>
                  <a:gd name="connsiteX9" fmla="*/ 5080000 w 9402618"/>
                  <a:gd name="connsiteY9" fmla="*/ 757382 h 1921163"/>
                  <a:gd name="connsiteX10" fmla="*/ 5855854 w 9402618"/>
                  <a:gd name="connsiteY10" fmla="*/ 609600 h 1921163"/>
                  <a:gd name="connsiteX11" fmla="*/ 6668654 w 9402618"/>
                  <a:gd name="connsiteY11" fmla="*/ 720436 h 1921163"/>
                  <a:gd name="connsiteX12" fmla="*/ 7869382 w 9402618"/>
                  <a:gd name="connsiteY12" fmla="*/ 387927 h 1921163"/>
                  <a:gd name="connsiteX13" fmla="*/ 8719127 w 9402618"/>
                  <a:gd name="connsiteY13" fmla="*/ 55418 h 1921163"/>
                  <a:gd name="connsiteX14" fmla="*/ 9402618 w 9402618"/>
                  <a:gd name="connsiteY14" fmla="*/ 0 h 1921163"/>
                  <a:gd name="connsiteX15" fmla="*/ 9273309 w 9402618"/>
                  <a:gd name="connsiteY15" fmla="*/ 1921163 h 1921163"/>
                  <a:gd name="connsiteX16" fmla="*/ 0 w 9402618"/>
                  <a:gd name="connsiteY16" fmla="*/ 1902691 h 1921163"/>
                  <a:gd name="connsiteX0" fmla="*/ 0 w 9402618"/>
                  <a:gd name="connsiteY0" fmla="*/ 2235200 h 2253672"/>
                  <a:gd name="connsiteX1" fmla="*/ 0 w 9402618"/>
                  <a:gd name="connsiteY1" fmla="*/ 1459345 h 2253672"/>
                  <a:gd name="connsiteX2" fmla="*/ 406400 w 9402618"/>
                  <a:gd name="connsiteY2" fmla="*/ 1644073 h 2253672"/>
                  <a:gd name="connsiteX3" fmla="*/ 942109 w 9402618"/>
                  <a:gd name="connsiteY3" fmla="*/ 1274618 h 2253672"/>
                  <a:gd name="connsiteX4" fmla="*/ 1366982 w 9402618"/>
                  <a:gd name="connsiteY4" fmla="*/ 665017 h 2253672"/>
                  <a:gd name="connsiteX5" fmla="*/ 2087417 w 9402618"/>
                  <a:gd name="connsiteY5" fmla="*/ 997526 h 2253672"/>
                  <a:gd name="connsiteX6" fmla="*/ 2641600 w 9402618"/>
                  <a:gd name="connsiteY6" fmla="*/ 701964 h 2253672"/>
                  <a:gd name="connsiteX7" fmla="*/ 3491345 w 9402618"/>
                  <a:gd name="connsiteY7" fmla="*/ 618431 h 2253672"/>
                  <a:gd name="connsiteX8" fmla="*/ 4193309 w 9402618"/>
                  <a:gd name="connsiteY8" fmla="*/ 461817 h 2253672"/>
                  <a:gd name="connsiteX9" fmla="*/ 5190836 w 9402618"/>
                  <a:gd name="connsiteY9" fmla="*/ 0 h 2253672"/>
                  <a:gd name="connsiteX10" fmla="*/ 5855854 w 9402618"/>
                  <a:gd name="connsiteY10" fmla="*/ 942109 h 2253672"/>
                  <a:gd name="connsiteX11" fmla="*/ 6668654 w 9402618"/>
                  <a:gd name="connsiteY11" fmla="*/ 1052945 h 2253672"/>
                  <a:gd name="connsiteX12" fmla="*/ 7869382 w 9402618"/>
                  <a:gd name="connsiteY12" fmla="*/ 720436 h 2253672"/>
                  <a:gd name="connsiteX13" fmla="*/ 8719127 w 9402618"/>
                  <a:gd name="connsiteY13" fmla="*/ 387927 h 2253672"/>
                  <a:gd name="connsiteX14" fmla="*/ 9402618 w 9402618"/>
                  <a:gd name="connsiteY14" fmla="*/ 332509 h 2253672"/>
                  <a:gd name="connsiteX15" fmla="*/ 9273309 w 9402618"/>
                  <a:gd name="connsiteY15" fmla="*/ 2253672 h 2253672"/>
                  <a:gd name="connsiteX16" fmla="*/ 0 w 9402618"/>
                  <a:gd name="connsiteY16" fmla="*/ 2235200 h 2253672"/>
                  <a:gd name="connsiteX0" fmla="*/ 0 w 9402618"/>
                  <a:gd name="connsiteY0" fmla="*/ 2475346 h 2493818"/>
                  <a:gd name="connsiteX1" fmla="*/ 0 w 9402618"/>
                  <a:gd name="connsiteY1" fmla="*/ 1699491 h 2493818"/>
                  <a:gd name="connsiteX2" fmla="*/ 406400 w 9402618"/>
                  <a:gd name="connsiteY2" fmla="*/ 1884219 h 2493818"/>
                  <a:gd name="connsiteX3" fmla="*/ 942109 w 9402618"/>
                  <a:gd name="connsiteY3" fmla="*/ 1514764 h 2493818"/>
                  <a:gd name="connsiteX4" fmla="*/ 1366982 w 9402618"/>
                  <a:gd name="connsiteY4" fmla="*/ 905163 h 2493818"/>
                  <a:gd name="connsiteX5" fmla="*/ 2087417 w 9402618"/>
                  <a:gd name="connsiteY5" fmla="*/ 1237672 h 2493818"/>
                  <a:gd name="connsiteX6" fmla="*/ 2641600 w 9402618"/>
                  <a:gd name="connsiteY6" fmla="*/ 942110 h 2493818"/>
                  <a:gd name="connsiteX7" fmla="*/ 3491345 w 9402618"/>
                  <a:gd name="connsiteY7" fmla="*/ 858577 h 2493818"/>
                  <a:gd name="connsiteX8" fmla="*/ 4193309 w 9402618"/>
                  <a:gd name="connsiteY8" fmla="*/ 701963 h 2493818"/>
                  <a:gd name="connsiteX9" fmla="*/ 5190836 w 9402618"/>
                  <a:gd name="connsiteY9" fmla="*/ 240146 h 2493818"/>
                  <a:gd name="connsiteX10" fmla="*/ 5523345 w 9402618"/>
                  <a:gd name="connsiteY10" fmla="*/ 0 h 2493818"/>
                  <a:gd name="connsiteX11" fmla="*/ 6668654 w 9402618"/>
                  <a:gd name="connsiteY11" fmla="*/ 1293091 h 2493818"/>
                  <a:gd name="connsiteX12" fmla="*/ 7869382 w 9402618"/>
                  <a:gd name="connsiteY12" fmla="*/ 960582 h 2493818"/>
                  <a:gd name="connsiteX13" fmla="*/ 8719127 w 9402618"/>
                  <a:gd name="connsiteY13" fmla="*/ 628073 h 2493818"/>
                  <a:gd name="connsiteX14" fmla="*/ 9402618 w 9402618"/>
                  <a:gd name="connsiteY14" fmla="*/ 572655 h 2493818"/>
                  <a:gd name="connsiteX15" fmla="*/ 9273309 w 9402618"/>
                  <a:gd name="connsiteY15" fmla="*/ 2493818 h 2493818"/>
                  <a:gd name="connsiteX16" fmla="*/ 0 w 9402618"/>
                  <a:gd name="connsiteY16" fmla="*/ 2475346 h 2493818"/>
                  <a:gd name="connsiteX0" fmla="*/ 0 w 9402618"/>
                  <a:gd name="connsiteY0" fmla="*/ 2475346 h 2493818"/>
                  <a:gd name="connsiteX1" fmla="*/ 0 w 9402618"/>
                  <a:gd name="connsiteY1" fmla="*/ 1699491 h 2493818"/>
                  <a:gd name="connsiteX2" fmla="*/ 406400 w 9402618"/>
                  <a:gd name="connsiteY2" fmla="*/ 1884219 h 2493818"/>
                  <a:gd name="connsiteX3" fmla="*/ 942109 w 9402618"/>
                  <a:gd name="connsiteY3" fmla="*/ 1514764 h 2493818"/>
                  <a:gd name="connsiteX4" fmla="*/ 1366982 w 9402618"/>
                  <a:gd name="connsiteY4" fmla="*/ 905163 h 2493818"/>
                  <a:gd name="connsiteX5" fmla="*/ 2087417 w 9402618"/>
                  <a:gd name="connsiteY5" fmla="*/ 1237672 h 2493818"/>
                  <a:gd name="connsiteX6" fmla="*/ 2641600 w 9402618"/>
                  <a:gd name="connsiteY6" fmla="*/ 942110 h 2493818"/>
                  <a:gd name="connsiteX7" fmla="*/ 3491345 w 9402618"/>
                  <a:gd name="connsiteY7" fmla="*/ 858577 h 2493818"/>
                  <a:gd name="connsiteX8" fmla="*/ 4193309 w 9402618"/>
                  <a:gd name="connsiteY8" fmla="*/ 701963 h 2493818"/>
                  <a:gd name="connsiteX9" fmla="*/ 5190836 w 9402618"/>
                  <a:gd name="connsiteY9" fmla="*/ 240146 h 2493818"/>
                  <a:gd name="connsiteX10" fmla="*/ 5523345 w 9402618"/>
                  <a:gd name="connsiteY10" fmla="*/ 0 h 2493818"/>
                  <a:gd name="connsiteX11" fmla="*/ 5874327 w 9402618"/>
                  <a:gd name="connsiteY11" fmla="*/ 230504 h 2493818"/>
                  <a:gd name="connsiteX12" fmla="*/ 6668654 w 9402618"/>
                  <a:gd name="connsiteY12" fmla="*/ 1293091 h 2493818"/>
                  <a:gd name="connsiteX13" fmla="*/ 7869382 w 9402618"/>
                  <a:gd name="connsiteY13" fmla="*/ 960582 h 2493818"/>
                  <a:gd name="connsiteX14" fmla="*/ 8719127 w 9402618"/>
                  <a:gd name="connsiteY14" fmla="*/ 628073 h 2493818"/>
                  <a:gd name="connsiteX15" fmla="*/ 9402618 w 9402618"/>
                  <a:gd name="connsiteY15" fmla="*/ 572655 h 2493818"/>
                  <a:gd name="connsiteX16" fmla="*/ 9273309 w 9402618"/>
                  <a:gd name="connsiteY16" fmla="*/ 2493818 h 2493818"/>
                  <a:gd name="connsiteX17" fmla="*/ 0 w 9402618"/>
                  <a:gd name="connsiteY17" fmla="*/ 2475346 h 2493818"/>
                  <a:gd name="connsiteX0" fmla="*/ 0 w 9402618"/>
                  <a:gd name="connsiteY0" fmla="*/ 2475346 h 2493818"/>
                  <a:gd name="connsiteX1" fmla="*/ 0 w 9402618"/>
                  <a:gd name="connsiteY1" fmla="*/ 1699491 h 2493818"/>
                  <a:gd name="connsiteX2" fmla="*/ 406400 w 9402618"/>
                  <a:gd name="connsiteY2" fmla="*/ 1884219 h 2493818"/>
                  <a:gd name="connsiteX3" fmla="*/ 942109 w 9402618"/>
                  <a:gd name="connsiteY3" fmla="*/ 1514764 h 2493818"/>
                  <a:gd name="connsiteX4" fmla="*/ 1366982 w 9402618"/>
                  <a:gd name="connsiteY4" fmla="*/ 905163 h 2493818"/>
                  <a:gd name="connsiteX5" fmla="*/ 2087417 w 9402618"/>
                  <a:gd name="connsiteY5" fmla="*/ 1237672 h 2493818"/>
                  <a:gd name="connsiteX6" fmla="*/ 2641600 w 9402618"/>
                  <a:gd name="connsiteY6" fmla="*/ 942110 h 2493818"/>
                  <a:gd name="connsiteX7" fmla="*/ 3491345 w 9402618"/>
                  <a:gd name="connsiteY7" fmla="*/ 858577 h 2493818"/>
                  <a:gd name="connsiteX8" fmla="*/ 4193309 w 9402618"/>
                  <a:gd name="connsiteY8" fmla="*/ 701963 h 2493818"/>
                  <a:gd name="connsiteX9" fmla="*/ 5190836 w 9402618"/>
                  <a:gd name="connsiteY9" fmla="*/ 240146 h 2493818"/>
                  <a:gd name="connsiteX10" fmla="*/ 5523345 w 9402618"/>
                  <a:gd name="connsiteY10" fmla="*/ 0 h 2493818"/>
                  <a:gd name="connsiteX11" fmla="*/ 5874327 w 9402618"/>
                  <a:gd name="connsiteY11" fmla="*/ 230504 h 2493818"/>
                  <a:gd name="connsiteX12" fmla="*/ 6687127 w 9402618"/>
                  <a:gd name="connsiteY12" fmla="*/ 92363 h 2493818"/>
                  <a:gd name="connsiteX13" fmla="*/ 7869382 w 9402618"/>
                  <a:gd name="connsiteY13" fmla="*/ 960582 h 2493818"/>
                  <a:gd name="connsiteX14" fmla="*/ 8719127 w 9402618"/>
                  <a:gd name="connsiteY14" fmla="*/ 628073 h 2493818"/>
                  <a:gd name="connsiteX15" fmla="*/ 9402618 w 9402618"/>
                  <a:gd name="connsiteY15" fmla="*/ 572655 h 2493818"/>
                  <a:gd name="connsiteX16" fmla="*/ 9273309 w 9402618"/>
                  <a:gd name="connsiteY16" fmla="*/ 2493818 h 2493818"/>
                  <a:gd name="connsiteX17" fmla="*/ 0 w 9402618"/>
                  <a:gd name="connsiteY17" fmla="*/ 2475346 h 2493818"/>
                  <a:gd name="connsiteX0" fmla="*/ 0 w 9402618"/>
                  <a:gd name="connsiteY0" fmla="*/ 2604655 h 2623127"/>
                  <a:gd name="connsiteX1" fmla="*/ 0 w 9402618"/>
                  <a:gd name="connsiteY1" fmla="*/ 1828800 h 2623127"/>
                  <a:gd name="connsiteX2" fmla="*/ 406400 w 9402618"/>
                  <a:gd name="connsiteY2" fmla="*/ 2013528 h 2623127"/>
                  <a:gd name="connsiteX3" fmla="*/ 942109 w 9402618"/>
                  <a:gd name="connsiteY3" fmla="*/ 1644073 h 2623127"/>
                  <a:gd name="connsiteX4" fmla="*/ 1366982 w 9402618"/>
                  <a:gd name="connsiteY4" fmla="*/ 1034472 h 2623127"/>
                  <a:gd name="connsiteX5" fmla="*/ 2087417 w 9402618"/>
                  <a:gd name="connsiteY5" fmla="*/ 1366981 h 2623127"/>
                  <a:gd name="connsiteX6" fmla="*/ 2641600 w 9402618"/>
                  <a:gd name="connsiteY6" fmla="*/ 1071419 h 2623127"/>
                  <a:gd name="connsiteX7" fmla="*/ 3491345 w 9402618"/>
                  <a:gd name="connsiteY7" fmla="*/ 987886 h 2623127"/>
                  <a:gd name="connsiteX8" fmla="*/ 4193309 w 9402618"/>
                  <a:gd name="connsiteY8" fmla="*/ 831272 h 2623127"/>
                  <a:gd name="connsiteX9" fmla="*/ 5190836 w 9402618"/>
                  <a:gd name="connsiteY9" fmla="*/ 369455 h 2623127"/>
                  <a:gd name="connsiteX10" fmla="*/ 5523345 w 9402618"/>
                  <a:gd name="connsiteY10" fmla="*/ 129309 h 2623127"/>
                  <a:gd name="connsiteX11" fmla="*/ 5874327 w 9402618"/>
                  <a:gd name="connsiteY11" fmla="*/ 359813 h 2623127"/>
                  <a:gd name="connsiteX12" fmla="*/ 6687127 w 9402618"/>
                  <a:gd name="connsiteY12" fmla="*/ 221672 h 2623127"/>
                  <a:gd name="connsiteX13" fmla="*/ 7869382 w 9402618"/>
                  <a:gd name="connsiteY13" fmla="*/ 0 h 2623127"/>
                  <a:gd name="connsiteX14" fmla="*/ 8719127 w 9402618"/>
                  <a:gd name="connsiteY14" fmla="*/ 757382 h 2623127"/>
                  <a:gd name="connsiteX15" fmla="*/ 9402618 w 9402618"/>
                  <a:gd name="connsiteY15" fmla="*/ 701964 h 2623127"/>
                  <a:gd name="connsiteX16" fmla="*/ 9273309 w 9402618"/>
                  <a:gd name="connsiteY16" fmla="*/ 2623127 h 2623127"/>
                  <a:gd name="connsiteX17" fmla="*/ 0 w 9402618"/>
                  <a:gd name="connsiteY17" fmla="*/ 2604655 h 2623127"/>
                  <a:gd name="connsiteX0" fmla="*/ 0 w 9402618"/>
                  <a:gd name="connsiteY0" fmla="*/ 2604655 h 2623127"/>
                  <a:gd name="connsiteX1" fmla="*/ 0 w 9402618"/>
                  <a:gd name="connsiteY1" fmla="*/ 1828800 h 2623127"/>
                  <a:gd name="connsiteX2" fmla="*/ 406400 w 9402618"/>
                  <a:gd name="connsiteY2" fmla="*/ 2013528 h 2623127"/>
                  <a:gd name="connsiteX3" fmla="*/ 942109 w 9402618"/>
                  <a:gd name="connsiteY3" fmla="*/ 1644073 h 2623127"/>
                  <a:gd name="connsiteX4" fmla="*/ 1366982 w 9402618"/>
                  <a:gd name="connsiteY4" fmla="*/ 1034472 h 2623127"/>
                  <a:gd name="connsiteX5" fmla="*/ 2087417 w 9402618"/>
                  <a:gd name="connsiteY5" fmla="*/ 1366981 h 2623127"/>
                  <a:gd name="connsiteX6" fmla="*/ 2641600 w 9402618"/>
                  <a:gd name="connsiteY6" fmla="*/ 1071419 h 2623127"/>
                  <a:gd name="connsiteX7" fmla="*/ 3491345 w 9402618"/>
                  <a:gd name="connsiteY7" fmla="*/ 987886 h 2623127"/>
                  <a:gd name="connsiteX8" fmla="*/ 4193309 w 9402618"/>
                  <a:gd name="connsiteY8" fmla="*/ 831272 h 2623127"/>
                  <a:gd name="connsiteX9" fmla="*/ 5190836 w 9402618"/>
                  <a:gd name="connsiteY9" fmla="*/ 369455 h 2623127"/>
                  <a:gd name="connsiteX10" fmla="*/ 5523345 w 9402618"/>
                  <a:gd name="connsiteY10" fmla="*/ 129309 h 2623127"/>
                  <a:gd name="connsiteX11" fmla="*/ 5874327 w 9402618"/>
                  <a:gd name="connsiteY11" fmla="*/ 359813 h 2623127"/>
                  <a:gd name="connsiteX12" fmla="*/ 6687127 w 9402618"/>
                  <a:gd name="connsiteY12" fmla="*/ 221672 h 2623127"/>
                  <a:gd name="connsiteX13" fmla="*/ 7869382 w 9402618"/>
                  <a:gd name="connsiteY13" fmla="*/ 0 h 2623127"/>
                  <a:gd name="connsiteX14" fmla="*/ 8497454 w 9402618"/>
                  <a:gd name="connsiteY14" fmla="*/ 350982 h 2623127"/>
                  <a:gd name="connsiteX15" fmla="*/ 9402618 w 9402618"/>
                  <a:gd name="connsiteY15" fmla="*/ 701964 h 2623127"/>
                  <a:gd name="connsiteX16" fmla="*/ 9273309 w 9402618"/>
                  <a:gd name="connsiteY16" fmla="*/ 2623127 h 2623127"/>
                  <a:gd name="connsiteX17" fmla="*/ 0 w 9402618"/>
                  <a:gd name="connsiteY17" fmla="*/ 2604655 h 2623127"/>
                  <a:gd name="connsiteX0" fmla="*/ 0 w 9273309"/>
                  <a:gd name="connsiteY0" fmla="*/ 2900218 h 2918690"/>
                  <a:gd name="connsiteX1" fmla="*/ 0 w 9273309"/>
                  <a:gd name="connsiteY1" fmla="*/ 2124363 h 2918690"/>
                  <a:gd name="connsiteX2" fmla="*/ 406400 w 9273309"/>
                  <a:gd name="connsiteY2" fmla="*/ 2309091 h 2918690"/>
                  <a:gd name="connsiteX3" fmla="*/ 942109 w 9273309"/>
                  <a:gd name="connsiteY3" fmla="*/ 1939636 h 2918690"/>
                  <a:gd name="connsiteX4" fmla="*/ 1366982 w 9273309"/>
                  <a:gd name="connsiteY4" fmla="*/ 1330035 h 2918690"/>
                  <a:gd name="connsiteX5" fmla="*/ 2087417 w 9273309"/>
                  <a:gd name="connsiteY5" fmla="*/ 1662544 h 2918690"/>
                  <a:gd name="connsiteX6" fmla="*/ 2641600 w 9273309"/>
                  <a:gd name="connsiteY6" fmla="*/ 1366982 h 2918690"/>
                  <a:gd name="connsiteX7" fmla="*/ 3491345 w 9273309"/>
                  <a:gd name="connsiteY7" fmla="*/ 1283449 h 2918690"/>
                  <a:gd name="connsiteX8" fmla="*/ 4193309 w 9273309"/>
                  <a:gd name="connsiteY8" fmla="*/ 1126835 h 2918690"/>
                  <a:gd name="connsiteX9" fmla="*/ 5190836 w 9273309"/>
                  <a:gd name="connsiteY9" fmla="*/ 665018 h 2918690"/>
                  <a:gd name="connsiteX10" fmla="*/ 5523345 w 9273309"/>
                  <a:gd name="connsiteY10" fmla="*/ 424872 h 2918690"/>
                  <a:gd name="connsiteX11" fmla="*/ 5874327 w 9273309"/>
                  <a:gd name="connsiteY11" fmla="*/ 655376 h 2918690"/>
                  <a:gd name="connsiteX12" fmla="*/ 6687127 w 9273309"/>
                  <a:gd name="connsiteY12" fmla="*/ 517235 h 2918690"/>
                  <a:gd name="connsiteX13" fmla="*/ 7869382 w 9273309"/>
                  <a:gd name="connsiteY13" fmla="*/ 295563 h 2918690"/>
                  <a:gd name="connsiteX14" fmla="*/ 8497454 w 9273309"/>
                  <a:gd name="connsiteY14" fmla="*/ 646545 h 2918690"/>
                  <a:gd name="connsiteX15" fmla="*/ 9236364 w 9273309"/>
                  <a:gd name="connsiteY15" fmla="*/ 0 h 2918690"/>
                  <a:gd name="connsiteX16" fmla="*/ 9273309 w 9273309"/>
                  <a:gd name="connsiteY16" fmla="*/ 2918690 h 2918690"/>
                  <a:gd name="connsiteX17" fmla="*/ 0 w 9273309"/>
                  <a:gd name="connsiteY17" fmla="*/ 2900218 h 2918690"/>
                  <a:gd name="connsiteX0" fmla="*/ 0 w 9273309"/>
                  <a:gd name="connsiteY0" fmla="*/ 2900218 h 2918690"/>
                  <a:gd name="connsiteX1" fmla="*/ 0 w 9273309"/>
                  <a:gd name="connsiteY1" fmla="*/ 2124363 h 2918690"/>
                  <a:gd name="connsiteX2" fmla="*/ 406400 w 9273309"/>
                  <a:gd name="connsiteY2" fmla="*/ 2309091 h 2918690"/>
                  <a:gd name="connsiteX3" fmla="*/ 942109 w 9273309"/>
                  <a:gd name="connsiteY3" fmla="*/ 1939636 h 2918690"/>
                  <a:gd name="connsiteX4" fmla="*/ 1366982 w 9273309"/>
                  <a:gd name="connsiteY4" fmla="*/ 1330035 h 2918690"/>
                  <a:gd name="connsiteX5" fmla="*/ 2087417 w 9273309"/>
                  <a:gd name="connsiteY5" fmla="*/ 1662544 h 2918690"/>
                  <a:gd name="connsiteX6" fmla="*/ 2641600 w 9273309"/>
                  <a:gd name="connsiteY6" fmla="*/ 1366982 h 2918690"/>
                  <a:gd name="connsiteX7" fmla="*/ 3491345 w 9273309"/>
                  <a:gd name="connsiteY7" fmla="*/ 1283449 h 2918690"/>
                  <a:gd name="connsiteX8" fmla="*/ 4193309 w 9273309"/>
                  <a:gd name="connsiteY8" fmla="*/ 1126835 h 2918690"/>
                  <a:gd name="connsiteX9" fmla="*/ 5190836 w 9273309"/>
                  <a:gd name="connsiteY9" fmla="*/ 665018 h 2918690"/>
                  <a:gd name="connsiteX10" fmla="*/ 5523345 w 9273309"/>
                  <a:gd name="connsiteY10" fmla="*/ 424872 h 2918690"/>
                  <a:gd name="connsiteX11" fmla="*/ 5874327 w 9273309"/>
                  <a:gd name="connsiteY11" fmla="*/ 655376 h 2918690"/>
                  <a:gd name="connsiteX12" fmla="*/ 6687127 w 9273309"/>
                  <a:gd name="connsiteY12" fmla="*/ 517235 h 2918690"/>
                  <a:gd name="connsiteX13" fmla="*/ 7869382 w 9273309"/>
                  <a:gd name="connsiteY13" fmla="*/ 295563 h 2918690"/>
                  <a:gd name="connsiteX14" fmla="*/ 8497454 w 9273309"/>
                  <a:gd name="connsiteY14" fmla="*/ 646545 h 2918690"/>
                  <a:gd name="connsiteX15" fmla="*/ 9236364 w 9273309"/>
                  <a:gd name="connsiteY15" fmla="*/ 0 h 2918690"/>
                  <a:gd name="connsiteX16" fmla="*/ 9273309 w 9273309"/>
                  <a:gd name="connsiteY16" fmla="*/ 2918690 h 2918690"/>
                  <a:gd name="connsiteX17" fmla="*/ 0 w 9273309"/>
                  <a:gd name="connsiteY17" fmla="*/ 2900218 h 2918690"/>
                  <a:gd name="connsiteX0" fmla="*/ 0 w 9273309"/>
                  <a:gd name="connsiteY0" fmla="*/ 2900218 h 2918690"/>
                  <a:gd name="connsiteX1" fmla="*/ 0 w 9273309"/>
                  <a:gd name="connsiteY1" fmla="*/ 2124363 h 2918690"/>
                  <a:gd name="connsiteX2" fmla="*/ 406400 w 9273309"/>
                  <a:gd name="connsiteY2" fmla="*/ 2309091 h 2918690"/>
                  <a:gd name="connsiteX3" fmla="*/ 942109 w 9273309"/>
                  <a:gd name="connsiteY3" fmla="*/ 1939636 h 2918690"/>
                  <a:gd name="connsiteX4" fmla="*/ 1366982 w 9273309"/>
                  <a:gd name="connsiteY4" fmla="*/ 1330035 h 2918690"/>
                  <a:gd name="connsiteX5" fmla="*/ 2087417 w 9273309"/>
                  <a:gd name="connsiteY5" fmla="*/ 1662544 h 2918690"/>
                  <a:gd name="connsiteX6" fmla="*/ 2641600 w 9273309"/>
                  <a:gd name="connsiteY6" fmla="*/ 1366982 h 2918690"/>
                  <a:gd name="connsiteX7" fmla="*/ 3491345 w 9273309"/>
                  <a:gd name="connsiteY7" fmla="*/ 1283449 h 2918690"/>
                  <a:gd name="connsiteX8" fmla="*/ 4193309 w 9273309"/>
                  <a:gd name="connsiteY8" fmla="*/ 1126835 h 2918690"/>
                  <a:gd name="connsiteX9" fmla="*/ 5190836 w 9273309"/>
                  <a:gd name="connsiteY9" fmla="*/ 665018 h 2918690"/>
                  <a:gd name="connsiteX10" fmla="*/ 5523345 w 9273309"/>
                  <a:gd name="connsiteY10" fmla="*/ 424872 h 2918690"/>
                  <a:gd name="connsiteX11" fmla="*/ 5874327 w 9273309"/>
                  <a:gd name="connsiteY11" fmla="*/ 655376 h 2918690"/>
                  <a:gd name="connsiteX12" fmla="*/ 6687127 w 9273309"/>
                  <a:gd name="connsiteY12" fmla="*/ 517235 h 2918690"/>
                  <a:gd name="connsiteX13" fmla="*/ 7869382 w 9273309"/>
                  <a:gd name="connsiteY13" fmla="*/ 295563 h 2918690"/>
                  <a:gd name="connsiteX14" fmla="*/ 8497454 w 9273309"/>
                  <a:gd name="connsiteY14" fmla="*/ 646545 h 2918690"/>
                  <a:gd name="connsiteX15" fmla="*/ 9236364 w 9273309"/>
                  <a:gd name="connsiteY15" fmla="*/ 0 h 2918690"/>
                  <a:gd name="connsiteX16" fmla="*/ 9273309 w 9273309"/>
                  <a:gd name="connsiteY16" fmla="*/ 2918690 h 2918690"/>
                  <a:gd name="connsiteX17" fmla="*/ 0 w 9273309"/>
                  <a:gd name="connsiteY17" fmla="*/ 2900218 h 2918690"/>
                  <a:gd name="connsiteX0" fmla="*/ 18473 w 9273309"/>
                  <a:gd name="connsiteY0" fmla="*/ 4710545 h 4710545"/>
                  <a:gd name="connsiteX1" fmla="*/ 0 w 9273309"/>
                  <a:gd name="connsiteY1" fmla="*/ 2124363 h 4710545"/>
                  <a:gd name="connsiteX2" fmla="*/ 406400 w 9273309"/>
                  <a:gd name="connsiteY2" fmla="*/ 2309091 h 4710545"/>
                  <a:gd name="connsiteX3" fmla="*/ 942109 w 9273309"/>
                  <a:gd name="connsiteY3" fmla="*/ 1939636 h 4710545"/>
                  <a:gd name="connsiteX4" fmla="*/ 1366982 w 9273309"/>
                  <a:gd name="connsiteY4" fmla="*/ 1330035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942109 w 9273309"/>
                  <a:gd name="connsiteY3" fmla="*/ 1939636 h 4710545"/>
                  <a:gd name="connsiteX4" fmla="*/ 1366982 w 9273309"/>
                  <a:gd name="connsiteY4" fmla="*/ 1330035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366982 w 9273309"/>
                  <a:gd name="connsiteY4" fmla="*/ 1330035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440873 w 9273309"/>
                  <a:gd name="connsiteY4" fmla="*/ 2623125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219200 w 9273309"/>
                  <a:gd name="connsiteY4" fmla="*/ 2087416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219200 w 9273309"/>
                  <a:gd name="connsiteY4" fmla="*/ 2087416 h 4710545"/>
                  <a:gd name="connsiteX5" fmla="*/ 2087417 w 9273309"/>
                  <a:gd name="connsiteY5" fmla="*/ 3011053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219200 w 9273309"/>
                  <a:gd name="connsiteY4" fmla="*/ 2087416 h 4710545"/>
                  <a:gd name="connsiteX5" fmla="*/ 2087417 w 9273309"/>
                  <a:gd name="connsiteY5" fmla="*/ 3011053 h 4710545"/>
                  <a:gd name="connsiteX6" fmla="*/ 3214254 w 9273309"/>
                  <a:gd name="connsiteY6" fmla="*/ 2142837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91783"/>
                  <a:gd name="connsiteY0" fmla="*/ 4414982 h 4414982"/>
                  <a:gd name="connsiteX1" fmla="*/ 0 w 9291783"/>
                  <a:gd name="connsiteY1" fmla="*/ 1828800 h 4414982"/>
                  <a:gd name="connsiteX2" fmla="*/ 572655 w 9291783"/>
                  <a:gd name="connsiteY2" fmla="*/ 1477818 h 4414982"/>
                  <a:gd name="connsiteX3" fmla="*/ 849745 w 9291783"/>
                  <a:gd name="connsiteY3" fmla="*/ 2032001 h 4414982"/>
                  <a:gd name="connsiteX4" fmla="*/ 1219200 w 9291783"/>
                  <a:gd name="connsiteY4" fmla="*/ 1791853 h 4414982"/>
                  <a:gd name="connsiteX5" fmla="*/ 2087417 w 9291783"/>
                  <a:gd name="connsiteY5" fmla="*/ 2715490 h 4414982"/>
                  <a:gd name="connsiteX6" fmla="*/ 3214254 w 9291783"/>
                  <a:gd name="connsiteY6" fmla="*/ 1847274 h 4414982"/>
                  <a:gd name="connsiteX7" fmla="*/ 3491345 w 9291783"/>
                  <a:gd name="connsiteY7" fmla="*/ 987886 h 4414982"/>
                  <a:gd name="connsiteX8" fmla="*/ 4193309 w 9291783"/>
                  <a:gd name="connsiteY8" fmla="*/ 831272 h 4414982"/>
                  <a:gd name="connsiteX9" fmla="*/ 5190836 w 9291783"/>
                  <a:gd name="connsiteY9" fmla="*/ 369455 h 4414982"/>
                  <a:gd name="connsiteX10" fmla="*/ 5523345 w 9291783"/>
                  <a:gd name="connsiteY10" fmla="*/ 129309 h 4414982"/>
                  <a:gd name="connsiteX11" fmla="*/ 5874327 w 9291783"/>
                  <a:gd name="connsiteY11" fmla="*/ 359813 h 4414982"/>
                  <a:gd name="connsiteX12" fmla="*/ 6687127 w 9291783"/>
                  <a:gd name="connsiteY12" fmla="*/ 221672 h 4414982"/>
                  <a:gd name="connsiteX13" fmla="*/ 7869382 w 9291783"/>
                  <a:gd name="connsiteY13" fmla="*/ 0 h 4414982"/>
                  <a:gd name="connsiteX14" fmla="*/ 8497454 w 9291783"/>
                  <a:gd name="connsiteY14" fmla="*/ 350982 h 4414982"/>
                  <a:gd name="connsiteX15" fmla="*/ 9291783 w 9291783"/>
                  <a:gd name="connsiteY15" fmla="*/ 1366983 h 4414982"/>
                  <a:gd name="connsiteX16" fmla="*/ 9273309 w 9291783"/>
                  <a:gd name="connsiteY16" fmla="*/ 2623127 h 4414982"/>
                  <a:gd name="connsiteX17" fmla="*/ 18473 w 9291783"/>
                  <a:gd name="connsiteY17" fmla="*/ 4414982 h 4414982"/>
                  <a:gd name="connsiteX0" fmla="*/ 18473 w 9291783"/>
                  <a:gd name="connsiteY0" fmla="*/ 4414982 h 4414982"/>
                  <a:gd name="connsiteX1" fmla="*/ 0 w 9291783"/>
                  <a:gd name="connsiteY1" fmla="*/ 1828800 h 4414982"/>
                  <a:gd name="connsiteX2" fmla="*/ 572655 w 9291783"/>
                  <a:gd name="connsiteY2" fmla="*/ 1477818 h 4414982"/>
                  <a:gd name="connsiteX3" fmla="*/ 849745 w 9291783"/>
                  <a:gd name="connsiteY3" fmla="*/ 2032001 h 4414982"/>
                  <a:gd name="connsiteX4" fmla="*/ 1219200 w 9291783"/>
                  <a:gd name="connsiteY4" fmla="*/ 1791853 h 4414982"/>
                  <a:gd name="connsiteX5" fmla="*/ 2087417 w 9291783"/>
                  <a:gd name="connsiteY5" fmla="*/ 2715490 h 4414982"/>
                  <a:gd name="connsiteX6" fmla="*/ 3214254 w 9291783"/>
                  <a:gd name="connsiteY6" fmla="*/ 1847274 h 4414982"/>
                  <a:gd name="connsiteX7" fmla="*/ 3491345 w 9291783"/>
                  <a:gd name="connsiteY7" fmla="*/ 987886 h 4414982"/>
                  <a:gd name="connsiteX8" fmla="*/ 4193309 w 9291783"/>
                  <a:gd name="connsiteY8" fmla="*/ 831272 h 4414982"/>
                  <a:gd name="connsiteX9" fmla="*/ 5190836 w 9291783"/>
                  <a:gd name="connsiteY9" fmla="*/ 369455 h 4414982"/>
                  <a:gd name="connsiteX10" fmla="*/ 5523345 w 9291783"/>
                  <a:gd name="connsiteY10" fmla="*/ 129309 h 4414982"/>
                  <a:gd name="connsiteX11" fmla="*/ 5874327 w 9291783"/>
                  <a:gd name="connsiteY11" fmla="*/ 359813 h 4414982"/>
                  <a:gd name="connsiteX12" fmla="*/ 6687127 w 9291783"/>
                  <a:gd name="connsiteY12" fmla="*/ 221672 h 4414982"/>
                  <a:gd name="connsiteX13" fmla="*/ 7869382 w 9291783"/>
                  <a:gd name="connsiteY13" fmla="*/ 0 h 4414982"/>
                  <a:gd name="connsiteX14" fmla="*/ 9033163 w 9291783"/>
                  <a:gd name="connsiteY14" fmla="*/ 665018 h 4414982"/>
                  <a:gd name="connsiteX15" fmla="*/ 9291783 w 9291783"/>
                  <a:gd name="connsiteY15" fmla="*/ 1366983 h 4414982"/>
                  <a:gd name="connsiteX16" fmla="*/ 9273309 w 9291783"/>
                  <a:gd name="connsiteY16" fmla="*/ 2623127 h 4414982"/>
                  <a:gd name="connsiteX17" fmla="*/ 18473 w 9291783"/>
                  <a:gd name="connsiteY17" fmla="*/ 4414982 h 4414982"/>
                  <a:gd name="connsiteX0" fmla="*/ 18473 w 9291783"/>
                  <a:gd name="connsiteY0" fmla="*/ 4285673 h 4285673"/>
                  <a:gd name="connsiteX1" fmla="*/ 0 w 9291783"/>
                  <a:gd name="connsiteY1" fmla="*/ 1699491 h 4285673"/>
                  <a:gd name="connsiteX2" fmla="*/ 572655 w 9291783"/>
                  <a:gd name="connsiteY2" fmla="*/ 1348509 h 4285673"/>
                  <a:gd name="connsiteX3" fmla="*/ 849745 w 9291783"/>
                  <a:gd name="connsiteY3" fmla="*/ 1902692 h 4285673"/>
                  <a:gd name="connsiteX4" fmla="*/ 1219200 w 9291783"/>
                  <a:gd name="connsiteY4" fmla="*/ 1662544 h 4285673"/>
                  <a:gd name="connsiteX5" fmla="*/ 2087417 w 9291783"/>
                  <a:gd name="connsiteY5" fmla="*/ 2586181 h 4285673"/>
                  <a:gd name="connsiteX6" fmla="*/ 3214254 w 9291783"/>
                  <a:gd name="connsiteY6" fmla="*/ 1717965 h 4285673"/>
                  <a:gd name="connsiteX7" fmla="*/ 3491345 w 9291783"/>
                  <a:gd name="connsiteY7" fmla="*/ 858577 h 4285673"/>
                  <a:gd name="connsiteX8" fmla="*/ 4193309 w 9291783"/>
                  <a:gd name="connsiteY8" fmla="*/ 701963 h 4285673"/>
                  <a:gd name="connsiteX9" fmla="*/ 5190836 w 9291783"/>
                  <a:gd name="connsiteY9" fmla="*/ 240146 h 4285673"/>
                  <a:gd name="connsiteX10" fmla="*/ 5523345 w 9291783"/>
                  <a:gd name="connsiteY10" fmla="*/ 0 h 4285673"/>
                  <a:gd name="connsiteX11" fmla="*/ 5874327 w 9291783"/>
                  <a:gd name="connsiteY11" fmla="*/ 230504 h 4285673"/>
                  <a:gd name="connsiteX12" fmla="*/ 6687127 w 9291783"/>
                  <a:gd name="connsiteY12" fmla="*/ 92363 h 4285673"/>
                  <a:gd name="connsiteX13" fmla="*/ 8682182 w 9291783"/>
                  <a:gd name="connsiteY13" fmla="*/ 646546 h 4285673"/>
                  <a:gd name="connsiteX14" fmla="*/ 9033163 w 9291783"/>
                  <a:gd name="connsiteY14" fmla="*/ 535709 h 4285673"/>
                  <a:gd name="connsiteX15" fmla="*/ 9291783 w 9291783"/>
                  <a:gd name="connsiteY15" fmla="*/ 1237674 h 4285673"/>
                  <a:gd name="connsiteX16" fmla="*/ 9273309 w 9291783"/>
                  <a:gd name="connsiteY16" fmla="*/ 2493818 h 4285673"/>
                  <a:gd name="connsiteX17" fmla="*/ 18473 w 9291783"/>
                  <a:gd name="connsiteY17" fmla="*/ 4285673 h 4285673"/>
                  <a:gd name="connsiteX0" fmla="*/ 18473 w 9291783"/>
                  <a:gd name="connsiteY0" fmla="*/ 4285673 h 4285673"/>
                  <a:gd name="connsiteX1" fmla="*/ 0 w 9291783"/>
                  <a:gd name="connsiteY1" fmla="*/ 1699491 h 4285673"/>
                  <a:gd name="connsiteX2" fmla="*/ 572655 w 9291783"/>
                  <a:gd name="connsiteY2" fmla="*/ 1348509 h 4285673"/>
                  <a:gd name="connsiteX3" fmla="*/ 849745 w 9291783"/>
                  <a:gd name="connsiteY3" fmla="*/ 1902692 h 4285673"/>
                  <a:gd name="connsiteX4" fmla="*/ 1219200 w 9291783"/>
                  <a:gd name="connsiteY4" fmla="*/ 1662544 h 4285673"/>
                  <a:gd name="connsiteX5" fmla="*/ 2087417 w 9291783"/>
                  <a:gd name="connsiteY5" fmla="*/ 2586181 h 4285673"/>
                  <a:gd name="connsiteX6" fmla="*/ 3214254 w 9291783"/>
                  <a:gd name="connsiteY6" fmla="*/ 1717965 h 4285673"/>
                  <a:gd name="connsiteX7" fmla="*/ 3491345 w 9291783"/>
                  <a:gd name="connsiteY7" fmla="*/ 858577 h 4285673"/>
                  <a:gd name="connsiteX8" fmla="*/ 4193309 w 9291783"/>
                  <a:gd name="connsiteY8" fmla="*/ 701963 h 4285673"/>
                  <a:gd name="connsiteX9" fmla="*/ 5190836 w 9291783"/>
                  <a:gd name="connsiteY9" fmla="*/ 240146 h 4285673"/>
                  <a:gd name="connsiteX10" fmla="*/ 5523345 w 9291783"/>
                  <a:gd name="connsiteY10" fmla="*/ 0 h 4285673"/>
                  <a:gd name="connsiteX11" fmla="*/ 5874327 w 9291783"/>
                  <a:gd name="connsiteY11" fmla="*/ 230504 h 4285673"/>
                  <a:gd name="connsiteX12" fmla="*/ 6687127 w 9291783"/>
                  <a:gd name="connsiteY12" fmla="*/ 92363 h 4285673"/>
                  <a:gd name="connsiteX13" fmla="*/ 7961746 w 9291783"/>
                  <a:gd name="connsiteY13" fmla="*/ 765143 h 4285673"/>
                  <a:gd name="connsiteX14" fmla="*/ 8682182 w 9291783"/>
                  <a:gd name="connsiteY14" fmla="*/ 646546 h 4285673"/>
                  <a:gd name="connsiteX15" fmla="*/ 9033163 w 9291783"/>
                  <a:gd name="connsiteY15" fmla="*/ 535709 h 4285673"/>
                  <a:gd name="connsiteX16" fmla="*/ 9291783 w 9291783"/>
                  <a:gd name="connsiteY16" fmla="*/ 1237674 h 4285673"/>
                  <a:gd name="connsiteX17" fmla="*/ 9273309 w 9291783"/>
                  <a:gd name="connsiteY17" fmla="*/ 2493818 h 4285673"/>
                  <a:gd name="connsiteX18" fmla="*/ 18473 w 9291783"/>
                  <a:gd name="connsiteY18" fmla="*/ 4285673 h 4285673"/>
                  <a:gd name="connsiteX0" fmla="*/ 18473 w 9291783"/>
                  <a:gd name="connsiteY0" fmla="*/ 4285673 h 4285673"/>
                  <a:gd name="connsiteX1" fmla="*/ 0 w 9291783"/>
                  <a:gd name="connsiteY1" fmla="*/ 1699491 h 4285673"/>
                  <a:gd name="connsiteX2" fmla="*/ 572655 w 9291783"/>
                  <a:gd name="connsiteY2" fmla="*/ 1348509 h 4285673"/>
                  <a:gd name="connsiteX3" fmla="*/ 849745 w 9291783"/>
                  <a:gd name="connsiteY3" fmla="*/ 1902692 h 4285673"/>
                  <a:gd name="connsiteX4" fmla="*/ 1219200 w 9291783"/>
                  <a:gd name="connsiteY4" fmla="*/ 1662544 h 4285673"/>
                  <a:gd name="connsiteX5" fmla="*/ 2087417 w 9291783"/>
                  <a:gd name="connsiteY5" fmla="*/ 2586181 h 4285673"/>
                  <a:gd name="connsiteX6" fmla="*/ 3214254 w 9291783"/>
                  <a:gd name="connsiteY6" fmla="*/ 1717965 h 4285673"/>
                  <a:gd name="connsiteX7" fmla="*/ 3491345 w 9291783"/>
                  <a:gd name="connsiteY7" fmla="*/ 858577 h 4285673"/>
                  <a:gd name="connsiteX8" fmla="*/ 4193309 w 9291783"/>
                  <a:gd name="connsiteY8" fmla="*/ 701963 h 4285673"/>
                  <a:gd name="connsiteX9" fmla="*/ 5190836 w 9291783"/>
                  <a:gd name="connsiteY9" fmla="*/ 240146 h 4285673"/>
                  <a:gd name="connsiteX10" fmla="*/ 5523345 w 9291783"/>
                  <a:gd name="connsiteY10" fmla="*/ 0 h 4285673"/>
                  <a:gd name="connsiteX11" fmla="*/ 5874327 w 9291783"/>
                  <a:gd name="connsiteY11" fmla="*/ 230504 h 4285673"/>
                  <a:gd name="connsiteX12" fmla="*/ 6797963 w 9291783"/>
                  <a:gd name="connsiteY12" fmla="*/ 387926 h 4285673"/>
                  <a:gd name="connsiteX13" fmla="*/ 7961746 w 9291783"/>
                  <a:gd name="connsiteY13" fmla="*/ 765143 h 4285673"/>
                  <a:gd name="connsiteX14" fmla="*/ 8682182 w 9291783"/>
                  <a:gd name="connsiteY14" fmla="*/ 646546 h 4285673"/>
                  <a:gd name="connsiteX15" fmla="*/ 9033163 w 9291783"/>
                  <a:gd name="connsiteY15" fmla="*/ 535709 h 4285673"/>
                  <a:gd name="connsiteX16" fmla="*/ 9291783 w 9291783"/>
                  <a:gd name="connsiteY16" fmla="*/ 1237674 h 4285673"/>
                  <a:gd name="connsiteX17" fmla="*/ 9273309 w 9291783"/>
                  <a:gd name="connsiteY17" fmla="*/ 2493818 h 4285673"/>
                  <a:gd name="connsiteX18" fmla="*/ 18473 w 9291783"/>
                  <a:gd name="connsiteY18" fmla="*/ 4285673 h 4285673"/>
                  <a:gd name="connsiteX0" fmla="*/ 18473 w 9291783"/>
                  <a:gd name="connsiteY0" fmla="*/ 4285673 h 4285673"/>
                  <a:gd name="connsiteX1" fmla="*/ 0 w 9291783"/>
                  <a:gd name="connsiteY1" fmla="*/ 1699491 h 4285673"/>
                  <a:gd name="connsiteX2" fmla="*/ 572655 w 9291783"/>
                  <a:gd name="connsiteY2" fmla="*/ 1348509 h 4285673"/>
                  <a:gd name="connsiteX3" fmla="*/ 849745 w 9291783"/>
                  <a:gd name="connsiteY3" fmla="*/ 1902692 h 4285673"/>
                  <a:gd name="connsiteX4" fmla="*/ 1219200 w 9291783"/>
                  <a:gd name="connsiteY4" fmla="*/ 1662544 h 4285673"/>
                  <a:gd name="connsiteX5" fmla="*/ 2087417 w 9291783"/>
                  <a:gd name="connsiteY5" fmla="*/ 2586181 h 4285673"/>
                  <a:gd name="connsiteX6" fmla="*/ 3214254 w 9291783"/>
                  <a:gd name="connsiteY6" fmla="*/ 1717965 h 4285673"/>
                  <a:gd name="connsiteX7" fmla="*/ 3491345 w 9291783"/>
                  <a:gd name="connsiteY7" fmla="*/ 858577 h 4285673"/>
                  <a:gd name="connsiteX8" fmla="*/ 4193309 w 9291783"/>
                  <a:gd name="connsiteY8" fmla="*/ 701963 h 4285673"/>
                  <a:gd name="connsiteX9" fmla="*/ 5190836 w 9291783"/>
                  <a:gd name="connsiteY9" fmla="*/ 240146 h 4285673"/>
                  <a:gd name="connsiteX10" fmla="*/ 5523345 w 9291783"/>
                  <a:gd name="connsiteY10" fmla="*/ 0 h 4285673"/>
                  <a:gd name="connsiteX11" fmla="*/ 6410036 w 9291783"/>
                  <a:gd name="connsiteY11" fmla="*/ 692322 h 4285673"/>
                  <a:gd name="connsiteX12" fmla="*/ 6797963 w 9291783"/>
                  <a:gd name="connsiteY12" fmla="*/ 387926 h 4285673"/>
                  <a:gd name="connsiteX13" fmla="*/ 7961746 w 9291783"/>
                  <a:gd name="connsiteY13" fmla="*/ 765143 h 4285673"/>
                  <a:gd name="connsiteX14" fmla="*/ 8682182 w 9291783"/>
                  <a:gd name="connsiteY14" fmla="*/ 646546 h 4285673"/>
                  <a:gd name="connsiteX15" fmla="*/ 9033163 w 9291783"/>
                  <a:gd name="connsiteY15" fmla="*/ 535709 h 4285673"/>
                  <a:gd name="connsiteX16" fmla="*/ 9291783 w 9291783"/>
                  <a:gd name="connsiteY16" fmla="*/ 1237674 h 4285673"/>
                  <a:gd name="connsiteX17" fmla="*/ 9273309 w 9291783"/>
                  <a:gd name="connsiteY17" fmla="*/ 2493818 h 4285673"/>
                  <a:gd name="connsiteX18" fmla="*/ 18473 w 9291783"/>
                  <a:gd name="connsiteY18" fmla="*/ 4285673 h 4285673"/>
                  <a:gd name="connsiteX0" fmla="*/ 18473 w 9291783"/>
                  <a:gd name="connsiteY0" fmla="*/ 4045527 h 4045527"/>
                  <a:gd name="connsiteX1" fmla="*/ 0 w 9291783"/>
                  <a:gd name="connsiteY1" fmla="*/ 1459345 h 4045527"/>
                  <a:gd name="connsiteX2" fmla="*/ 572655 w 9291783"/>
                  <a:gd name="connsiteY2" fmla="*/ 1108363 h 4045527"/>
                  <a:gd name="connsiteX3" fmla="*/ 849745 w 9291783"/>
                  <a:gd name="connsiteY3" fmla="*/ 1662546 h 4045527"/>
                  <a:gd name="connsiteX4" fmla="*/ 1219200 w 9291783"/>
                  <a:gd name="connsiteY4" fmla="*/ 1422398 h 4045527"/>
                  <a:gd name="connsiteX5" fmla="*/ 2087417 w 9291783"/>
                  <a:gd name="connsiteY5" fmla="*/ 2346035 h 4045527"/>
                  <a:gd name="connsiteX6" fmla="*/ 3214254 w 9291783"/>
                  <a:gd name="connsiteY6" fmla="*/ 1477819 h 4045527"/>
                  <a:gd name="connsiteX7" fmla="*/ 3491345 w 9291783"/>
                  <a:gd name="connsiteY7" fmla="*/ 618431 h 4045527"/>
                  <a:gd name="connsiteX8" fmla="*/ 4193309 w 9291783"/>
                  <a:gd name="connsiteY8" fmla="*/ 461817 h 4045527"/>
                  <a:gd name="connsiteX9" fmla="*/ 5190836 w 9291783"/>
                  <a:gd name="connsiteY9" fmla="*/ 0 h 4045527"/>
                  <a:gd name="connsiteX10" fmla="*/ 5837381 w 9291783"/>
                  <a:gd name="connsiteY10" fmla="*/ 628073 h 4045527"/>
                  <a:gd name="connsiteX11" fmla="*/ 6410036 w 9291783"/>
                  <a:gd name="connsiteY11" fmla="*/ 452176 h 4045527"/>
                  <a:gd name="connsiteX12" fmla="*/ 6797963 w 9291783"/>
                  <a:gd name="connsiteY12" fmla="*/ 147780 h 4045527"/>
                  <a:gd name="connsiteX13" fmla="*/ 7961746 w 9291783"/>
                  <a:gd name="connsiteY13" fmla="*/ 524997 h 4045527"/>
                  <a:gd name="connsiteX14" fmla="*/ 8682182 w 9291783"/>
                  <a:gd name="connsiteY14" fmla="*/ 406400 h 4045527"/>
                  <a:gd name="connsiteX15" fmla="*/ 9033163 w 9291783"/>
                  <a:gd name="connsiteY15" fmla="*/ 295563 h 4045527"/>
                  <a:gd name="connsiteX16" fmla="*/ 9291783 w 9291783"/>
                  <a:gd name="connsiteY16" fmla="*/ 997528 h 4045527"/>
                  <a:gd name="connsiteX17" fmla="*/ 9273309 w 9291783"/>
                  <a:gd name="connsiteY17" fmla="*/ 2253672 h 4045527"/>
                  <a:gd name="connsiteX18" fmla="*/ 18473 w 9291783"/>
                  <a:gd name="connsiteY18" fmla="*/ 4045527 h 404552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087417 w 9291783"/>
                  <a:gd name="connsiteY5" fmla="*/ 2198255 h 3897747"/>
                  <a:gd name="connsiteX6" fmla="*/ 3214254 w 9291783"/>
                  <a:gd name="connsiteY6" fmla="*/ 1330039 h 3897747"/>
                  <a:gd name="connsiteX7" fmla="*/ 3491345 w 9291783"/>
                  <a:gd name="connsiteY7" fmla="*/ 470651 h 3897747"/>
                  <a:gd name="connsiteX8" fmla="*/ 4193309 w 9291783"/>
                  <a:gd name="connsiteY8" fmla="*/ 314037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087417 w 9291783"/>
                  <a:gd name="connsiteY5" fmla="*/ 2198255 h 3897747"/>
                  <a:gd name="connsiteX6" fmla="*/ 3214254 w 9291783"/>
                  <a:gd name="connsiteY6" fmla="*/ 1330039 h 3897747"/>
                  <a:gd name="connsiteX7" fmla="*/ 3491345 w 9291783"/>
                  <a:gd name="connsiteY7" fmla="*/ 470651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087417 w 9291783"/>
                  <a:gd name="connsiteY5" fmla="*/ 2198255 h 3897747"/>
                  <a:gd name="connsiteX6" fmla="*/ 3214254 w 9291783"/>
                  <a:gd name="connsiteY6" fmla="*/ 1330039 h 3897747"/>
                  <a:gd name="connsiteX7" fmla="*/ 3657600 w 9291783"/>
                  <a:gd name="connsiteY7" fmla="*/ 729269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087417 w 9291783"/>
                  <a:gd name="connsiteY5" fmla="*/ 2198255 h 3897747"/>
                  <a:gd name="connsiteX6" fmla="*/ 3214254 w 9291783"/>
                  <a:gd name="connsiteY6" fmla="*/ 1330039 h 3897747"/>
                  <a:gd name="connsiteX7" fmla="*/ 3657600 w 9291783"/>
                  <a:gd name="connsiteY7" fmla="*/ 729269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364508 w 9291783"/>
                  <a:gd name="connsiteY5" fmla="*/ 1145310 h 3897747"/>
                  <a:gd name="connsiteX6" fmla="*/ 3214254 w 9291783"/>
                  <a:gd name="connsiteY6" fmla="*/ 1330039 h 3897747"/>
                  <a:gd name="connsiteX7" fmla="*/ 3657600 w 9291783"/>
                  <a:gd name="connsiteY7" fmla="*/ 729269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364508 w 9291783"/>
                  <a:gd name="connsiteY5" fmla="*/ 1145310 h 3897747"/>
                  <a:gd name="connsiteX6" fmla="*/ 3214254 w 9291783"/>
                  <a:gd name="connsiteY6" fmla="*/ 1330039 h 3897747"/>
                  <a:gd name="connsiteX7" fmla="*/ 3657600 w 9291783"/>
                  <a:gd name="connsiteY7" fmla="*/ 729269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8312727 w 9291783"/>
                  <a:gd name="connsiteY15" fmla="*/ 665019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364508 w 9291783"/>
                  <a:gd name="connsiteY5" fmla="*/ 1145310 h 3897747"/>
                  <a:gd name="connsiteX6" fmla="*/ 3214254 w 9291783"/>
                  <a:gd name="connsiteY6" fmla="*/ 1330039 h 3897747"/>
                  <a:gd name="connsiteX7" fmla="*/ 3657600 w 9291783"/>
                  <a:gd name="connsiteY7" fmla="*/ 729269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312727 w 9291783"/>
                  <a:gd name="connsiteY14" fmla="*/ 665019 h 3897747"/>
                  <a:gd name="connsiteX15" fmla="*/ 9291783 w 9291783"/>
                  <a:gd name="connsiteY15" fmla="*/ 849748 h 3897747"/>
                  <a:gd name="connsiteX16" fmla="*/ 9273309 w 9291783"/>
                  <a:gd name="connsiteY16" fmla="*/ 2105892 h 3897747"/>
                  <a:gd name="connsiteX17" fmla="*/ 18473 w 9291783"/>
                  <a:gd name="connsiteY17" fmla="*/ 3897747 h 3897747"/>
                  <a:gd name="connsiteX0" fmla="*/ 18473 w 9291783"/>
                  <a:gd name="connsiteY0" fmla="*/ 3713020 h 3713020"/>
                  <a:gd name="connsiteX1" fmla="*/ 0 w 9291783"/>
                  <a:gd name="connsiteY1" fmla="*/ 1126838 h 3713020"/>
                  <a:gd name="connsiteX2" fmla="*/ 572655 w 9291783"/>
                  <a:gd name="connsiteY2" fmla="*/ 775856 h 3713020"/>
                  <a:gd name="connsiteX3" fmla="*/ 849745 w 9291783"/>
                  <a:gd name="connsiteY3" fmla="*/ 1330039 h 3713020"/>
                  <a:gd name="connsiteX4" fmla="*/ 1219200 w 9291783"/>
                  <a:gd name="connsiteY4" fmla="*/ 1089891 h 3713020"/>
                  <a:gd name="connsiteX5" fmla="*/ 2364508 w 9291783"/>
                  <a:gd name="connsiteY5" fmla="*/ 960583 h 3713020"/>
                  <a:gd name="connsiteX6" fmla="*/ 3214254 w 9291783"/>
                  <a:gd name="connsiteY6" fmla="*/ 1145312 h 3713020"/>
                  <a:gd name="connsiteX7" fmla="*/ 3657600 w 9291783"/>
                  <a:gd name="connsiteY7" fmla="*/ 544542 h 3713020"/>
                  <a:gd name="connsiteX8" fmla="*/ 4193309 w 9291783"/>
                  <a:gd name="connsiteY8" fmla="*/ 277092 h 3713020"/>
                  <a:gd name="connsiteX9" fmla="*/ 5061527 w 9291783"/>
                  <a:gd name="connsiteY9" fmla="*/ 350984 h 3713020"/>
                  <a:gd name="connsiteX10" fmla="*/ 5837381 w 9291783"/>
                  <a:gd name="connsiteY10" fmla="*/ 295566 h 3713020"/>
                  <a:gd name="connsiteX11" fmla="*/ 6410036 w 9291783"/>
                  <a:gd name="connsiteY11" fmla="*/ 119669 h 3713020"/>
                  <a:gd name="connsiteX12" fmla="*/ 7296727 w 9291783"/>
                  <a:gd name="connsiteY12" fmla="*/ 0 h 3713020"/>
                  <a:gd name="connsiteX13" fmla="*/ 7961746 w 9291783"/>
                  <a:gd name="connsiteY13" fmla="*/ 192490 h 3713020"/>
                  <a:gd name="connsiteX14" fmla="*/ 8312727 w 9291783"/>
                  <a:gd name="connsiteY14" fmla="*/ 480292 h 3713020"/>
                  <a:gd name="connsiteX15" fmla="*/ 9291783 w 9291783"/>
                  <a:gd name="connsiteY15" fmla="*/ 665021 h 3713020"/>
                  <a:gd name="connsiteX16" fmla="*/ 9273309 w 9291783"/>
                  <a:gd name="connsiteY16" fmla="*/ 1921165 h 3713020"/>
                  <a:gd name="connsiteX17" fmla="*/ 18473 w 9291783"/>
                  <a:gd name="connsiteY17" fmla="*/ 3713020 h 3713020"/>
                  <a:gd name="connsiteX0" fmla="*/ 18473 w 9291783"/>
                  <a:gd name="connsiteY0" fmla="*/ 3713020 h 3713020"/>
                  <a:gd name="connsiteX1" fmla="*/ 0 w 9291783"/>
                  <a:gd name="connsiteY1" fmla="*/ 1126838 h 3713020"/>
                  <a:gd name="connsiteX2" fmla="*/ 572655 w 9291783"/>
                  <a:gd name="connsiteY2" fmla="*/ 775856 h 3713020"/>
                  <a:gd name="connsiteX3" fmla="*/ 849745 w 9291783"/>
                  <a:gd name="connsiteY3" fmla="*/ 1330039 h 3713020"/>
                  <a:gd name="connsiteX4" fmla="*/ 1219200 w 9291783"/>
                  <a:gd name="connsiteY4" fmla="*/ 1089891 h 3713020"/>
                  <a:gd name="connsiteX5" fmla="*/ 2364508 w 9291783"/>
                  <a:gd name="connsiteY5" fmla="*/ 960583 h 3713020"/>
                  <a:gd name="connsiteX6" fmla="*/ 3214254 w 9291783"/>
                  <a:gd name="connsiteY6" fmla="*/ 1145312 h 3713020"/>
                  <a:gd name="connsiteX7" fmla="*/ 3657600 w 9291783"/>
                  <a:gd name="connsiteY7" fmla="*/ 544542 h 3713020"/>
                  <a:gd name="connsiteX8" fmla="*/ 4193309 w 9291783"/>
                  <a:gd name="connsiteY8" fmla="*/ 277092 h 3713020"/>
                  <a:gd name="connsiteX9" fmla="*/ 5061527 w 9291783"/>
                  <a:gd name="connsiteY9" fmla="*/ 350984 h 3713020"/>
                  <a:gd name="connsiteX10" fmla="*/ 5837381 w 9291783"/>
                  <a:gd name="connsiteY10" fmla="*/ 295566 h 3713020"/>
                  <a:gd name="connsiteX11" fmla="*/ 6668654 w 9291783"/>
                  <a:gd name="connsiteY11" fmla="*/ 322869 h 3713020"/>
                  <a:gd name="connsiteX12" fmla="*/ 7296727 w 9291783"/>
                  <a:gd name="connsiteY12" fmla="*/ 0 h 3713020"/>
                  <a:gd name="connsiteX13" fmla="*/ 7961746 w 9291783"/>
                  <a:gd name="connsiteY13" fmla="*/ 192490 h 3713020"/>
                  <a:gd name="connsiteX14" fmla="*/ 8312727 w 9291783"/>
                  <a:gd name="connsiteY14" fmla="*/ 480292 h 3713020"/>
                  <a:gd name="connsiteX15" fmla="*/ 9291783 w 9291783"/>
                  <a:gd name="connsiteY15" fmla="*/ 665021 h 3713020"/>
                  <a:gd name="connsiteX16" fmla="*/ 9273309 w 9291783"/>
                  <a:gd name="connsiteY16" fmla="*/ 1921165 h 3713020"/>
                  <a:gd name="connsiteX17" fmla="*/ 18473 w 9291783"/>
                  <a:gd name="connsiteY17" fmla="*/ 3713020 h 3713020"/>
                  <a:gd name="connsiteX0" fmla="*/ 18473 w 9291783"/>
                  <a:gd name="connsiteY0" fmla="*/ 3713020 h 3713020"/>
                  <a:gd name="connsiteX1" fmla="*/ 0 w 9291783"/>
                  <a:gd name="connsiteY1" fmla="*/ 1126838 h 3713020"/>
                  <a:gd name="connsiteX2" fmla="*/ 572655 w 9291783"/>
                  <a:gd name="connsiteY2" fmla="*/ 775856 h 3713020"/>
                  <a:gd name="connsiteX3" fmla="*/ 849745 w 9291783"/>
                  <a:gd name="connsiteY3" fmla="*/ 1330039 h 3713020"/>
                  <a:gd name="connsiteX4" fmla="*/ 1219200 w 9291783"/>
                  <a:gd name="connsiteY4" fmla="*/ 1089891 h 3713020"/>
                  <a:gd name="connsiteX5" fmla="*/ 2364508 w 9291783"/>
                  <a:gd name="connsiteY5" fmla="*/ 960583 h 3713020"/>
                  <a:gd name="connsiteX6" fmla="*/ 3214254 w 9291783"/>
                  <a:gd name="connsiteY6" fmla="*/ 1145312 h 3713020"/>
                  <a:gd name="connsiteX7" fmla="*/ 3657600 w 9291783"/>
                  <a:gd name="connsiteY7" fmla="*/ 544542 h 3713020"/>
                  <a:gd name="connsiteX8" fmla="*/ 4193309 w 9291783"/>
                  <a:gd name="connsiteY8" fmla="*/ 277092 h 3713020"/>
                  <a:gd name="connsiteX9" fmla="*/ 5061527 w 9291783"/>
                  <a:gd name="connsiteY9" fmla="*/ 350984 h 3713020"/>
                  <a:gd name="connsiteX10" fmla="*/ 6299199 w 9291783"/>
                  <a:gd name="connsiteY10" fmla="*/ 757385 h 3713020"/>
                  <a:gd name="connsiteX11" fmla="*/ 6668654 w 9291783"/>
                  <a:gd name="connsiteY11" fmla="*/ 322869 h 3713020"/>
                  <a:gd name="connsiteX12" fmla="*/ 7296727 w 9291783"/>
                  <a:gd name="connsiteY12" fmla="*/ 0 h 3713020"/>
                  <a:gd name="connsiteX13" fmla="*/ 7961746 w 9291783"/>
                  <a:gd name="connsiteY13" fmla="*/ 192490 h 3713020"/>
                  <a:gd name="connsiteX14" fmla="*/ 8312727 w 9291783"/>
                  <a:gd name="connsiteY14" fmla="*/ 480292 h 3713020"/>
                  <a:gd name="connsiteX15" fmla="*/ 9291783 w 9291783"/>
                  <a:gd name="connsiteY15" fmla="*/ 665021 h 3713020"/>
                  <a:gd name="connsiteX16" fmla="*/ 9273309 w 9291783"/>
                  <a:gd name="connsiteY16" fmla="*/ 1921165 h 3713020"/>
                  <a:gd name="connsiteX17" fmla="*/ 18473 w 9291783"/>
                  <a:gd name="connsiteY17" fmla="*/ 3713020 h 3713020"/>
                  <a:gd name="connsiteX0" fmla="*/ 18473 w 9291783"/>
                  <a:gd name="connsiteY0" fmla="*/ 3713020 h 3713020"/>
                  <a:gd name="connsiteX1" fmla="*/ 0 w 9291783"/>
                  <a:gd name="connsiteY1" fmla="*/ 1126838 h 3713020"/>
                  <a:gd name="connsiteX2" fmla="*/ 572655 w 9291783"/>
                  <a:gd name="connsiteY2" fmla="*/ 775856 h 3713020"/>
                  <a:gd name="connsiteX3" fmla="*/ 849745 w 9291783"/>
                  <a:gd name="connsiteY3" fmla="*/ 1330039 h 3713020"/>
                  <a:gd name="connsiteX4" fmla="*/ 1219200 w 9291783"/>
                  <a:gd name="connsiteY4" fmla="*/ 1089891 h 3713020"/>
                  <a:gd name="connsiteX5" fmla="*/ 2364508 w 9291783"/>
                  <a:gd name="connsiteY5" fmla="*/ 960583 h 3713020"/>
                  <a:gd name="connsiteX6" fmla="*/ 3214254 w 9291783"/>
                  <a:gd name="connsiteY6" fmla="*/ 1145312 h 3713020"/>
                  <a:gd name="connsiteX7" fmla="*/ 3657600 w 9291783"/>
                  <a:gd name="connsiteY7" fmla="*/ 544542 h 3713020"/>
                  <a:gd name="connsiteX8" fmla="*/ 4193309 w 9291783"/>
                  <a:gd name="connsiteY8" fmla="*/ 277092 h 3713020"/>
                  <a:gd name="connsiteX9" fmla="*/ 4950691 w 9291783"/>
                  <a:gd name="connsiteY9" fmla="*/ 1237675 h 3713020"/>
                  <a:gd name="connsiteX10" fmla="*/ 6299199 w 9291783"/>
                  <a:gd name="connsiteY10" fmla="*/ 757385 h 3713020"/>
                  <a:gd name="connsiteX11" fmla="*/ 6668654 w 9291783"/>
                  <a:gd name="connsiteY11" fmla="*/ 322869 h 3713020"/>
                  <a:gd name="connsiteX12" fmla="*/ 7296727 w 9291783"/>
                  <a:gd name="connsiteY12" fmla="*/ 0 h 3713020"/>
                  <a:gd name="connsiteX13" fmla="*/ 7961746 w 9291783"/>
                  <a:gd name="connsiteY13" fmla="*/ 192490 h 3713020"/>
                  <a:gd name="connsiteX14" fmla="*/ 8312727 w 9291783"/>
                  <a:gd name="connsiteY14" fmla="*/ 480292 h 3713020"/>
                  <a:gd name="connsiteX15" fmla="*/ 9291783 w 9291783"/>
                  <a:gd name="connsiteY15" fmla="*/ 665021 h 3713020"/>
                  <a:gd name="connsiteX16" fmla="*/ 9273309 w 9291783"/>
                  <a:gd name="connsiteY16" fmla="*/ 1921165 h 3713020"/>
                  <a:gd name="connsiteX17" fmla="*/ 18473 w 9291783"/>
                  <a:gd name="connsiteY17" fmla="*/ 3713020 h 3713020"/>
                  <a:gd name="connsiteX0" fmla="*/ 18473 w 9291783"/>
                  <a:gd name="connsiteY0" fmla="*/ 3713020 h 3713020"/>
                  <a:gd name="connsiteX1" fmla="*/ 0 w 9291783"/>
                  <a:gd name="connsiteY1" fmla="*/ 1126838 h 3713020"/>
                  <a:gd name="connsiteX2" fmla="*/ 572655 w 9291783"/>
                  <a:gd name="connsiteY2" fmla="*/ 775856 h 3713020"/>
                  <a:gd name="connsiteX3" fmla="*/ 849745 w 9291783"/>
                  <a:gd name="connsiteY3" fmla="*/ 1330039 h 3713020"/>
                  <a:gd name="connsiteX4" fmla="*/ 1219200 w 9291783"/>
                  <a:gd name="connsiteY4" fmla="*/ 1089891 h 3713020"/>
                  <a:gd name="connsiteX5" fmla="*/ 2364508 w 9291783"/>
                  <a:gd name="connsiteY5" fmla="*/ 960583 h 3713020"/>
                  <a:gd name="connsiteX6" fmla="*/ 3214254 w 9291783"/>
                  <a:gd name="connsiteY6" fmla="*/ 1145312 h 3713020"/>
                  <a:gd name="connsiteX7" fmla="*/ 3657600 w 9291783"/>
                  <a:gd name="connsiteY7" fmla="*/ 544542 h 3713020"/>
                  <a:gd name="connsiteX8" fmla="*/ 4267200 w 9291783"/>
                  <a:gd name="connsiteY8" fmla="*/ 849747 h 3713020"/>
                  <a:gd name="connsiteX9" fmla="*/ 4950691 w 9291783"/>
                  <a:gd name="connsiteY9" fmla="*/ 1237675 h 3713020"/>
                  <a:gd name="connsiteX10" fmla="*/ 6299199 w 9291783"/>
                  <a:gd name="connsiteY10" fmla="*/ 757385 h 3713020"/>
                  <a:gd name="connsiteX11" fmla="*/ 6668654 w 9291783"/>
                  <a:gd name="connsiteY11" fmla="*/ 322869 h 3713020"/>
                  <a:gd name="connsiteX12" fmla="*/ 7296727 w 9291783"/>
                  <a:gd name="connsiteY12" fmla="*/ 0 h 3713020"/>
                  <a:gd name="connsiteX13" fmla="*/ 7961746 w 9291783"/>
                  <a:gd name="connsiteY13" fmla="*/ 192490 h 3713020"/>
                  <a:gd name="connsiteX14" fmla="*/ 8312727 w 9291783"/>
                  <a:gd name="connsiteY14" fmla="*/ 480292 h 3713020"/>
                  <a:gd name="connsiteX15" fmla="*/ 9291783 w 9291783"/>
                  <a:gd name="connsiteY15" fmla="*/ 665021 h 3713020"/>
                  <a:gd name="connsiteX16" fmla="*/ 9273309 w 9291783"/>
                  <a:gd name="connsiteY16" fmla="*/ 1921165 h 3713020"/>
                  <a:gd name="connsiteX17" fmla="*/ 18473 w 9291783"/>
                  <a:gd name="connsiteY17" fmla="*/ 3713020 h 3713020"/>
                  <a:gd name="connsiteX0" fmla="*/ 18473 w 9291783"/>
                  <a:gd name="connsiteY0" fmla="*/ 3713020 h 3713020"/>
                  <a:gd name="connsiteX1" fmla="*/ 0 w 9291783"/>
                  <a:gd name="connsiteY1" fmla="*/ 1126838 h 3713020"/>
                  <a:gd name="connsiteX2" fmla="*/ 572655 w 9291783"/>
                  <a:gd name="connsiteY2" fmla="*/ 775856 h 3713020"/>
                  <a:gd name="connsiteX3" fmla="*/ 849745 w 9291783"/>
                  <a:gd name="connsiteY3" fmla="*/ 1330039 h 3713020"/>
                  <a:gd name="connsiteX4" fmla="*/ 1219200 w 9291783"/>
                  <a:gd name="connsiteY4" fmla="*/ 1089891 h 3713020"/>
                  <a:gd name="connsiteX5" fmla="*/ 2364508 w 9291783"/>
                  <a:gd name="connsiteY5" fmla="*/ 960583 h 3713020"/>
                  <a:gd name="connsiteX6" fmla="*/ 3214254 w 9291783"/>
                  <a:gd name="connsiteY6" fmla="*/ 1145312 h 3713020"/>
                  <a:gd name="connsiteX7" fmla="*/ 3657600 w 9291783"/>
                  <a:gd name="connsiteY7" fmla="*/ 950942 h 3713020"/>
                  <a:gd name="connsiteX8" fmla="*/ 4267200 w 9291783"/>
                  <a:gd name="connsiteY8" fmla="*/ 849747 h 3713020"/>
                  <a:gd name="connsiteX9" fmla="*/ 4950691 w 9291783"/>
                  <a:gd name="connsiteY9" fmla="*/ 1237675 h 3713020"/>
                  <a:gd name="connsiteX10" fmla="*/ 6299199 w 9291783"/>
                  <a:gd name="connsiteY10" fmla="*/ 757385 h 3713020"/>
                  <a:gd name="connsiteX11" fmla="*/ 6668654 w 9291783"/>
                  <a:gd name="connsiteY11" fmla="*/ 322869 h 3713020"/>
                  <a:gd name="connsiteX12" fmla="*/ 7296727 w 9291783"/>
                  <a:gd name="connsiteY12" fmla="*/ 0 h 3713020"/>
                  <a:gd name="connsiteX13" fmla="*/ 7961746 w 9291783"/>
                  <a:gd name="connsiteY13" fmla="*/ 192490 h 3713020"/>
                  <a:gd name="connsiteX14" fmla="*/ 8312727 w 9291783"/>
                  <a:gd name="connsiteY14" fmla="*/ 480292 h 3713020"/>
                  <a:gd name="connsiteX15" fmla="*/ 9291783 w 9291783"/>
                  <a:gd name="connsiteY15" fmla="*/ 665021 h 3713020"/>
                  <a:gd name="connsiteX16" fmla="*/ 9273309 w 9291783"/>
                  <a:gd name="connsiteY16" fmla="*/ 1921165 h 3713020"/>
                  <a:gd name="connsiteX17" fmla="*/ 18473 w 9291783"/>
                  <a:gd name="connsiteY17" fmla="*/ 3713020 h 3713020"/>
                  <a:gd name="connsiteX0" fmla="*/ 18473 w 9291783"/>
                  <a:gd name="connsiteY0" fmla="*/ 3713020 h 3713020"/>
                  <a:gd name="connsiteX1" fmla="*/ 0 w 9291783"/>
                  <a:gd name="connsiteY1" fmla="*/ 1126838 h 3713020"/>
                  <a:gd name="connsiteX2" fmla="*/ 572655 w 9291783"/>
                  <a:gd name="connsiteY2" fmla="*/ 775856 h 3713020"/>
                  <a:gd name="connsiteX3" fmla="*/ 849745 w 9291783"/>
                  <a:gd name="connsiteY3" fmla="*/ 1330039 h 3713020"/>
                  <a:gd name="connsiteX4" fmla="*/ 1219200 w 9291783"/>
                  <a:gd name="connsiteY4" fmla="*/ 1089891 h 3713020"/>
                  <a:gd name="connsiteX5" fmla="*/ 2364508 w 9291783"/>
                  <a:gd name="connsiteY5" fmla="*/ 960583 h 3713020"/>
                  <a:gd name="connsiteX6" fmla="*/ 3048000 w 9291783"/>
                  <a:gd name="connsiteY6" fmla="*/ 591130 h 3713020"/>
                  <a:gd name="connsiteX7" fmla="*/ 3657600 w 9291783"/>
                  <a:gd name="connsiteY7" fmla="*/ 950942 h 3713020"/>
                  <a:gd name="connsiteX8" fmla="*/ 4267200 w 9291783"/>
                  <a:gd name="connsiteY8" fmla="*/ 849747 h 3713020"/>
                  <a:gd name="connsiteX9" fmla="*/ 4950691 w 9291783"/>
                  <a:gd name="connsiteY9" fmla="*/ 1237675 h 3713020"/>
                  <a:gd name="connsiteX10" fmla="*/ 6299199 w 9291783"/>
                  <a:gd name="connsiteY10" fmla="*/ 757385 h 3713020"/>
                  <a:gd name="connsiteX11" fmla="*/ 6668654 w 9291783"/>
                  <a:gd name="connsiteY11" fmla="*/ 322869 h 3713020"/>
                  <a:gd name="connsiteX12" fmla="*/ 7296727 w 9291783"/>
                  <a:gd name="connsiteY12" fmla="*/ 0 h 3713020"/>
                  <a:gd name="connsiteX13" fmla="*/ 7961746 w 9291783"/>
                  <a:gd name="connsiteY13" fmla="*/ 192490 h 3713020"/>
                  <a:gd name="connsiteX14" fmla="*/ 8312727 w 9291783"/>
                  <a:gd name="connsiteY14" fmla="*/ 480292 h 3713020"/>
                  <a:gd name="connsiteX15" fmla="*/ 9291783 w 9291783"/>
                  <a:gd name="connsiteY15" fmla="*/ 665021 h 3713020"/>
                  <a:gd name="connsiteX16" fmla="*/ 9273309 w 9291783"/>
                  <a:gd name="connsiteY16" fmla="*/ 1921165 h 3713020"/>
                  <a:gd name="connsiteX17" fmla="*/ 18473 w 9291783"/>
                  <a:gd name="connsiteY17" fmla="*/ 3713020 h 3713020"/>
                  <a:gd name="connsiteX0" fmla="*/ 18473 w 9291783"/>
                  <a:gd name="connsiteY0" fmla="*/ 3713020 h 3713020"/>
                  <a:gd name="connsiteX1" fmla="*/ 0 w 9291783"/>
                  <a:gd name="connsiteY1" fmla="*/ 1126838 h 3713020"/>
                  <a:gd name="connsiteX2" fmla="*/ 572655 w 9291783"/>
                  <a:gd name="connsiteY2" fmla="*/ 775856 h 3713020"/>
                  <a:gd name="connsiteX3" fmla="*/ 849745 w 9291783"/>
                  <a:gd name="connsiteY3" fmla="*/ 1330039 h 3713020"/>
                  <a:gd name="connsiteX4" fmla="*/ 1219200 w 9291783"/>
                  <a:gd name="connsiteY4" fmla="*/ 1089891 h 3713020"/>
                  <a:gd name="connsiteX5" fmla="*/ 2161308 w 9291783"/>
                  <a:gd name="connsiteY5" fmla="*/ 332511 h 3713020"/>
                  <a:gd name="connsiteX6" fmla="*/ 3048000 w 9291783"/>
                  <a:gd name="connsiteY6" fmla="*/ 591130 h 3713020"/>
                  <a:gd name="connsiteX7" fmla="*/ 3657600 w 9291783"/>
                  <a:gd name="connsiteY7" fmla="*/ 950942 h 3713020"/>
                  <a:gd name="connsiteX8" fmla="*/ 4267200 w 9291783"/>
                  <a:gd name="connsiteY8" fmla="*/ 849747 h 3713020"/>
                  <a:gd name="connsiteX9" fmla="*/ 4950691 w 9291783"/>
                  <a:gd name="connsiteY9" fmla="*/ 1237675 h 3713020"/>
                  <a:gd name="connsiteX10" fmla="*/ 6299199 w 9291783"/>
                  <a:gd name="connsiteY10" fmla="*/ 757385 h 3713020"/>
                  <a:gd name="connsiteX11" fmla="*/ 6668654 w 9291783"/>
                  <a:gd name="connsiteY11" fmla="*/ 322869 h 3713020"/>
                  <a:gd name="connsiteX12" fmla="*/ 7296727 w 9291783"/>
                  <a:gd name="connsiteY12" fmla="*/ 0 h 3713020"/>
                  <a:gd name="connsiteX13" fmla="*/ 7961746 w 9291783"/>
                  <a:gd name="connsiteY13" fmla="*/ 192490 h 3713020"/>
                  <a:gd name="connsiteX14" fmla="*/ 8312727 w 9291783"/>
                  <a:gd name="connsiteY14" fmla="*/ 480292 h 3713020"/>
                  <a:gd name="connsiteX15" fmla="*/ 9291783 w 9291783"/>
                  <a:gd name="connsiteY15" fmla="*/ 665021 h 3713020"/>
                  <a:gd name="connsiteX16" fmla="*/ 9273309 w 9291783"/>
                  <a:gd name="connsiteY16" fmla="*/ 1921165 h 3713020"/>
                  <a:gd name="connsiteX17" fmla="*/ 18473 w 9291783"/>
                  <a:gd name="connsiteY17" fmla="*/ 3713020 h 3713020"/>
                  <a:gd name="connsiteX0" fmla="*/ 18473 w 9291783"/>
                  <a:gd name="connsiteY0" fmla="*/ 3713020 h 3713020"/>
                  <a:gd name="connsiteX1" fmla="*/ 0 w 9291783"/>
                  <a:gd name="connsiteY1" fmla="*/ 1126838 h 3713020"/>
                  <a:gd name="connsiteX2" fmla="*/ 572655 w 9291783"/>
                  <a:gd name="connsiteY2" fmla="*/ 775856 h 3713020"/>
                  <a:gd name="connsiteX3" fmla="*/ 849745 w 9291783"/>
                  <a:gd name="connsiteY3" fmla="*/ 1330039 h 3713020"/>
                  <a:gd name="connsiteX4" fmla="*/ 1551709 w 9291783"/>
                  <a:gd name="connsiteY4" fmla="*/ 18473 h 3713020"/>
                  <a:gd name="connsiteX5" fmla="*/ 2161308 w 9291783"/>
                  <a:gd name="connsiteY5" fmla="*/ 332511 h 3713020"/>
                  <a:gd name="connsiteX6" fmla="*/ 3048000 w 9291783"/>
                  <a:gd name="connsiteY6" fmla="*/ 591130 h 3713020"/>
                  <a:gd name="connsiteX7" fmla="*/ 3657600 w 9291783"/>
                  <a:gd name="connsiteY7" fmla="*/ 950942 h 3713020"/>
                  <a:gd name="connsiteX8" fmla="*/ 4267200 w 9291783"/>
                  <a:gd name="connsiteY8" fmla="*/ 849747 h 3713020"/>
                  <a:gd name="connsiteX9" fmla="*/ 4950691 w 9291783"/>
                  <a:gd name="connsiteY9" fmla="*/ 1237675 h 3713020"/>
                  <a:gd name="connsiteX10" fmla="*/ 6299199 w 9291783"/>
                  <a:gd name="connsiteY10" fmla="*/ 757385 h 3713020"/>
                  <a:gd name="connsiteX11" fmla="*/ 6668654 w 9291783"/>
                  <a:gd name="connsiteY11" fmla="*/ 322869 h 3713020"/>
                  <a:gd name="connsiteX12" fmla="*/ 7296727 w 9291783"/>
                  <a:gd name="connsiteY12" fmla="*/ 0 h 3713020"/>
                  <a:gd name="connsiteX13" fmla="*/ 7961746 w 9291783"/>
                  <a:gd name="connsiteY13" fmla="*/ 192490 h 3713020"/>
                  <a:gd name="connsiteX14" fmla="*/ 8312727 w 9291783"/>
                  <a:gd name="connsiteY14" fmla="*/ 480292 h 3713020"/>
                  <a:gd name="connsiteX15" fmla="*/ 9291783 w 9291783"/>
                  <a:gd name="connsiteY15" fmla="*/ 665021 h 3713020"/>
                  <a:gd name="connsiteX16" fmla="*/ 9273309 w 9291783"/>
                  <a:gd name="connsiteY16" fmla="*/ 1921165 h 3713020"/>
                  <a:gd name="connsiteX17" fmla="*/ 18473 w 9291783"/>
                  <a:gd name="connsiteY17" fmla="*/ 3713020 h 3713020"/>
                  <a:gd name="connsiteX0" fmla="*/ 18473 w 9291783"/>
                  <a:gd name="connsiteY0" fmla="*/ 3731490 h 3731490"/>
                  <a:gd name="connsiteX1" fmla="*/ 0 w 9291783"/>
                  <a:gd name="connsiteY1" fmla="*/ 1145308 h 3731490"/>
                  <a:gd name="connsiteX2" fmla="*/ 572655 w 9291783"/>
                  <a:gd name="connsiteY2" fmla="*/ 794326 h 3731490"/>
                  <a:gd name="connsiteX3" fmla="*/ 1071418 w 9291783"/>
                  <a:gd name="connsiteY3" fmla="*/ 0 h 3731490"/>
                  <a:gd name="connsiteX4" fmla="*/ 1551709 w 9291783"/>
                  <a:gd name="connsiteY4" fmla="*/ 36943 h 3731490"/>
                  <a:gd name="connsiteX5" fmla="*/ 2161308 w 9291783"/>
                  <a:gd name="connsiteY5" fmla="*/ 350981 h 3731490"/>
                  <a:gd name="connsiteX6" fmla="*/ 3048000 w 9291783"/>
                  <a:gd name="connsiteY6" fmla="*/ 609600 h 3731490"/>
                  <a:gd name="connsiteX7" fmla="*/ 3657600 w 9291783"/>
                  <a:gd name="connsiteY7" fmla="*/ 969412 h 3731490"/>
                  <a:gd name="connsiteX8" fmla="*/ 4267200 w 9291783"/>
                  <a:gd name="connsiteY8" fmla="*/ 868217 h 3731490"/>
                  <a:gd name="connsiteX9" fmla="*/ 4950691 w 9291783"/>
                  <a:gd name="connsiteY9" fmla="*/ 1256145 h 3731490"/>
                  <a:gd name="connsiteX10" fmla="*/ 6299199 w 9291783"/>
                  <a:gd name="connsiteY10" fmla="*/ 775855 h 3731490"/>
                  <a:gd name="connsiteX11" fmla="*/ 6668654 w 9291783"/>
                  <a:gd name="connsiteY11" fmla="*/ 341339 h 3731490"/>
                  <a:gd name="connsiteX12" fmla="*/ 7296727 w 9291783"/>
                  <a:gd name="connsiteY12" fmla="*/ 18470 h 3731490"/>
                  <a:gd name="connsiteX13" fmla="*/ 7961746 w 9291783"/>
                  <a:gd name="connsiteY13" fmla="*/ 210960 h 3731490"/>
                  <a:gd name="connsiteX14" fmla="*/ 8312727 w 9291783"/>
                  <a:gd name="connsiteY14" fmla="*/ 498762 h 3731490"/>
                  <a:gd name="connsiteX15" fmla="*/ 9291783 w 9291783"/>
                  <a:gd name="connsiteY15" fmla="*/ 683491 h 3731490"/>
                  <a:gd name="connsiteX16" fmla="*/ 9273309 w 9291783"/>
                  <a:gd name="connsiteY16" fmla="*/ 1939635 h 3731490"/>
                  <a:gd name="connsiteX17" fmla="*/ 18473 w 9291783"/>
                  <a:gd name="connsiteY17" fmla="*/ 3731490 h 3731490"/>
                  <a:gd name="connsiteX0" fmla="*/ 18473 w 9291783"/>
                  <a:gd name="connsiteY0" fmla="*/ 3731490 h 3731490"/>
                  <a:gd name="connsiteX1" fmla="*/ 0 w 9291783"/>
                  <a:gd name="connsiteY1" fmla="*/ 1145308 h 3731490"/>
                  <a:gd name="connsiteX2" fmla="*/ 480292 w 9291783"/>
                  <a:gd name="connsiteY2" fmla="*/ 387926 h 3731490"/>
                  <a:gd name="connsiteX3" fmla="*/ 1071418 w 9291783"/>
                  <a:gd name="connsiteY3" fmla="*/ 0 h 3731490"/>
                  <a:gd name="connsiteX4" fmla="*/ 1551709 w 9291783"/>
                  <a:gd name="connsiteY4" fmla="*/ 36943 h 3731490"/>
                  <a:gd name="connsiteX5" fmla="*/ 2161308 w 9291783"/>
                  <a:gd name="connsiteY5" fmla="*/ 350981 h 3731490"/>
                  <a:gd name="connsiteX6" fmla="*/ 3048000 w 9291783"/>
                  <a:gd name="connsiteY6" fmla="*/ 609600 h 3731490"/>
                  <a:gd name="connsiteX7" fmla="*/ 3657600 w 9291783"/>
                  <a:gd name="connsiteY7" fmla="*/ 969412 h 3731490"/>
                  <a:gd name="connsiteX8" fmla="*/ 4267200 w 9291783"/>
                  <a:gd name="connsiteY8" fmla="*/ 868217 h 3731490"/>
                  <a:gd name="connsiteX9" fmla="*/ 4950691 w 9291783"/>
                  <a:gd name="connsiteY9" fmla="*/ 1256145 h 3731490"/>
                  <a:gd name="connsiteX10" fmla="*/ 6299199 w 9291783"/>
                  <a:gd name="connsiteY10" fmla="*/ 775855 h 3731490"/>
                  <a:gd name="connsiteX11" fmla="*/ 6668654 w 9291783"/>
                  <a:gd name="connsiteY11" fmla="*/ 341339 h 3731490"/>
                  <a:gd name="connsiteX12" fmla="*/ 7296727 w 9291783"/>
                  <a:gd name="connsiteY12" fmla="*/ 18470 h 3731490"/>
                  <a:gd name="connsiteX13" fmla="*/ 7961746 w 9291783"/>
                  <a:gd name="connsiteY13" fmla="*/ 210960 h 3731490"/>
                  <a:gd name="connsiteX14" fmla="*/ 8312727 w 9291783"/>
                  <a:gd name="connsiteY14" fmla="*/ 498762 h 3731490"/>
                  <a:gd name="connsiteX15" fmla="*/ 9291783 w 9291783"/>
                  <a:gd name="connsiteY15" fmla="*/ 683491 h 3731490"/>
                  <a:gd name="connsiteX16" fmla="*/ 9273309 w 9291783"/>
                  <a:gd name="connsiteY16" fmla="*/ 1939635 h 3731490"/>
                  <a:gd name="connsiteX17" fmla="*/ 18473 w 9291783"/>
                  <a:gd name="connsiteY17" fmla="*/ 3731490 h 3731490"/>
                  <a:gd name="connsiteX0" fmla="*/ 18473 w 9291783"/>
                  <a:gd name="connsiteY0" fmla="*/ 3731490 h 3731490"/>
                  <a:gd name="connsiteX1" fmla="*/ 0 w 9291783"/>
                  <a:gd name="connsiteY1" fmla="*/ 646545 h 3731490"/>
                  <a:gd name="connsiteX2" fmla="*/ 480292 w 9291783"/>
                  <a:gd name="connsiteY2" fmla="*/ 387926 h 3731490"/>
                  <a:gd name="connsiteX3" fmla="*/ 1071418 w 9291783"/>
                  <a:gd name="connsiteY3" fmla="*/ 0 h 3731490"/>
                  <a:gd name="connsiteX4" fmla="*/ 1551709 w 9291783"/>
                  <a:gd name="connsiteY4" fmla="*/ 36943 h 3731490"/>
                  <a:gd name="connsiteX5" fmla="*/ 2161308 w 9291783"/>
                  <a:gd name="connsiteY5" fmla="*/ 350981 h 3731490"/>
                  <a:gd name="connsiteX6" fmla="*/ 3048000 w 9291783"/>
                  <a:gd name="connsiteY6" fmla="*/ 609600 h 3731490"/>
                  <a:gd name="connsiteX7" fmla="*/ 3657600 w 9291783"/>
                  <a:gd name="connsiteY7" fmla="*/ 969412 h 3731490"/>
                  <a:gd name="connsiteX8" fmla="*/ 4267200 w 9291783"/>
                  <a:gd name="connsiteY8" fmla="*/ 868217 h 3731490"/>
                  <a:gd name="connsiteX9" fmla="*/ 4950691 w 9291783"/>
                  <a:gd name="connsiteY9" fmla="*/ 1256145 h 3731490"/>
                  <a:gd name="connsiteX10" fmla="*/ 6299199 w 9291783"/>
                  <a:gd name="connsiteY10" fmla="*/ 775855 h 3731490"/>
                  <a:gd name="connsiteX11" fmla="*/ 6668654 w 9291783"/>
                  <a:gd name="connsiteY11" fmla="*/ 341339 h 3731490"/>
                  <a:gd name="connsiteX12" fmla="*/ 7296727 w 9291783"/>
                  <a:gd name="connsiteY12" fmla="*/ 18470 h 3731490"/>
                  <a:gd name="connsiteX13" fmla="*/ 7961746 w 9291783"/>
                  <a:gd name="connsiteY13" fmla="*/ 210960 h 3731490"/>
                  <a:gd name="connsiteX14" fmla="*/ 8312727 w 9291783"/>
                  <a:gd name="connsiteY14" fmla="*/ 498762 h 3731490"/>
                  <a:gd name="connsiteX15" fmla="*/ 9291783 w 9291783"/>
                  <a:gd name="connsiteY15" fmla="*/ 683491 h 3731490"/>
                  <a:gd name="connsiteX16" fmla="*/ 9273309 w 9291783"/>
                  <a:gd name="connsiteY16" fmla="*/ 1939635 h 3731490"/>
                  <a:gd name="connsiteX17" fmla="*/ 18473 w 9291783"/>
                  <a:gd name="connsiteY17" fmla="*/ 3731490 h 3731490"/>
                  <a:gd name="connsiteX0" fmla="*/ 18473 w 9291783"/>
                  <a:gd name="connsiteY0" fmla="*/ 3731490 h 4470399"/>
                  <a:gd name="connsiteX1" fmla="*/ 0 w 9291783"/>
                  <a:gd name="connsiteY1" fmla="*/ 646545 h 4470399"/>
                  <a:gd name="connsiteX2" fmla="*/ 480292 w 9291783"/>
                  <a:gd name="connsiteY2" fmla="*/ 387926 h 4470399"/>
                  <a:gd name="connsiteX3" fmla="*/ 1071418 w 9291783"/>
                  <a:gd name="connsiteY3" fmla="*/ 0 h 4470399"/>
                  <a:gd name="connsiteX4" fmla="*/ 1551709 w 9291783"/>
                  <a:gd name="connsiteY4" fmla="*/ 36943 h 4470399"/>
                  <a:gd name="connsiteX5" fmla="*/ 2161308 w 9291783"/>
                  <a:gd name="connsiteY5" fmla="*/ 350981 h 4470399"/>
                  <a:gd name="connsiteX6" fmla="*/ 3048000 w 9291783"/>
                  <a:gd name="connsiteY6" fmla="*/ 609600 h 4470399"/>
                  <a:gd name="connsiteX7" fmla="*/ 3657600 w 9291783"/>
                  <a:gd name="connsiteY7" fmla="*/ 969412 h 4470399"/>
                  <a:gd name="connsiteX8" fmla="*/ 4267200 w 9291783"/>
                  <a:gd name="connsiteY8" fmla="*/ 868217 h 4470399"/>
                  <a:gd name="connsiteX9" fmla="*/ 4950691 w 9291783"/>
                  <a:gd name="connsiteY9" fmla="*/ 1256145 h 4470399"/>
                  <a:gd name="connsiteX10" fmla="*/ 6299199 w 9291783"/>
                  <a:gd name="connsiteY10" fmla="*/ 775855 h 4470399"/>
                  <a:gd name="connsiteX11" fmla="*/ 6668654 w 9291783"/>
                  <a:gd name="connsiteY11" fmla="*/ 341339 h 4470399"/>
                  <a:gd name="connsiteX12" fmla="*/ 7296727 w 9291783"/>
                  <a:gd name="connsiteY12" fmla="*/ 18470 h 4470399"/>
                  <a:gd name="connsiteX13" fmla="*/ 7961746 w 9291783"/>
                  <a:gd name="connsiteY13" fmla="*/ 210960 h 4470399"/>
                  <a:gd name="connsiteX14" fmla="*/ 8312727 w 9291783"/>
                  <a:gd name="connsiteY14" fmla="*/ 498762 h 4470399"/>
                  <a:gd name="connsiteX15" fmla="*/ 9291783 w 9291783"/>
                  <a:gd name="connsiteY15" fmla="*/ 683491 h 4470399"/>
                  <a:gd name="connsiteX16" fmla="*/ 9199418 w 9291783"/>
                  <a:gd name="connsiteY16" fmla="*/ 4470399 h 4470399"/>
                  <a:gd name="connsiteX17" fmla="*/ 18473 w 9291783"/>
                  <a:gd name="connsiteY17" fmla="*/ 3731490 h 4470399"/>
                  <a:gd name="connsiteX0" fmla="*/ 18473 w 9291783"/>
                  <a:gd name="connsiteY0" fmla="*/ 4488872 h 4488872"/>
                  <a:gd name="connsiteX1" fmla="*/ 0 w 9291783"/>
                  <a:gd name="connsiteY1" fmla="*/ 646545 h 4488872"/>
                  <a:gd name="connsiteX2" fmla="*/ 480292 w 9291783"/>
                  <a:gd name="connsiteY2" fmla="*/ 387926 h 4488872"/>
                  <a:gd name="connsiteX3" fmla="*/ 1071418 w 9291783"/>
                  <a:gd name="connsiteY3" fmla="*/ 0 h 4488872"/>
                  <a:gd name="connsiteX4" fmla="*/ 1551709 w 9291783"/>
                  <a:gd name="connsiteY4" fmla="*/ 36943 h 4488872"/>
                  <a:gd name="connsiteX5" fmla="*/ 2161308 w 9291783"/>
                  <a:gd name="connsiteY5" fmla="*/ 350981 h 4488872"/>
                  <a:gd name="connsiteX6" fmla="*/ 3048000 w 9291783"/>
                  <a:gd name="connsiteY6" fmla="*/ 609600 h 4488872"/>
                  <a:gd name="connsiteX7" fmla="*/ 3657600 w 9291783"/>
                  <a:gd name="connsiteY7" fmla="*/ 969412 h 4488872"/>
                  <a:gd name="connsiteX8" fmla="*/ 4267200 w 9291783"/>
                  <a:gd name="connsiteY8" fmla="*/ 868217 h 4488872"/>
                  <a:gd name="connsiteX9" fmla="*/ 4950691 w 9291783"/>
                  <a:gd name="connsiteY9" fmla="*/ 1256145 h 4488872"/>
                  <a:gd name="connsiteX10" fmla="*/ 6299199 w 9291783"/>
                  <a:gd name="connsiteY10" fmla="*/ 775855 h 4488872"/>
                  <a:gd name="connsiteX11" fmla="*/ 6668654 w 9291783"/>
                  <a:gd name="connsiteY11" fmla="*/ 341339 h 4488872"/>
                  <a:gd name="connsiteX12" fmla="*/ 7296727 w 9291783"/>
                  <a:gd name="connsiteY12" fmla="*/ 18470 h 4488872"/>
                  <a:gd name="connsiteX13" fmla="*/ 7961746 w 9291783"/>
                  <a:gd name="connsiteY13" fmla="*/ 210960 h 4488872"/>
                  <a:gd name="connsiteX14" fmla="*/ 8312727 w 9291783"/>
                  <a:gd name="connsiteY14" fmla="*/ 498762 h 4488872"/>
                  <a:gd name="connsiteX15" fmla="*/ 9291783 w 9291783"/>
                  <a:gd name="connsiteY15" fmla="*/ 683491 h 4488872"/>
                  <a:gd name="connsiteX16" fmla="*/ 9199418 w 9291783"/>
                  <a:gd name="connsiteY16" fmla="*/ 4470399 h 4488872"/>
                  <a:gd name="connsiteX17" fmla="*/ 18473 w 9291783"/>
                  <a:gd name="connsiteY17" fmla="*/ 4488872 h 4488872"/>
                  <a:gd name="connsiteX0" fmla="*/ 18473 w 9291783"/>
                  <a:gd name="connsiteY0" fmla="*/ 4488872 h 4488872"/>
                  <a:gd name="connsiteX1" fmla="*/ 0 w 9291783"/>
                  <a:gd name="connsiteY1" fmla="*/ 646545 h 4488872"/>
                  <a:gd name="connsiteX2" fmla="*/ 480292 w 9291783"/>
                  <a:gd name="connsiteY2" fmla="*/ 387926 h 4488872"/>
                  <a:gd name="connsiteX3" fmla="*/ 1071418 w 9291783"/>
                  <a:gd name="connsiteY3" fmla="*/ 0 h 4488872"/>
                  <a:gd name="connsiteX4" fmla="*/ 1551709 w 9291783"/>
                  <a:gd name="connsiteY4" fmla="*/ 36943 h 4488872"/>
                  <a:gd name="connsiteX5" fmla="*/ 2161308 w 9291783"/>
                  <a:gd name="connsiteY5" fmla="*/ 350981 h 4488872"/>
                  <a:gd name="connsiteX6" fmla="*/ 3048000 w 9291783"/>
                  <a:gd name="connsiteY6" fmla="*/ 609600 h 4488872"/>
                  <a:gd name="connsiteX7" fmla="*/ 3657600 w 9291783"/>
                  <a:gd name="connsiteY7" fmla="*/ 969412 h 4488872"/>
                  <a:gd name="connsiteX8" fmla="*/ 4267200 w 9291783"/>
                  <a:gd name="connsiteY8" fmla="*/ 868217 h 4488872"/>
                  <a:gd name="connsiteX9" fmla="*/ 4950691 w 9291783"/>
                  <a:gd name="connsiteY9" fmla="*/ 1256145 h 4488872"/>
                  <a:gd name="connsiteX10" fmla="*/ 6299199 w 9291783"/>
                  <a:gd name="connsiteY10" fmla="*/ 775855 h 4488872"/>
                  <a:gd name="connsiteX11" fmla="*/ 6668654 w 9291783"/>
                  <a:gd name="connsiteY11" fmla="*/ 341339 h 4488872"/>
                  <a:gd name="connsiteX12" fmla="*/ 7296727 w 9291783"/>
                  <a:gd name="connsiteY12" fmla="*/ 18470 h 4488872"/>
                  <a:gd name="connsiteX13" fmla="*/ 7961746 w 9291783"/>
                  <a:gd name="connsiteY13" fmla="*/ 210960 h 4488872"/>
                  <a:gd name="connsiteX14" fmla="*/ 8312727 w 9291783"/>
                  <a:gd name="connsiteY14" fmla="*/ 498762 h 4488872"/>
                  <a:gd name="connsiteX15" fmla="*/ 9291783 w 9291783"/>
                  <a:gd name="connsiteY15" fmla="*/ 683491 h 4488872"/>
                  <a:gd name="connsiteX16" fmla="*/ 9282546 w 9291783"/>
                  <a:gd name="connsiteY16" fmla="*/ 4487025 h 4488872"/>
                  <a:gd name="connsiteX17" fmla="*/ 18473 w 9291783"/>
                  <a:gd name="connsiteY17" fmla="*/ 4488872 h 4488872"/>
                  <a:gd name="connsiteX0" fmla="*/ 1908 w 9292637"/>
                  <a:gd name="connsiteY0" fmla="*/ 4488872 h 4488872"/>
                  <a:gd name="connsiteX1" fmla="*/ 854 w 9292637"/>
                  <a:gd name="connsiteY1" fmla="*/ 646545 h 4488872"/>
                  <a:gd name="connsiteX2" fmla="*/ 481146 w 9292637"/>
                  <a:gd name="connsiteY2" fmla="*/ 387926 h 4488872"/>
                  <a:gd name="connsiteX3" fmla="*/ 1072272 w 9292637"/>
                  <a:gd name="connsiteY3" fmla="*/ 0 h 4488872"/>
                  <a:gd name="connsiteX4" fmla="*/ 1552563 w 9292637"/>
                  <a:gd name="connsiteY4" fmla="*/ 36943 h 4488872"/>
                  <a:gd name="connsiteX5" fmla="*/ 2162162 w 9292637"/>
                  <a:gd name="connsiteY5" fmla="*/ 350981 h 4488872"/>
                  <a:gd name="connsiteX6" fmla="*/ 3048854 w 9292637"/>
                  <a:gd name="connsiteY6" fmla="*/ 609600 h 4488872"/>
                  <a:gd name="connsiteX7" fmla="*/ 3658454 w 9292637"/>
                  <a:gd name="connsiteY7" fmla="*/ 969412 h 4488872"/>
                  <a:gd name="connsiteX8" fmla="*/ 4268054 w 9292637"/>
                  <a:gd name="connsiteY8" fmla="*/ 868217 h 4488872"/>
                  <a:gd name="connsiteX9" fmla="*/ 4951545 w 9292637"/>
                  <a:gd name="connsiteY9" fmla="*/ 1256145 h 4488872"/>
                  <a:gd name="connsiteX10" fmla="*/ 6300053 w 9292637"/>
                  <a:gd name="connsiteY10" fmla="*/ 775855 h 4488872"/>
                  <a:gd name="connsiteX11" fmla="*/ 6669508 w 9292637"/>
                  <a:gd name="connsiteY11" fmla="*/ 341339 h 4488872"/>
                  <a:gd name="connsiteX12" fmla="*/ 7297581 w 9292637"/>
                  <a:gd name="connsiteY12" fmla="*/ 18470 h 4488872"/>
                  <a:gd name="connsiteX13" fmla="*/ 7962600 w 9292637"/>
                  <a:gd name="connsiteY13" fmla="*/ 210960 h 4488872"/>
                  <a:gd name="connsiteX14" fmla="*/ 8313581 w 9292637"/>
                  <a:gd name="connsiteY14" fmla="*/ 498762 h 4488872"/>
                  <a:gd name="connsiteX15" fmla="*/ 9292637 w 9292637"/>
                  <a:gd name="connsiteY15" fmla="*/ 683491 h 4488872"/>
                  <a:gd name="connsiteX16" fmla="*/ 9283400 w 9292637"/>
                  <a:gd name="connsiteY16" fmla="*/ 4487025 h 4488872"/>
                  <a:gd name="connsiteX17" fmla="*/ 1908 w 9292637"/>
                  <a:gd name="connsiteY17" fmla="*/ 4488872 h 4488872"/>
                  <a:gd name="connsiteX0" fmla="*/ 1908 w 9296174"/>
                  <a:gd name="connsiteY0" fmla="*/ 4488872 h 4488872"/>
                  <a:gd name="connsiteX1" fmla="*/ 854 w 9296174"/>
                  <a:gd name="connsiteY1" fmla="*/ 646545 h 4488872"/>
                  <a:gd name="connsiteX2" fmla="*/ 481146 w 9296174"/>
                  <a:gd name="connsiteY2" fmla="*/ 387926 h 4488872"/>
                  <a:gd name="connsiteX3" fmla="*/ 1072272 w 9296174"/>
                  <a:gd name="connsiteY3" fmla="*/ 0 h 4488872"/>
                  <a:gd name="connsiteX4" fmla="*/ 1552563 w 9296174"/>
                  <a:gd name="connsiteY4" fmla="*/ 36943 h 4488872"/>
                  <a:gd name="connsiteX5" fmla="*/ 2162162 w 9296174"/>
                  <a:gd name="connsiteY5" fmla="*/ 350981 h 4488872"/>
                  <a:gd name="connsiteX6" fmla="*/ 3048854 w 9296174"/>
                  <a:gd name="connsiteY6" fmla="*/ 609600 h 4488872"/>
                  <a:gd name="connsiteX7" fmla="*/ 3658454 w 9296174"/>
                  <a:gd name="connsiteY7" fmla="*/ 969412 h 4488872"/>
                  <a:gd name="connsiteX8" fmla="*/ 4268054 w 9296174"/>
                  <a:gd name="connsiteY8" fmla="*/ 868217 h 4488872"/>
                  <a:gd name="connsiteX9" fmla="*/ 4951545 w 9296174"/>
                  <a:gd name="connsiteY9" fmla="*/ 1256145 h 4488872"/>
                  <a:gd name="connsiteX10" fmla="*/ 6300053 w 9296174"/>
                  <a:gd name="connsiteY10" fmla="*/ 775855 h 4488872"/>
                  <a:gd name="connsiteX11" fmla="*/ 6669508 w 9296174"/>
                  <a:gd name="connsiteY11" fmla="*/ 341339 h 4488872"/>
                  <a:gd name="connsiteX12" fmla="*/ 7297581 w 9296174"/>
                  <a:gd name="connsiteY12" fmla="*/ 18470 h 4488872"/>
                  <a:gd name="connsiteX13" fmla="*/ 7962600 w 9296174"/>
                  <a:gd name="connsiteY13" fmla="*/ 210960 h 4488872"/>
                  <a:gd name="connsiteX14" fmla="*/ 8313581 w 9296174"/>
                  <a:gd name="connsiteY14" fmla="*/ 498762 h 4488872"/>
                  <a:gd name="connsiteX15" fmla="*/ 9292637 w 9296174"/>
                  <a:gd name="connsiteY15" fmla="*/ 683491 h 4488872"/>
                  <a:gd name="connsiteX16" fmla="*/ 9296174 w 9296174"/>
                  <a:gd name="connsiteY16" fmla="*/ 4250805 h 4488872"/>
                  <a:gd name="connsiteX17" fmla="*/ 1908 w 9296174"/>
                  <a:gd name="connsiteY17" fmla="*/ 4488872 h 4488872"/>
                  <a:gd name="connsiteX0" fmla="*/ 7441 w 9295320"/>
                  <a:gd name="connsiteY0" fmla="*/ 4260272 h 4260272"/>
                  <a:gd name="connsiteX1" fmla="*/ 0 w 9295320"/>
                  <a:gd name="connsiteY1" fmla="*/ 646545 h 4260272"/>
                  <a:gd name="connsiteX2" fmla="*/ 480292 w 9295320"/>
                  <a:gd name="connsiteY2" fmla="*/ 387926 h 4260272"/>
                  <a:gd name="connsiteX3" fmla="*/ 1071418 w 9295320"/>
                  <a:gd name="connsiteY3" fmla="*/ 0 h 4260272"/>
                  <a:gd name="connsiteX4" fmla="*/ 1551709 w 9295320"/>
                  <a:gd name="connsiteY4" fmla="*/ 36943 h 4260272"/>
                  <a:gd name="connsiteX5" fmla="*/ 2161308 w 9295320"/>
                  <a:gd name="connsiteY5" fmla="*/ 350981 h 4260272"/>
                  <a:gd name="connsiteX6" fmla="*/ 3048000 w 9295320"/>
                  <a:gd name="connsiteY6" fmla="*/ 609600 h 4260272"/>
                  <a:gd name="connsiteX7" fmla="*/ 3657600 w 9295320"/>
                  <a:gd name="connsiteY7" fmla="*/ 969412 h 4260272"/>
                  <a:gd name="connsiteX8" fmla="*/ 4267200 w 9295320"/>
                  <a:gd name="connsiteY8" fmla="*/ 868217 h 4260272"/>
                  <a:gd name="connsiteX9" fmla="*/ 4950691 w 9295320"/>
                  <a:gd name="connsiteY9" fmla="*/ 1256145 h 4260272"/>
                  <a:gd name="connsiteX10" fmla="*/ 6299199 w 9295320"/>
                  <a:gd name="connsiteY10" fmla="*/ 775855 h 4260272"/>
                  <a:gd name="connsiteX11" fmla="*/ 6668654 w 9295320"/>
                  <a:gd name="connsiteY11" fmla="*/ 341339 h 4260272"/>
                  <a:gd name="connsiteX12" fmla="*/ 7296727 w 9295320"/>
                  <a:gd name="connsiteY12" fmla="*/ 18470 h 4260272"/>
                  <a:gd name="connsiteX13" fmla="*/ 7961746 w 9295320"/>
                  <a:gd name="connsiteY13" fmla="*/ 210960 h 4260272"/>
                  <a:gd name="connsiteX14" fmla="*/ 8312727 w 9295320"/>
                  <a:gd name="connsiteY14" fmla="*/ 498762 h 4260272"/>
                  <a:gd name="connsiteX15" fmla="*/ 9291783 w 9295320"/>
                  <a:gd name="connsiteY15" fmla="*/ 683491 h 4260272"/>
                  <a:gd name="connsiteX16" fmla="*/ 9295320 w 9295320"/>
                  <a:gd name="connsiteY16" fmla="*/ 4250805 h 4260272"/>
                  <a:gd name="connsiteX17" fmla="*/ 7441 w 9295320"/>
                  <a:gd name="connsiteY17" fmla="*/ 4260272 h 426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95320" h="4260272">
                    <a:moveTo>
                      <a:pt x="7441" y="4260272"/>
                    </a:moveTo>
                    <a:cubicBezTo>
                      <a:pt x="1283" y="2979496"/>
                      <a:pt x="6158" y="1927321"/>
                      <a:pt x="0" y="646545"/>
                    </a:cubicBezTo>
                    <a:lnTo>
                      <a:pt x="480292" y="387926"/>
                    </a:lnTo>
                    <a:lnTo>
                      <a:pt x="1071418" y="0"/>
                    </a:lnTo>
                    <a:lnTo>
                      <a:pt x="1551709" y="36943"/>
                    </a:lnTo>
                    <a:lnTo>
                      <a:pt x="2161308" y="350981"/>
                    </a:lnTo>
                    <a:lnTo>
                      <a:pt x="3048000" y="609600"/>
                    </a:lnTo>
                    <a:lnTo>
                      <a:pt x="3657600" y="969412"/>
                    </a:lnTo>
                    <a:lnTo>
                      <a:pt x="4267200" y="868217"/>
                    </a:lnTo>
                    <a:lnTo>
                      <a:pt x="4950691" y="1256145"/>
                    </a:lnTo>
                    <a:lnTo>
                      <a:pt x="6299199" y="775855"/>
                    </a:lnTo>
                    <a:lnTo>
                      <a:pt x="6668654" y="341339"/>
                    </a:lnTo>
                    <a:lnTo>
                      <a:pt x="7296727" y="18470"/>
                    </a:lnTo>
                    <a:lnTo>
                      <a:pt x="7961746" y="210960"/>
                    </a:lnTo>
                    <a:lnTo>
                      <a:pt x="8312727" y="498762"/>
                    </a:lnTo>
                    <a:lnTo>
                      <a:pt x="9291783" y="683491"/>
                    </a:lnTo>
                    <a:lnTo>
                      <a:pt x="9295320" y="4250805"/>
                    </a:lnTo>
                    <a:lnTo>
                      <a:pt x="7441" y="4260272"/>
                    </a:lnTo>
                    <a:close/>
                  </a:path>
                </a:pathLst>
              </a:custGeom>
              <a:solidFill>
                <a:srgbClr val="17375E">
                  <a:lumMod val="75000"/>
                </a:srgbClr>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7F7F7F"/>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9D759F5A-F276-419F-AC25-EE3D02F3551C}"/>
                  </a:ext>
                </a:extLst>
              </p:cNvPr>
              <p:cNvSpPr/>
              <p:nvPr/>
            </p:nvSpPr>
            <p:spPr>
              <a:xfrm>
                <a:off x="8081983" y="2258127"/>
                <a:ext cx="844974" cy="689386"/>
              </a:xfrm>
              <a:custGeom>
                <a:avLst/>
                <a:gdLst>
                  <a:gd name="connsiteX0" fmla="*/ 41623 w 673166"/>
                  <a:gd name="connsiteY0" fmla="*/ 683491 h 683491"/>
                  <a:gd name="connsiteX1" fmla="*/ 669696 w 673166"/>
                  <a:gd name="connsiteY1" fmla="*/ 554182 h 683491"/>
                  <a:gd name="connsiteX2" fmla="*/ 281768 w 673166"/>
                  <a:gd name="connsiteY2" fmla="*/ 295564 h 683491"/>
                  <a:gd name="connsiteX3" fmla="*/ 4677 w 673166"/>
                  <a:gd name="connsiteY3" fmla="*/ 166255 h 683491"/>
                  <a:gd name="connsiteX4" fmla="*/ 133986 w 673166"/>
                  <a:gd name="connsiteY4" fmla="*/ 0 h 683491"/>
                  <a:gd name="connsiteX0" fmla="*/ 0 w 731565"/>
                  <a:gd name="connsiteY0" fmla="*/ 697591 h 697591"/>
                  <a:gd name="connsiteX1" fmla="*/ 725228 w 731565"/>
                  <a:gd name="connsiteY1" fmla="*/ 554182 h 697591"/>
                  <a:gd name="connsiteX2" fmla="*/ 337300 w 731565"/>
                  <a:gd name="connsiteY2" fmla="*/ 295564 h 697591"/>
                  <a:gd name="connsiteX3" fmla="*/ 60209 w 731565"/>
                  <a:gd name="connsiteY3" fmla="*/ 166255 h 697591"/>
                  <a:gd name="connsiteX4" fmla="*/ 189518 w 731565"/>
                  <a:gd name="connsiteY4" fmla="*/ 0 h 697591"/>
                  <a:gd name="connsiteX0" fmla="*/ 0 w 731565"/>
                  <a:gd name="connsiteY0" fmla="*/ 717734 h 717734"/>
                  <a:gd name="connsiteX1" fmla="*/ 725228 w 731565"/>
                  <a:gd name="connsiteY1" fmla="*/ 574325 h 717734"/>
                  <a:gd name="connsiteX2" fmla="*/ 337300 w 731565"/>
                  <a:gd name="connsiteY2" fmla="*/ 315707 h 717734"/>
                  <a:gd name="connsiteX3" fmla="*/ 60209 w 731565"/>
                  <a:gd name="connsiteY3" fmla="*/ 186398 h 717734"/>
                  <a:gd name="connsiteX4" fmla="*/ 216319 w 731565"/>
                  <a:gd name="connsiteY4" fmla="*/ 0 h 717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1565" h="717734">
                    <a:moveTo>
                      <a:pt x="0" y="717734"/>
                    </a:moveTo>
                    <a:cubicBezTo>
                      <a:pt x="294024" y="685406"/>
                      <a:pt x="669011" y="641329"/>
                      <a:pt x="725228" y="574325"/>
                    </a:cubicBezTo>
                    <a:cubicBezTo>
                      <a:pt x="781445" y="507321"/>
                      <a:pt x="448137" y="380361"/>
                      <a:pt x="337300" y="315707"/>
                    </a:cubicBezTo>
                    <a:cubicBezTo>
                      <a:pt x="226464" y="251052"/>
                      <a:pt x="84839" y="235659"/>
                      <a:pt x="60209" y="186398"/>
                    </a:cubicBezTo>
                    <a:cubicBezTo>
                      <a:pt x="35579" y="137137"/>
                      <a:pt x="139349" y="58497"/>
                      <a:pt x="216319" y="0"/>
                    </a:cubicBezTo>
                  </a:path>
                </a:pathLst>
              </a:custGeom>
              <a:noFill/>
              <a:ln w="63500" cap="flat" cmpd="sng" algn="ctr">
                <a:solidFill>
                  <a:srgbClr val="3092D3"/>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A7CC5DD-0422-4E87-AB80-1B384CD24745}"/>
                  </a:ext>
                </a:extLst>
              </p:cNvPr>
              <p:cNvSpPr/>
              <p:nvPr/>
            </p:nvSpPr>
            <p:spPr>
              <a:xfrm>
                <a:off x="6068" y="2664295"/>
                <a:ext cx="9896760" cy="3549291"/>
              </a:xfrm>
              <a:custGeom>
                <a:avLst/>
                <a:gdLst>
                  <a:gd name="connsiteX0" fmla="*/ 0 w 12376727"/>
                  <a:gd name="connsiteY0" fmla="*/ 1902691 h 1921163"/>
                  <a:gd name="connsiteX1" fmla="*/ 0 w 12376727"/>
                  <a:gd name="connsiteY1" fmla="*/ 1126836 h 1921163"/>
                  <a:gd name="connsiteX2" fmla="*/ 295563 w 12376727"/>
                  <a:gd name="connsiteY2" fmla="*/ 942109 h 1921163"/>
                  <a:gd name="connsiteX3" fmla="*/ 942109 w 12376727"/>
                  <a:gd name="connsiteY3" fmla="*/ 942109 h 1921163"/>
                  <a:gd name="connsiteX4" fmla="*/ 1865745 w 12376727"/>
                  <a:gd name="connsiteY4" fmla="*/ 517236 h 1921163"/>
                  <a:gd name="connsiteX5" fmla="*/ 2937163 w 12376727"/>
                  <a:gd name="connsiteY5" fmla="*/ 295563 h 1921163"/>
                  <a:gd name="connsiteX6" fmla="*/ 3472873 w 12376727"/>
                  <a:gd name="connsiteY6" fmla="*/ 646545 h 1921163"/>
                  <a:gd name="connsiteX7" fmla="*/ 4396509 w 12376727"/>
                  <a:gd name="connsiteY7" fmla="*/ 831272 h 1921163"/>
                  <a:gd name="connsiteX8" fmla="*/ 5080000 w 12376727"/>
                  <a:gd name="connsiteY8" fmla="*/ 757382 h 1921163"/>
                  <a:gd name="connsiteX9" fmla="*/ 5855854 w 12376727"/>
                  <a:gd name="connsiteY9" fmla="*/ 609600 h 1921163"/>
                  <a:gd name="connsiteX10" fmla="*/ 6668654 w 12376727"/>
                  <a:gd name="connsiteY10" fmla="*/ 720436 h 1921163"/>
                  <a:gd name="connsiteX11" fmla="*/ 7869382 w 12376727"/>
                  <a:gd name="connsiteY11" fmla="*/ 387927 h 1921163"/>
                  <a:gd name="connsiteX12" fmla="*/ 8719127 w 12376727"/>
                  <a:gd name="connsiteY12" fmla="*/ 55418 h 1921163"/>
                  <a:gd name="connsiteX13" fmla="*/ 9402618 w 12376727"/>
                  <a:gd name="connsiteY13" fmla="*/ 0 h 1921163"/>
                  <a:gd name="connsiteX14" fmla="*/ 10104582 w 12376727"/>
                  <a:gd name="connsiteY14" fmla="*/ 0 h 1921163"/>
                  <a:gd name="connsiteX15" fmla="*/ 11397673 w 12376727"/>
                  <a:gd name="connsiteY15" fmla="*/ 0 h 1921163"/>
                  <a:gd name="connsiteX16" fmla="*/ 11914909 w 12376727"/>
                  <a:gd name="connsiteY16" fmla="*/ 147782 h 1921163"/>
                  <a:gd name="connsiteX17" fmla="*/ 12376727 w 12376727"/>
                  <a:gd name="connsiteY17" fmla="*/ 387927 h 1921163"/>
                  <a:gd name="connsiteX18" fmla="*/ 12376727 w 12376727"/>
                  <a:gd name="connsiteY18" fmla="*/ 1921163 h 1921163"/>
                  <a:gd name="connsiteX19" fmla="*/ 0 w 12376727"/>
                  <a:gd name="connsiteY19" fmla="*/ 1902691 h 1921163"/>
                  <a:gd name="connsiteX0" fmla="*/ 0 w 12376727"/>
                  <a:gd name="connsiteY0" fmla="*/ 1902691 h 1921163"/>
                  <a:gd name="connsiteX1" fmla="*/ 0 w 12376727"/>
                  <a:gd name="connsiteY1" fmla="*/ 1126836 h 1921163"/>
                  <a:gd name="connsiteX2" fmla="*/ 295563 w 12376727"/>
                  <a:gd name="connsiteY2" fmla="*/ 942109 h 1921163"/>
                  <a:gd name="connsiteX3" fmla="*/ 942109 w 12376727"/>
                  <a:gd name="connsiteY3" fmla="*/ 942109 h 1921163"/>
                  <a:gd name="connsiteX4" fmla="*/ 1865745 w 12376727"/>
                  <a:gd name="connsiteY4" fmla="*/ 517236 h 1921163"/>
                  <a:gd name="connsiteX5" fmla="*/ 2937163 w 12376727"/>
                  <a:gd name="connsiteY5" fmla="*/ 295563 h 1921163"/>
                  <a:gd name="connsiteX6" fmla="*/ 3472873 w 12376727"/>
                  <a:gd name="connsiteY6" fmla="*/ 646545 h 1921163"/>
                  <a:gd name="connsiteX7" fmla="*/ 4396509 w 12376727"/>
                  <a:gd name="connsiteY7" fmla="*/ 831272 h 1921163"/>
                  <a:gd name="connsiteX8" fmla="*/ 5080000 w 12376727"/>
                  <a:gd name="connsiteY8" fmla="*/ 757382 h 1921163"/>
                  <a:gd name="connsiteX9" fmla="*/ 5855854 w 12376727"/>
                  <a:gd name="connsiteY9" fmla="*/ 609600 h 1921163"/>
                  <a:gd name="connsiteX10" fmla="*/ 6668654 w 12376727"/>
                  <a:gd name="connsiteY10" fmla="*/ 720436 h 1921163"/>
                  <a:gd name="connsiteX11" fmla="*/ 7869382 w 12376727"/>
                  <a:gd name="connsiteY11" fmla="*/ 387927 h 1921163"/>
                  <a:gd name="connsiteX12" fmla="*/ 8719127 w 12376727"/>
                  <a:gd name="connsiteY12" fmla="*/ 55418 h 1921163"/>
                  <a:gd name="connsiteX13" fmla="*/ 9402618 w 12376727"/>
                  <a:gd name="connsiteY13" fmla="*/ 0 h 1921163"/>
                  <a:gd name="connsiteX14" fmla="*/ 10104582 w 12376727"/>
                  <a:gd name="connsiteY14" fmla="*/ 0 h 1921163"/>
                  <a:gd name="connsiteX15" fmla="*/ 11397673 w 12376727"/>
                  <a:gd name="connsiteY15" fmla="*/ 0 h 1921163"/>
                  <a:gd name="connsiteX16" fmla="*/ 11914909 w 12376727"/>
                  <a:gd name="connsiteY16" fmla="*/ 147782 h 1921163"/>
                  <a:gd name="connsiteX17" fmla="*/ 12376727 w 12376727"/>
                  <a:gd name="connsiteY17" fmla="*/ 387927 h 1921163"/>
                  <a:gd name="connsiteX18" fmla="*/ 9273309 w 12376727"/>
                  <a:gd name="connsiteY18" fmla="*/ 1921163 h 1921163"/>
                  <a:gd name="connsiteX19" fmla="*/ 0 w 12376727"/>
                  <a:gd name="connsiteY19" fmla="*/ 1902691 h 1921163"/>
                  <a:gd name="connsiteX0" fmla="*/ 0 w 11914909"/>
                  <a:gd name="connsiteY0" fmla="*/ 1902691 h 1921163"/>
                  <a:gd name="connsiteX1" fmla="*/ 0 w 11914909"/>
                  <a:gd name="connsiteY1" fmla="*/ 1126836 h 1921163"/>
                  <a:gd name="connsiteX2" fmla="*/ 295563 w 11914909"/>
                  <a:gd name="connsiteY2" fmla="*/ 942109 h 1921163"/>
                  <a:gd name="connsiteX3" fmla="*/ 942109 w 11914909"/>
                  <a:gd name="connsiteY3" fmla="*/ 942109 h 1921163"/>
                  <a:gd name="connsiteX4" fmla="*/ 1865745 w 11914909"/>
                  <a:gd name="connsiteY4" fmla="*/ 517236 h 1921163"/>
                  <a:gd name="connsiteX5" fmla="*/ 2937163 w 11914909"/>
                  <a:gd name="connsiteY5" fmla="*/ 295563 h 1921163"/>
                  <a:gd name="connsiteX6" fmla="*/ 3472873 w 11914909"/>
                  <a:gd name="connsiteY6" fmla="*/ 646545 h 1921163"/>
                  <a:gd name="connsiteX7" fmla="*/ 4396509 w 11914909"/>
                  <a:gd name="connsiteY7" fmla="*/ 831272 h 1921163"/>
                  <a:gd name="connsiteX8" fmla="*/ 5080000 w 11914909"/>
                  <a:gd name="connsiteY8" fmla="*/ 757382 h 1921163"/>
                  <a:gd name="connsiteX9" fmla="*/ 5855854 w 11914909"/>
                  <a:gd name="connsiteY9" fmla="*/ 609600 h 1921163"/>
                  <a:gd name="connsiteX10" fmla="*/ 6668654 w 11914909"/>
                  <a:gd name="connsiteY10" fmla="*/ 720436 h 1921163"/>
                  <a:gd name="connsiteX11" fmla="*/ 7869382 w 11914909"/>
                  <a:gd name="connsiteY11" fmla="*/ 387927 h 1921163"/>
                  <a:gd name="connsiteX12" fmla="*/ 8719127 w 11914909"/>
                  <a:gd name="connsiteY12" fmla="*/ 55418 h 1921163"/>
                  <a:gd name="connsiteX13" fmla="*/ 9402618 w 11914909"/>
                  <a:gd name="connsiteY13" fmla="*/ 0 h 1921163"/>
                  <a:gd name="connsiteX14" fmla="*/ 10104582 w 11914909"/>
                  <a:gd name="connsiteY14" fmla="*/ 0 h 1921163"/>
                  <a:gd name="connsiteX15" fmla="*/ 11397673 w 11914909"/>
                  <a:gd name="connsiteY15" fmla="*/ 0 h 1921163"/>
                  <a:gd name="connsiteX16" fmla="*/ 11914909 w 11914909"/>
                  <a:gd name="connsiteY16" fmla="*/ 147782 h 1921163"/>
                  <a:gd name="connsiteX17" fmla="*/ 9273309 w 11914909"/>
                  <a:gd name="connsiteY17" fmla="*/ 1921163 h 1921163"/>
                  <a:gd name="connsiteX18" fmla="*/ 0 w 11914909"/>
                  <a:gd name="connsiteY18" fmla="*/ 1902691 h 1921163"/>
                  <a:gd name="connsiteX0" fmla="*/ 0 w 11397673"/>
                  <a:gd name="connsiteY0" fmla="*/ 1902691 h 1921163"/>
                  <a:gd name="connsiteX1" fmla="*/ 0 w 11397673"/>
                  <a:gd name="connsiteY1" fmla="*/ 1126836 h 1921163"/>
                  <a:gd name="connsiteX2" fmla="*/ 295563 w 11397673"/>
                  <a:gd name="connsiteY2" fmla="*/ 942109 h 1921163"/>
                  <a:gd name="connsiteX3" fmla="*/ 942109 w 11397673"/>
                  <a:gd name="connsiteY3" fmla="*/ 942109 h 1921163"/>
                  <a:gd name="connsiteX4" fmla="*/ 1865745 w 11397673"/>
                  <a:gd name="connsiteY4" fmla="*/ 517236 h 1921163"/>
                  <a:gd name="connsiteX5" fmla="*/ 2937163 w 11397673"/>
                  <a:gd name="connsiteY5" fmla="*/ 295563 h 1921163"/>
                  <a:gd name="connsiteX6" fmla="*/ 3472873 w 11397673"/>
                  <a:gd name="connsiteY6" fmla="*/ 646545 h 1921163"/>
                  <a:gd name="connsiteX7" fmla="*/ 4396509 w 11397673"/>
                  <a:gd name="connsiteY7" fmla="*/ 831272 h 1921163"/>
                  <a:gd name="connsiteX8" fmla="*/ 5080000 w 11397673"/>
                  <a:gd name="connsiteY8" fmla="*/ 757382 h 1921163"/>
                  <a:gd name="connsiteX9" fmla="*/ 5855854 w 11397673"/>
                  <a:gd name="connsiteY9" fmla="*/ 609600 h 1921163"/>
                  <a:gd name="connsiteX10" fmla="*/ 6668654 w 11397673"/>
                  <a:gd name="connsiteY10" fmla="*/ 720436 h 1921163"/>
                  <a:gd name="connsiteX11" fmla="*/ 7869382 w 11397673"/>
                  <a:gd name="connsiteY11" fmla="*/ 387927 h 1921163"/>
                  <a:gd name="connsiteX12" fmla="*/ 8719127 w 11397673"/>
                  <a:gd name="connsiteY12" fmla="*/ 55418 h 1921163"/>
                  <a:gd name="connsiteX13" fmla="*/ 9402618 w 11397673"/>
                  <a:gd name="connsiteY13" fmla="*/ 0 h 1921163"/>
                  <a:gd name="connsiteX14" fmla="*/ 10104582 w 11397673"/>
                  <a:gd name="connsiteY14" fmla="*/ 0 h 1921163"/>
                  <a:gd name="connsiteX15" fmla="*/ 11397673 w 11397673"/>
                  <a:gd name="connsiteY15" fmla="*/ 0 h 1921163"/>
                  <a:gd name="connsiteX16" fmla="*/ 9273309 w 11397673"/>
                  <a:gd name="connsiteY16" fmla="*/ 1921163 h 1921163"/>
                  <a:gd name="connsiteX17" fmla="*/ 0 w 11397673"/>
                  <a:gd name="connsiteY17" fmla="*/ 1902691 h 1921163"/>
                  <a:gd name="connsiteX0" fmla="*/ 0 w 10104582"/>
                  <a:gd name="connsiteY0" fmla="*/ 1902691 h 1921163"/>
                  <a:gd name="connsiteX1" fmla="*/ 0 w 10104582"/>
                  <a:gd name="connsiteY1" fmla="*/ 1126836 h 1921163"/>
                  <a:gd name="connsiteX2" fmla="*/ 295563 w 10104582"/>
                  <a:gd name="connsiteY2" fmla="*/ 942109 h 1921163"/>
                  <a:gd name="connsiteX3" fmla="*/ 942109 w 10104582"/>
                  <a:gd name="connsiteY3" fmla="*/ 942109 h 1921163"/>
                  <a:gd name="connsiteX4" fmla="*/ 1865745 w 10104582"/>
                  <a:gd name="connsiteY4" fmla="*/ 517236 h 1921163"/>
                  <a:gd name="connsiteX5" fmla="*/ 2937163 w 10104582"/>
                  <a:gd name="connsiteY5" fmla="*/ 295563 h 1921163"/>
                  <a:gd name="connsiteX6" fmla="*/ 3472873 w 10104582"/>
                  <a:gd name="connsiteY6" fmla="*/ 646545 h 1921163"/>
                  <a:gd name="connsiteX7" fmla="*/ 4396509 w 10104582"/>
                  <a:gd name="connsiteY7" fmla="*/ 831272 h 1921163"/>
                  <a:gd name="connsiteX8" fmla="*/ 5080000 w 10104582"/>
                  <a:gd name="connsiteY8" fmla="*/ 757382 h 1921163"/>
                  <a:gd name="connsiteX9" fmla="*/ 5855854 w 10104582"/>
                  <a:gd name="connsiteY9" fmla="*/ 609600 h 1921163"/>
                  <a:gd name="connsiteX10" fmla="*/ 6668654 w 10104582"/>
                  <a:gd name="connsiteY10" fmla="*/ 720436 h 1921163"/>
                  <a:gd name="connsiteX11" fmla="*/ 7869382 w 10104582"/>
                  <a:gd name="connsiteY11" fmla="*/ 387927 h 1921163"/>
                  <a:gd name="connsiteX12" fmla="*/ 8719127 w 10104582"/>
                  <a:gd name="connsiteY12" fmla="*/ 55418 h 1921163"/>
                  <a:gd name="connsiteX13" fmla="*/ 9402618 w 10104582"/>
                  <a:gd name="connsiteY13" fmla="*/ 0 h 1921163"/>
                  <a:gd name="connsiteX14" fmla="*/ 10104582 w 10104582"/>
                  <a:gd name="connsiteY14" fmla="*/ 0 h 1921163"/>
                  <a:gd name="connsiteX15" fmla="*/ 9273309 w 10104582"/>
                  <a:gd name="connsiteY15" fmla="*/ 1921163 h 1921163"/>
                  <a:gd name="connsiteX16" fmla="*/ 0 w 10104582"/>
                  <a:gd name="connsiteY16" fmla="*/ 1902691 h 1921163"/>
                  <a:gd name="connsiteX0" fmla="*/ 0 w 9402618"/>
                  <a:gd name="connsiteY0" fmla="*/ 1902691 h 1921163"/>
                  <a:gd name="connsiteX1" fmla="*/ 0 w 9402618"/>
                  <a:gd name="connsiteY1" fmla="*/ 1126836 h 1921163"/>
                  <a:gd name="connsiteX2" fmla="*/ 295563 w 9402618"/>
                  <a:gd name="connsiteY2" fmla="*/ 942109 h 1921163"/>
                  <a:gd name="connsiteX3" fmla="*/ 942109 w 9402618"/>
                  <a:gd name="connsiteY3" fmla="*/ 942109 h 1921163"/>
                  <a:gd name="connsiteX4" fmla="*/ 1865745 w 9402618"/>
                  <a:gd name="connsiteY4" fmla="*/ 517236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295563 w 9402618"/>
                  <a:gd name="connsiteY2" fmla="*/ 942109 h 1921163"/>
                  <a:gd name="connsiteX3" fmla="*/ 942109 w 9402618"/>
                  <a:gd name="connsiteY3" fmla="*/ 942109 h 1921163"/>
                  <a:gd name="connsiteX4" fmla="*/ 1366982 w 9402618"/>
                  <a:gd name="connsiteY4" fmla="*/ 332508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2641600 w 9402618"/>
                  <a:gd name="connsiteY6" fmla="*/ 36945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2641600 w 9402618"/>
                  <a:gd name="connsiteY6" fmla="*/ 369455 h 1921163"/>
                  <a:gd name="connsiteX7" fmla="*/ 3491345 w 9402618"/>
                  <a:gd name="connsiteY7" fmla="*/ 285922 h 1921163"/>
                  <a:gd name="connsiteX8" fmla="*/ 4396509 w 9402618"/>
                  <a:gd name="connsiteY8" fmla="*/ 831272 h 1921163"/>
                  <a:gd name="connsiteX9" fmla="*/ 5080000 w 9402618"/>
                  <a:gd name="connsiteY9" fmla="*/ 757382 h 1921163"/>
                  <a:gd name="connsiteX10" fmla="*/ 5855854 w 9402618"/>
                  <a:gd name="connsiteY10" fmla="*/ 609600 h 1921163"/>
                  <a:gd name="connsiteX11" fmla="*/ 6668654 w 9402618"/>
                  <a:gd name="connsiteY11" fmla="*/ 720436 h 1921163"/>
                  <a:gd name="connsiteX12" fmla="*/ 7869382 w 9402618"/>
                  <a:gd name="connsiteY12" fmla="*/ 387927 h 1921163"/>
                  <a:gd name="connsiteX13" fmla="*/ 8719127 w 9402618"/>
                  <a:gd name="connsiteY13" fmla="*/ 55418 h 1921163"/>
                  <a:gd name="connsiteX14" fmla="*/ 9402618 w 9402618"/>
                  <a:gd name="connsiteY14" fmla="*/ 0 h 1921163"/>
                  <a:gd name="connsiteX15" fmla="*/ 9273309 w 9402618"/>
                  <a:gd name="connsiteY15" fmla="*/ 1921163 h 1921163"/>
                  <a:gd name="connsiteX16" fmla="*/ 0 w 9402618"/>
                  <a:gd name="connsiteY16"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2641600 w 9402618"/>
                  <a:gd name="connsiteY6" fmla="*/ 369455 h 1921163"/>
                  <a:gd name="connsiteX7" fmla="*/ 3491345 w 9402618"/>
                  <a:gd name="connsiteY7" fmla="*/ 285922 h 1921163"/>
                  <a:gd name="connsiteX8" fmla="*/ 4193309 w 9402618"/>
                  <a:gd name="connsiteY8" fmla="*/ 129308 h 1921163"/>
                  <a:gd name="connsiteX9" fmla="*/ 5080000 w 9402618"/>
                  <a:gd name="connsiteY9" fmla="*/ 757382 h 1921163"/>
                  <a:gd name="connsiteX10" fmla="*/ 5855854 w 9402618"/>
                  <a:gd name="connsiteY10" fmla="*/ 609600 h 1921163"/>
                  <a:gd name="connsiteX11" fmla="*/ 6668654 w 9402618"/>
                  <a:gd name="connsiteY11" fmla="*/ 720436 h 1921163"/>
                  <a:gd name="connsiteX12" fmla="*/ 7869382 w 9402618"/>
                  <a:gd name="connsiteY12" fmla="*/ 387927 h 1921163"/>
                  <a:gd name="connsiteX13" fmla="*/ 8719127 w 9402618"/>
                  <a:gd name="connsiteY13" fmla="*/ 55418 h 1921163"/>
                  <a:gd name="connsiteX14" fmla="*/ 9402618 w 9402618"/>
                  <a:gd name="connsiteY14" fmla="*/ 0 h 1921163"/>
                  <a:gd name="connsiteX15" fmla="*/ 9273309 w 9402618"/>
                  <a:gd name="connsiteY15" fmla="*/ 1921163 h 1921163"/>
                  <a:gd name="connsiteX16" fmla="*/ 0 w 9402618"/>
                  <a:gd name="connsiteY16" fmla="*/ 1902691 h 1921163"/>
                  <a:gd name="connsiteX0" fmla="*/ 0 w 9402618"/>
                  <a:gd name="connsiteY0" fmla="*/ 2235200 h 2253672"/>
                  <a:gd name="connsiteX1" fmla="*/ 0 w 9402618"/>
                  <a:gd name="connsiteY1" fmla="*/ 1459345 h 2253672"/>
                  <a:gd name="connsiteX2" fmla="*/ 406400 w 9402618"/>
                  <a:gd name="connsiteY2" fmla="*/ 1644073 h 2253672"/>
                  <a:gd name="connsiteX3" fmla="*/ 942109 w 9402618"/>
                  <a:gd name="connsiteY3" fmla="*/ 1274618 h 2253672"/>
                  <a:gd name="connsiteX4" fmla="*/ 1366982 w 9402618"/>
                  <a:gd name="connsiteY4" fmla="*/ 665017 h 2253672"/>
                  <a:gd name="connsiteX5" fmla="*/ 2087417 w 9402618"/>
                  <a:gd name="connsiteY5" fmla="*/ 997526 h 2253672"/>
                  <a:gd name="connsiteX6" fmla="*/ 2641600 w 9402618"/>
                  <a:gd name="connsiteY6" fmla="*/ 701964 h 2253672"/>
                  <a:gd name="connsiteX7" fmla="*/ 3491345 w 9402618"/>
                  <a:gd name="connsiteY7" fmla="*/ 618431 h 2253672"/>
                  <a:gd name="connsiteX8" fmla="*/ 4193309 w 9402618"/>
                  <a:gd name="connsiteY8" fmla="*/ 461817 h 2253672"/>
                  <a:gd name="connsiteX9" fmla="*/ 5190836 w 9402618"/>
                  <a:gd name="connsiteY9" fmla="*/ 0 h 2253672"/>
                  <a:gd name="connsiteX10" fmla="*/ 5855854 w 9402618"/>
                  <a:gd name="connsiteY10" fmla="*/ 942109 h 2253672"/>
                  <a:gd name="connsiteX11" fmla="*/ 6668654 w 9402618"/>
                  <a:gd name="connsiteY11" fmla="*/ 1052945 h 2253672"/>
                  <a:gd name="connsiteX12" fmla="*/ 7869382 w 9402618"/>
                  <a:gd name="connsiteY12" fmla="*/ 720436 h 2253672"/>
                  <a:gd name="connsiteX13" fmla="*/ 8719127 w 9402618"/>
                  <a:gd name="connsiteY13" fmla="*/ 387927 h 2253672"/>
                  <a:gd name="connsiteX14" fmla="*/ 9402618 w 9402618"/>
                  <a:gd name="connsiteY14" fmla="*/ 332509 h 2253672"/>
                  <a:gd name="connsiteX15" fmla="*/ 9273309 w 9402618"/>
                  <a:gd name="connsiteY15" fmla="*/ 2253672 h 2253672"/>
                  <a:gd name="connsiteX16" fmla="*/ 0 w 9402618"/>
                  <a:gd name="connsiteY16" fmla="*/ 2235200 h 2253672"/>
                  <a:gd name="connsiteX0" fmla="*/ 0 w 9402618"/>
                  <a:gd name="connsiteY0" fmla="*/ 2475346 h 2493818"/>
                  <a:gd name="connsiteX1" fmla="*/ 0 w 9402618"/>
                  <a:gd name="connsiteY1" fmla="*/ 1699491 h 2493818"/>
                  <a:gd name="connsiteX2" fmla="*/ 406400 w 9402618"/>
                  <a:gd name="connsiteY2" fmla="*/ 1884219 h 2493818"/>
                  <a:gd name="connsiteX3" fmla="*/ 942109 w 9402618"/>
                  <a:gd name="connsiteY3" fmla="*/ 1514764 h 2493818"/>
                  <a:gd name="connsiteX4" fmla="*/ 1366982 w 9402618"/>
                  <a:gd name="connsiteY4" fmla="*/ 905163 h 2493818"/>
                  <a:gd name="connsiteX5" fmla="*/ 2087417 w 9402618"/>
                  <a:gd name="connsiteY5" fmla="*/ 1237672 h 2493818"/>
                  <a:gd name="connsiteX6" fmla="*/ 2641600 w 9402618"/>
                  <a:gd name="connsiteY6" fmla="*/ 942110 h 2493818"/>
                  <a:gd name="connsiteX7" fmla="*/ 3491345 w 9402618"/>
                  <a:gd name="connsiteY7" fmla="*/ 858577 h 2493818"/>
                  <a:gd name="connsiteX8" fmla="*/ 4193309 w 9402618"/>
                  <a:gd name="connsiteY8" fmla="*/ 701963 h 2493818"/>
                  <a:gd name="connsiteX9" fmla="*/ 5190836 w 9402618"/>
                  <a:gd name="connsiteY9" fmla="*/ 240146 h 2493818"/>
                  <a:gd name="connsiteX10" fmla="*/ 5523345 w 9402618"/>
                  <a:gd name="connsiteY10" fmla="*/ 0 h 2493818"/>
                  <a:gd name="connsiteX11" fmla="*/ 6668654 w 9402618"/>
                  <a:gd name="connsiteY11" fmla="*/ 1293091 h 2493818"/>
                  <a:gd name="connsiteX12" fmla="*/ 7869382 w 9402618"/>
                  <a:gd name="connsiteY12" fmla="*/ 960582 h 2493818"/>
                  <a:gd name="connsiteX13" fmla="*/ 8719127 w 9402618"/>
                  <a:gd name="connsiteY13" fmla="*/ 628073 h 2493818"/>
                  <a:gd name="connsiteX14" fmla="*/ 9402618 w 9402618"/>
                  <a:gd name="connsiteY14" fmla="*/ 572655 h 2493818"/>
                  <a:gd name="connsiteX15" fmla="*/ 9273309 w 9402618"/>
                  <a:gd name="connsiteY15" fmla="*/ 2493818 h 2493818"/>
                  <a:gd name="connsiteX16" fmla="*/ 0 w 9402618"/>
                  <a:gd name="connsiteY16" fmla="*/ 2475346 h 2493818"/>
                  <a:gd name="connsiteX0" fmla="*/ 0 w 9402618"/>
                  <a:gd name="connsiteY0" fmla="*/ 2475346 h 2493818"/>
                  <a:gd name="connsiteX1" fmla="*/ 0 w 9402618"/>
                  <a:gd name="connsiteY1" fmla="*/ 1699491 h 2493818"/>
                  <a:gd name="connsiteX2" fmla="*/ 406400 w 9402618"/>
                  <a:gd name="connsiteY2" fmla="*/ 1884219 h 2493818"/>
                  <a:gd name="connsiteX3" fmla="*/ 942109 w 9402618"/>
                  <a:gd name="connsiteY3" fmla="*/ 1514764 h 2493818"/>
                  <a:gd name="connsiteX4" fmla="*/ 1366982 w 9402618"/>
                  <a:gd name="connsiteY4" fmla="*/ 905163 h 2493818"/>
                  <a:gd name="connsiteX5" fmla="*/ 2087417 w 9402618"/>
                  <a:gd name="connsiteY5" fmla="*/ 1237672 h 2493818"/>
                  <a:gd name="connsiteX6" fmla="*/ 2641600 w 9402618"/>
                  <a:gd name="connsiteY6" fmla="*/ 942110 h 2493818"/>
                  <a:gd name="connsiteX7" fmla="*/ 3491345 w 9402618"/>
                  <a:gd name="connsiteY7" fmla="*/ 858577 h 2493818"/>
                  <a:gd name="connsiteX8" fmla="*/ 4193309 w 9402618"/>
                  <a:gd name="connsiteY8" fmla="*/ 701963 h 2493818"/>
                  <a:gd name="connsiteX9" fmla="*/ 5190836 w 9402618"/>
                  <a:gd name="connsiteY9" fmla="*/ 240146 h 2493818"/>
                  <a:gd name="connsiteX10" fmla="*/ 5523345 w 9402618"/>
                  <a:gd name="connsiteY10" fmla="*/ 0 h 2493818"/>
                  <a:gd name="connsiteX11" fmla="*/ 5874327 w 9402618"/>
                  <a:gd name="connsiteY11" fmla="*/ 230504 h 2493818"/>
                  <a:gd name="connsiteX12" fmla="*/ 6668654 w 9402618"/>
                  <a:gd name="connsiteY12" fmla="*/ 1293091 h 2493818"/>
                  <a:gd name="connsiteX13" fmla="*/ 7869382 w 9402618"/>
                  <a:gd name="connsiteY13" fmla="*/ 960582 h 2493818"/>
                  <a:gd name="connsiteX14" fmla="*/ 8719127 w 9402618"/>
                  <a:gd name="connsiteY14" fmla="*/ 628073 h 2493818"/>
                  <a:gd name="connsiteX15" fmla="*/ 9402618 w 9402618"/>
                  <a:gd name="connsiteY15" fmla="*/ 572655 h 2493818"/>
                  <a:gd name="connsiteX16" fmla="*/ 9273309 w 9402618"/>
                  <a:gd name="connsiteY16" fmla="*/ 2493818 h 2493818"/>
                  <a:gd name="connsiteX17" fmla="*/ 0 w 9402618"/>
                  <a:gd name="connsiteY17" fmla="*/ 2475346 h 2493818"/>
                  <a:gd name="connsiteX0" fmla="*/ 0 w 9402618"/>
                  <a:gd name="connsiteY0" fmla="*/ 2475346 h 2493818"/>
                  <a:gd name="connsiteX1" fmla="*/ 0 w 9402618"/>
                  <a:gd name="connsiteY1" fmla="*/ 1699491 h 2493818"/>
                  <a:gd name="connsiteX2" fmla="*/ 406400 w 9402618"/>
                  <a:gd name="connsiteY2" fmla="*/ 1884219 h 2493818"/>
                  <a:gd name="connsiteX3" fmla="*/ 942109 w 9402618"/>
                  <a:gd name="connsiteY3" fmla="*/ 1514764 h 2493818"/>
                  <a:gd name="connsiteX4" fmla="*/ 1366982 w 9402618"/>
                  <a:gd name="connsiteY4" fmla="*/ 905163 h 2493818"/>
                  <a:gd name="connsiteX5" fmla="*/ 2087417 w 9402618"/>
                  <a:gd name="connsiteY5" fmla="*/ 1237672 h 2493818"/>
                  <a:gd name="connsiteX6" fmla="*/ 2641600 w 9402618"/>
                  <a:gd name="connsiteY6" fmla="*/ 942110 h 2493818"/>
                  <a:gd name="connsiteX7" fmla="*/ 3491345 w 9402618"/>
                  <a:gd name="connsiteY7" fmla="*/ 858577 h 2493818"/>
                  <a:gd name="connsiteX8" fmla="*/ 4193309 w 9402618"/>
                  <a:gd name="connsiteY8" fmla="*/ 701963 h 2493818"/>
                  <a:gd name="connsiteX9" fmla="*/ 5190836 w 9402618"/>
                  <a:gd name="connsiteY9" fmla="*/ 240146 h 2493818"/>
                  <a:gd name="connsiteX10" fmla="*/ 5523345 w 9402618"/>
                  <a:gd name="connsiteY10" fmla="*/ 0 h 2493818"/>
                  <a:gd name="connsiteX11" fmla="*/ 5874327 w 9402618"/>
                  <a:gd name="connsiteY11" fmla="*/ 230504 h 2493818"/>
                  <a:gd name="connsiteX12" fmla="*/ 6687127 w 9402618"/>
                  <a:gd name="connsiteY12" fmla="*/ 92363 h 2493818"/>
                  <a:gd name="connsiteX13" fmla="*/ 7869382 w 9402618"/>
                  <a:gd name="connsiteY13" fmla="*/ 960582 h 2493818"/>
                  <a:gd name="connsiteX14" fmla="*/ 8719127 w 9402618"/>
                  <a:gd name="connsiteY14" fmla="*/ 628073 h 2493818"/>
                  <a:gd name="connsiteX15" fmla="*/ 9402618 w 9402618"/>
                  <a:gd name="connsiteY15" fmla="*/ 572655 h 2493818"/>
                  <a:gd name="connsiteX16" fmla="*/ 9273309 w 9402618"/>
                  <a:gd name="connsiteY16" fmla="*/ 2493818 h 2493818"/>
                  <a:gd name="connsiteX17" fmla="*/ 0 w 9402618"/>
                  <a:gd name="connsiteY17" fmla="*/ 2475346 h 2493818"/>
                  <a:gd name="connsiteX0" fmla="*/ 0 w 9402618"/>
                  <a:gd name="connsiteY0" fmla="*/ 2604655 h 2623127"/>
                  <a:gd name="connsiteX1" fmla="*/ 0 w 9402618"/>
                  <a:gd name="connsiteY1" fmla="*/ 1828800 h 2623127"/>
                  <a:gd name="connsiteX2" fmla="*/ 406400 w 9402618"/>
                  <a:gd name="connsiteY2" fmla="*/ 2013528 h 2623127"/>
                  <a:gd name="connsiteX3" fmla="*/ 942109 w 9402618"/>
                  <a:gd name="connsiteY3" fmla="*/ 1644073 h 2623127"/>
                  <a:gd name="connsiteX4" fmla="*/ 1366982 w 9402618"/>
                  <a:gd name="connsiteY4" fmla="*/ 1034472 h 2623127"/>
                  <a:gd name="connsiteX5" fmla="*/ 2087417 w 9402618"/>
                  <a:gd name="connsiteY5" fmla="*/ 1366981 h 2623127"/>
                  <a:gd name="connsiteX6" fmla="*/ 2641600 w 9402618"/>
                  <a:gd name="connsiteY6" fmla="*/ 1071419 h 2623127"/>
                  <a:gd name="connsiteX7" fmla="*/ 3491345 w 9402618"/>
                  <a:gd name="connsiteY7" fmla="*/ 987886 h 2623127"/>
                  <a:gd name="connsiteX8" fmla="*/ 4193309 w 9402618"/>
                  <a:gd name="connsiteY8" fmla="*/ 831272 h 2623127"/>
                  <a:gd name="connsiteX9" fmla="*/ 5190836 w 9402618"/>
                  <a:gd name="connsiteY9" fmla="*/ 369455 h 2623127"/>
                  <a:gd name="connsiteX10" fmla="*/ 5523345 w 9402618"/>
                  <a:gd name="connsiteY10" fmla="*/ 129309 h 2623127"/>
                  <a:gd name="connsiteX11" fmla="*/ 5874327 w 9402618"/>
                  <a:gd name="connsiteY11" fmla="*/ 359813 h 2623127"/>
                  <a:gd name="connsiteX12" fmla="*/ 6687127 w 9402618"/>
                  <a:gd name="connsiteY12" fmla="*/ 221672 h 2623127"/>
                  <a:gd name="connsiteX13" fmla="*/ 7869382 w 9402618"/>
                  <a:gd name="connsiteY13" fmla="*/ 0 h 2623127"/>
                  <a:gd name="connsiteX14" fmla="*/ 8719127 w 9402618"/>
                  <a:gd name="connsiteY14" fmla="*/ 757382 h 2623127"/>
                  <a:gd name="connsiteX15" fmla="*/ 9402618 w 9402618"/>
                  <a:gd name="connsiteY15" fmla="*/ 701964 h 2623127"/>
                  <a:gd name="connsiteX16" fmla="*/ 9273309 w 9402618"/>
                  <a:gd name="connsiteY16" fmla="*/ 2623127 h 2623127"/>
                  <a:gd name="connsiteX17" fmla="*/ 0 w 9402618"/>
                  <a:gd name="connsiteY17" fmla="*/ 2604655 h 2623127"/>
                  <a:gd name="connsiteX0" fmla="*/ 0 w 9402618"/>
                  <a:gd name="connsiteY0" fmla="*/ 2604655 h 2623127"/>
                  <a:gd name="connsiteX1" fmla="*/ 0 w 9402618"/>
                  <a:gd name="connsiteY1" fmla="*/ 1828800 h 2623127"/>
                  <a:gd name="connsiteX2" fmla="*/ 406400 w 9402618"/>
                  <a:gd name="connsiteY2" fmla="*/ 2013528 h 2623127"/>
                  <a:gd name="connsiteX3" fmla="*/ 942109 w 9402618"/>
                  <a:gd name="connsiteY3" fmla="*/ 1644073 h 2623127"/>
                  <a:gd name="connsiteX4" fmla="*/ 1366982 w 9402618"/>
                  <a:gd name="connsiteY4" fmla="*/ 1034472 h 2623127"/>
                  <a:gd name="connsiteX5" fmla="*/ 2087417 w 9402618"/>
                  <a:gd name="connsiteY5" fmla="*/ 1366981 h 2623127"/>
                  <a:gd name="connsiteX6" fmla="*/ 2641600 w 9402618"/>
                  <a:gd name="connsiteY6" fmla="*/ 1071419 h 2623127"/>
                  <a:gd name="connsiteX7" fmla="*/ 3491345 w 9402618"/>
                  <a:gd name="connsiteY7" fmla="*/ 987886 h 2623127"/>
                  <a:gd name="connsiteX8" fmla="*/ 4193309 w 9402618"/>
                  <a:gd name="connsiteY8" fmla="*/ 831272 h 2623127"/>
                  <a:gd name="connsiteX9" fmla="*/ 5190836 w 9402618"/>
                  <a:gd name="connsiteY9" fmla="*/ 369455 h 2623127"/>
                  <a:gd name="connsiteX10" fmla="*/ 5523345 w 9402618"/>
                  <a:gd name="connsiteY10" fmla="*/ 129309 h 2623127"/>
                  <a:gd name="connsiteX11" fmla="*/ 5874327 w 9402618"/>
                  <a:gd name="connsiteY11" fmla="*/ 359813 h 2623127"/>
                  <a:gd name="connsiteX12" fmla="*/ 6687127 w 9402618"/>
                  <a:gd name="connsiteY12" fmla="*/ 221672 h 2623127"/>
                  <a:gd name="connsiteX13" fmla="*/ 7869382 w 9402618"/>
                  <a:gd name="connsiteY13" fmla="*/ 0 h 2623127"/>
                  <a:gd name="connsiteX14" fmla="*/ 8497454 w 9402618"/>
                  <a:gd name="connsiteY14" fmla="*/ 350982 h 2623127"/>
                  <a:gd name="connsiteX15" fmla="*/ 9402618 w 9402618"/>
                  <a:gd name="connsiteY15" fmla="*/ 701964 h 2623127"/>
                  <a:gd name="connsiteX16" fmla="*/ 9273309 w 9402618"/>
                  <a:gd name="connsiteY16" fmla="*/ 2623127 h 2623127"/>
                  <a:gd name="connsiteX17" fmla="*/ 0 w 9402618"/>
                  <a:gd name="connsiteY17" fmla="*/ 2604655 h 2623127"/>
                  <a:gd name="connsiteX0" fmla="*/ 0 w 9273309"/>
                  <a:gd name="connsiteY0" fmla="*/ 2900218 h 2918690"/>
                  <a:gd name="connsiteX1" fmla="*/ 0 w 9273309"/>
                  <a:gd name="connsiteY1" fmla="*/ 2124363 h 2918690"/>
                  <a:gd name="connsiteX2" fmla="*/ 406400 w 9273309"/>
                  <a:gd name="connsiteY2" fmla="*/ 2309091 h 2918690"/>
                  <a:gd name="connsiteX3" fmla="*/ 942109 w 9273309"/>
                  <a:gd name="connsiteY3" fmla="*/ 1939636 h 2918690"/>
                  <a:gd name="connsiteX4" fmla="*/ 1366982 w 9273309"/>
                  <a:gd name="connsiteY4" fmla="*/ 1330035 h 2918690"/>
                  <a:gd name="connsiteX5" fmla="*/ 2087417 w 9273309"/>
                  <a:gd name="connsiteY5" fmla="*/ 1662544 h 2918690"/>
                  <a:gd name="connsiteX6" fmla="*/ 2641600 w 9273309"/>
                  <a:gd name="connsiteY6" fmla="*/ 1366982 h 2918690"/>
                  <a:gd name="connsiteX7" fmla="*/ 3491345 w 9273309"/>
                  <a:gd name="connsiteY7" fmla="*/ 1283449 h 2918690"/>
                  <a:gd name="connsiteX8" fmla="*/ 4193309 w 9273309"/>
                  <a:gd name="connsiteY8" fmla="*/ 1126835 h 2918690"/>
                  <a:gd name="connsiteX9" fmla="*/ 5190836 w 9273309"/>
                  <a:gd name="connsiteY9" fmla="*/ 665018 h 2918690"/>
                  <a:gd name="connsiteX10" fmla="*/ 5523345 w 9273309"/>
                  <a:gd name="connsiteY10" fmla="*/ 424872 h 2918690"/>
                  <a:gd name="connsiteX11" fmla="*/ 5874327 w 9273309"/>
                  <a:gd name="connsiteY11" fmla="*/ 655376 h 2918690"/>
                  <a:gd name="connsiteX12" fmla="*/ 6687127 w 9273309"/>
                  <a:gd name="connsiteY12" fmla="*/ 517235 h 2918690"/>
                  <a:gd name="connsiteX13" fmla="*/ 7869382 w 9273309"/>
                  <a:gd name="connsiteY13" fmla="*/ 295563 h 2918690"/>
                  <a:gd name="connsiteX14" fmla="*/ 8497454 w 9273309"/>
                  <a:gd name="connsiteY14" fmla="*/ 646545 h 2918690"/>
                  <a:gd name="connsiteX15" fmla="*/ 9236364 w 9273309"/>
                  <a:gd name="connsiteY15" fmla="*/ 0 h 2918690"/>
                  <a:gd name="connsiteX16" fmla="*/ 9273309 w 9273309"/>
                  <a:gd name="connsiteY16" fmla="*/ 2918690 h 2918690"/>
                  <a:gd name="connsiteX17" fmla="*/ 0 w 9273309"/>
                  <a:gd name="connsiteY17" fmla="*/ 2900218 h 2918690"/>
                  <a:gd name="connsiteX0" fmla="*/ 0 w 9273309"/>
                  <a:gd name="connsiteY0" fmla="*/ 2900218 h 2918690"/>
                  <a:gd name="connsiteX1" fmla="*/ 0 w 9273309"/>
                  <a:gd name="connsiteY1" fmla="*/ 2124363 h 2918690"/>
                  <a:gd name="connsiteX2" fmla="*/ 406400 w 9273309"/>
                  <a:gd name="connsiteY2" fmla="*/ 2309091 h 2918690"/>
                  <a:gd name="connsiteX3" fmla="*/ 942109 w 9273309"/>
                  <a:gd name="connsiteY3" fmla="*/ 1939636 h 2918690"/>
                  <a:gd name="connsiteX4" fmla="*/ 1366982 w 9273309"/>
                  <a:gd name="connsiteY4" fmla="*/ 1330035 h 2918690"/>
                  <a:gd name="connsiteX5" fmla="*/ 2087417 w 9273309"/>
                  <a:gd name="connsiteY5" fmla="*/ 1662544 h 2918690"/>
                  <a:gd name="connsiteX6" fmla="*/ 2641600 w 9273309"/>
                  <a:gd name="connsiteY6" fmla="*/ 1366982 h 2918690"/>
                  <a:gd name="connsiteX7" fmla="*/ 3491345 w 9273309"/>
                  <a:gd name="connsiteY7" fmla="*/ 1283449 h 2918690"/>
                  <a:gd name="connsiteX8" fmla="*/ 4193309 w 9273309"/>
                  <a:gd name="connsiteY8" fmla="*/ 1126835 h 2918690"/>
                  <a:gd name="connsiteX9" fmla="*/ 5190836 w 9273309"/>
                  <a:gd name="connsiteY9" fmla="*/ 665018 h 2918690"/>
                  <a:gd name="connsiteX10" fmla="*/ 5523345 w 9273309"/>
                  <a:gd name="connsiteY10" fmla="*/ 424872 h 2918690"/>
                  <a:gd name="connsiteX11" fmla="*/ 5874327 w 9273309"/>
                  <a:gd name="connsiteY11" fmla="*/ 655376 h 2918690"/>
                  <a:gd name="connsiteX12" fmla="*/ 6687127 w 9273309"/>
                  <a:gd name="connsiteY12" fmla="*/ 517235 h 2918690"/>
                  <a:gd name="connsiteX13" fmla="*/ 7869382 w 9273309"/>
                  <a:gd name="connsiteY13" fmla="*/ 295563 h 2918690"/>
                  <a:gd name="connsiteX14" fmla="*/ 8497454 w 9273309"/>
                  <a:gd name="connsiteY14" fmla="*/ 646545 h 2918690"/>
                  <a:gd name="connsiteX15" fmla="*/ 9236364 w 9273309"/>
                  <a:gd name="connsiteY15" fmla="*/ 0 h 2918690"/>
                  <a:gd name="connsiteX16" fmla="*/ 9273309 w 9273309"/>
                  <a:gd name="connsiteY16" fmla="*/ 2918690 h 2918690"/>
                  <a:gd name="connsiteX17" fmla="*/ 0 w 9273309"/>
                  <a:gd name="connsiteY17" fmla="*/ 2900218 h 2918690"/>
                  <a:gd name="connsiteX0" fmla="*/ 0 w 9273309"/>
                  <a:gd name="connsiteY0" fmla="*/ 2900218 h 2918690"/>
                  <a:gd name="connsiteX1" fmla="*/ 0 w 9273309"/>
                  <a:gd name="connsiteY1" fmla="*/ 2124363 h 2918690"/>
                  <a:gd name="connsiteX2" fmla="*/ 406400 w 9273309"/>
                  <a:gd name="connsiteY2" fmla="*/ 2309091 h 2918690"/>
                  <a:gd name="connsiteX3" fmla="*/ 942109 w 9273309"/>
                  <a:gd name="connsiteY3" fmla="*/ 1939636 h 2918690"/>
                  <a:gd name="connsiteX4" fmla="*/ 1366982 w 9273309"/>
                  <a:gd name="connsiteY4" fmla="*/ 1330035 h 2918690"/>
                  <a:gd name="connsiteX5" fmla="*/ 2087417 w 9273309"/>
                  <a:gd name="connsiteY5" fmla="*/ 1662544 h 2918690"/>
                  <a:gd name="connsiteX6" fmla="*/ 2641600 w 9273309"/>
                  <a:gd name="connsiteY6" fmla="*/ 1366982 h 2918690"/>
                  <a:gd name="connsiteX7" fmla="*/ 3491345 w 9273309"/>
                  <a:gd name="connsiteY7" fmla="*/ 1283449 h 2918690"/>
                  <a:gd name="connsiteX8" fmla="*/ 4193309 w 9273309"/>
                  <a:gd name="connsiteY8" fmla="*/ 1126835 h 2918690"/>
                  <a:gd name="connsiteX9" fmla="*/ 5190836 w 9273309"/>
                  <a:gd name="connsiteY9" fmla="*/ 665018 h 2918690"/>
                  <a:gd name="connsiteX10" fmla="*/ 5523345 w 9273309"/>
                  <a:gd name="connsiteY10" fmla="*/ 424872 h 2918690"/>
                  <a:gd name="connsiteX11" fmla="*/ 5874327 w 9273309"/>
                  <a:gd name="connsiteY11" fmla="*/ 655376 h 2918690"/>
                  <a:gd name="connsiteX12" fmla="*/ 6687127 w 9273309"/>
                  <a:gd name="connsiteY12" fmla="*/ 517235 h 2918690"/>
                  <a:gd name="connsiteX13" fmla="*/ 7869382 w 9273309"/>
                  <a:gd name="connsiteY13" fmla="*/ 295563 h 2918690"/>
                  <a:gd name="connsiteX14" fmla="*/ 8497454 w 9273309"/>
                  <a:gd name="connsiteY14" fmla="*/ 646545 h 2918690"/>
                  <a:gd name="connsiteX15" fmla="*/ 9236364 w 9273309"/>
                  <a:gd name="connsiteY15" fmla="*/ 0 h 2918690"/>
                  <a:gd name="connsiteX16" fmla="*/ 9273309 w 9273309"/>
                  <a:gd name="connsiteY16" fmla="*/ 2918690 h 2918690"/>
                  <a:gd name="connsiteX17" fmla="*/ 0 w 9273309"/>
                  <a:gd name="connsiteY17" fmla="*/ 2900218 h 2918690"/>
                  <a:gd name="connsiteX0" fmla="*/ 18473 w 9273309"/>
                  <a:gd name="connsiteY0" fmla="*/ 4710545 h 4710545"/>
                  <a:gd name="connsiteX1" fmla="*/ 0 w 9273309"/>
                  <a:gd name="connsiteY1" fmla="*/ 2124363 h 4710545"/>
                  <a:gd name="connsiteX2" fmla="*/ 406400 w 9273309"/>
                  <a:gd name="connsiteY2" fmla="*/ 2309091 h 4710545"/>
                  <a:gd name="connsiteX3" fmla="*/ 942109 w 9273309"/>
                  <a:gd name="connsiteY3" fmla="*/ 1939636 h 4710545"/>
                  <a:gd name="connsiteX4" fmla="*/ 1366982 w 9273309"/>
                  <a:gd name="connsiteY4" fmla="*/ 1330035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942109 w 9273309"/>
                  <a:gd name="connsiteY3" fmla="*/ 1939636 h 4710545"/>
                  <a:gd name="connsiteX4" fmla="*/ 1366982 w 9273309"/>
                  <a:gd name="connsiteY4" fmla="*/ 1330035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366982 w 9273309"/>
                  <a:gd name="connsiteY4" fmla="*/ 1330035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440873 w 9273309"/>
                  <a:gd name="connsiteY4" fmla="*/ 2623125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219200 w 9273309"/>
                  <a:gd name="connsiteY4" fmla="*/ 2087416 h 4710545"/>
                  <a:gd name="connsiteX5" fmla="*/ 2087417 w 9273309"/>
                  <a:gd name="connsiteY5" fmla="*/ 1662544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219200 w 9273309"/>
                  <a:gd name="connsiteY4" fmla="*/ 2087416 h 4710545"/>
                  <a:gd name="connsiteX5" fmla="*/ 2087417 w 9273309"/>
                  <a:gd name="connsiteY5" fmla="*/ 3011053 h 4710545"/>
                  <a:gd name="connsiteX6" fmla="*/ 2641600 w 9273309"/>
                  <a:gd name="connsiteY6" fmla="*/ 1366982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73309"/>
                  <a:gd name="connsiteY0" fmla="*/ 4710545 h 4710545"/>
                  <a:gd name="connsiteX1" fmla="*/ 0 w 9273309"/>
                  <a:gd name="connsiteY1" fmla="*/ 2124363 h 4710545"/>
                  <a:gd name="connsiteX2" fmla="*/ 572655 w 9273309"/>
                  <a:gd name="connsiteY2" fmla="*/ 1773381 h 4710545"/>
                  <a:gd name="connsiteX3" fmla="*/ 849745 w 9273309"/>
                  <a:gd name="connsiteY3" fmla="*/ 2327564 h 4710545"/>
                  <a:gd name="connsiteX4" fmla="*/ 1219200 w 9273309"/>
                  <a:gd name="connsiteY4" fmla="*/ 2087416 h 4710545"/>
                  <a:gd name="connsiteX5" fmla="*/ 2087417 w 9273309"/>
                  <a:gd name="connsiteY5" fmla="*/ 3011053 h 4710545"/>
                  <a:gd name="connsiteX6" fmla="*/ 3214254 w 9273309"/>
                  <a:gd name="connsiteY6" fmla="*/ 2142837 h 4710545"/>
                  <a:gd name="connsiteX7" fmla="*/ 3491345 w 9273309"/>
                  <a:gd name="connsiteY7" fmla="*/ 1283449 h 4710545"/>
                  <a:gd name="connsiteX8" fmla="*/ 4193309 w 9273309"/>
                  <a:gd name="connsiteY8" fmla="*/ 1126835 h 4710545"/>
                  <a:gd name="connsiteX9" fmla="*/ 5190836 w 9273309"/>
                  <a:gd name="connsiteY9" fmla="*/ 665018 h 4710545"/>
                  <a:gd name="connsiteX10" fmla="*/ 5523345 w 9273309"/>
                  <a:gd name="connsiteY10" fmla="*/ 424872 h 4710545"/>
                  <a:gd name="connsiteX11" fmla="*/ 5874327 w 9273309"/>
                  <a:gd name="connsiteY11" fmla="*/ 655376 h 4710545"/>
                  <a:gd name="connsiteX12" fmla="*/ 6687127 w 9273309"/>
                  <a:gd name="connsiteY12" fmla="*/ 517235 h 4710545"/>
                  <a:gd name="connsiteX13" fmla="*/ 7869382 w 9273309"/>
                  <a:gd name="connsiteY13" fmla="*/ 295563 h 4710545"/>
                  <a:gd name="connsiteX14" fmla="*/ 8497454 w 9273309"/>
                  <a:gd name="connsiteY14" fmla="*/ 646545 h 4710545"/>
                  <a:gd name="connsiteX15" fmla="*/ 9236364 w 9273309"/>
                  <a:gd name="connsiteY15" fmla="*/ 0 h 4710545"/>
                  <a:gd name="connsiteX16" fmla="*/ 9273309 w 9273309"/>
                  <a:gd name="connsiteY16" fmla="*/ 2918690 h 4710545"/>
                  <a:gd name="connsiteX17" fmla="*/ 18473 w 9273309"/>
                  <a:gd name="connsiteY17" fmla="*/ 4710545 h 4710545"/>
                  <a:gd name="connsiteX0" fmla="*/ 18473 w 9291783"/>
                  <a:gd name="connsiteY0" fmla="*/ 4414982 h 4414982"/>
                  <a:gd name="connsiteX1" fmla="*/ 0 w 9291783"/>
                  <a:gd name="connsiteY1" fmla="*/ 1828800 h 4414982"/>
                  <a:gd name="connsiteX2" fmla="*/ 572655 w 9291783"/>
                  <a:gd name="connsiteY2" fmla="*/ 1477818 h 4414982"/>
                  <a:gd name="connsiteX3" fmla="*/ 849745 w 9291783"/>
                  <a:gd name="connsiteY3" fmla="*/ 2032001 h 4414982"/>
                  <a:gd name="connsiteX4" fmla="*/ 1219200 w 9291783"/>
                  <a:gd name="connsiteY4" fmla="*/ 1791853 h 4414982"/>
                  <a:gd name="connsiteX5" fmla="*/ 2087417 w 9291783"/>
                  <a:gd name="connsiteY5" fmla="*/ 2715490 h 4414982"/>
                  <a:gd name="connsiteX6" fmla="*/ 3214254 w 9291783"/>
                  <a:gd name="connsiteY6" fmla="*/ 1847274 h 4414982"/>
                  <a:gd name="connsiteX7" fmla="*/ 3491345 w 9291783"/>
                  <a:gd name="connsiteY7" fmla="*/ 987886 h 4414982"/>
                  <a:gd name="connsiteX8" fmla="*/ 4193309 w 9291783"/>
                  <a:gd name="connsiteY8" fmla="*/ 831272 h 4414982"/>
                  <a:gd name="connsiteX9" fmla="*/ 5190836 w 9291783"/>
                  <a:gd name="connsiteY9" fmla="*/ 369455 h 4414982"/>
                  <a:gd name="connsiteX10" fmla="*/ 5523345 w 9291783"/>
                  <a:gd name="connsiteY10" fmla="*/ 129309 h 4414982"/>
                  <a:gd name="connsiteX11" fmla="*/ 5874327 w 9291783"/>
                  <a:gd name="connsiteY11" fmla="*/ 359813 h 4414982"/>
                  <a:gd name="connsiteX12" fmla="*/ 6687127 w 9291783"/>
                  <a:gd name="connsiteY12" fmla="*/ 221672 h 4414982"/>
                  <a:gd name="connsiteX13" fmla="*/ 7869382 w 9291783"/>
                  <a:gd name="connsiteY13" fmla="*/ 0 h 4414982"/>
                  <a:gd name="connsiteX14" fmla="*/ 8497454 w 9291783"/>
                  <a:gd name="connsiteY14" fmla="*/ 350982 h 4414982"/>
                  <a:gd name="connsiteX15" fmla="*/ 9291783 w 9291783"/>
                  <a:gd name="connsiteY15" fmla="*/ 1366983 h 4414982"/>
                  <a:gd name="connsiteX16" fmla="*/ 9273309 w 9291783"/>
                  <a:gd name="connsiteY16" fmla="*/ 2623127 h 4414982"/>
                  <a:gd name="connsiteX17" fmla="*/ 18473 w 9291783"/>
                  <a:gd name="connsiteY17" fmla="*/ 4414982 h 4414982"/>
                  <a:gd name="connsiteX0" fmla="*/ 18473 w 9291783"/>
                  <a:gd name="connsiteY0" fmla="*/ 4414982 h 4414982"/>
                  <a:gd name="connsiteX1" fmla="*/ 0 w 9291783"/>
                  <a:gd name="connsiteY1" fmla="*/ 1828800 h 4414982"/>
                  <a:gd name="connsiteX2" fmla="*/ 572655 w 9291783"/>
                  <a:gd name="connsiteY2" fmla="*/ 1477818 h 4414982"/>
                  <a:gd name="connsiteX3" fmla="*/ 849745 w 9291783"/>
                  <a:gd name="connsiteY3" fmla="*/ 2032001 h 4414982"/>
                  <a:gd name="connsiteX4" fmla="*/ 1219200 w 9291783"/>
                  <a:gd name="connsiteY4" fmla="*/ 1791853 h 4414982"/>
                  <a:gd name="connsiteX5" fmla="*/ 2087417 w 9291783"/>
                  <a:gd name="connsiteY5" fmla="*/ 2715490 h 4414982"/>
                  <a:gd name="connsiteX6" fmla="*/ 3214254 w 9291783"/>
                  <a:gd name="connsiteY6" fmla="*/ 1847274 h 4414982"/>
                  <a:gd name="connsiteX7" fmla="*/ 3491345 w 9291783"/>
                  <a:gd name="connsiteY7" fmla="*/ 987886 h 4414982"/>
                  <a:gd name="connsiteX8" fmla="*/ 4193309 w 9291783"/>
                  <a:gd name="connsiteY8" fmla="*/ 831272 h 4414982"/>
                  <a:gd name="connsiteX9" fmla="*/ 5190836 w 9291783"/>
                  <a:gd name="connsiteY9" fmla="*/ 369455 h 4414982"/>
                  <a:gd name="connsiteX10" fmla="*/ 5523345 w 9291783"/>
                  <a:gd name="connsiteY10" fmla="*/ 129309 h 4414982"/>
                  <a:gd name="connsiteX11" fmla="*/ 5874327 w 9291783"/>
                  <a:gd name="connsiteY11" fmla="*/ 359813 h 4414982"/>
                  <a:gd name="connsiteX12" fmla="*/ 6687127 w 9291783"/>
                  <a:gd name="connsiteY12" fmla="*/ 221672 h 4414982"/>
                  <a:gd name="connsiteX13" fmla="*/ 7869382 w 9291783"/>
                  <a:gd name="connsiteY13" fmla="*/ 0 h 4414982"/>
                  <a:gd name="connsiteX14" fmla="*/ 9033163 w 9291783"/>
                  <a:gd name="connsiteY14" fmla="*/ 665018 h 4414982"/>
                  <a:gd name="connsiteX15" fmla="*/ 9291783 w 9291783"/>
                  <a:gd name="connsiteY15" fmla="*/ 1366983 h 4414982"/>
                  <a:gd name="connsiteX16" fmla="*/ 9273309 w 9291783"/>
                  <a:gd name="connsiteY16" fmla="*/ 2623127 h 4414982"/>
                  <a:gd name="connsiteX17" fmla="*/ 18473 w 9291783"/>
                  <a:gd name="connsiteY17" fmla="*/ 4414982 h 4414982"/>
                  <a:gd name="connsiteX0" fmla="*/ 18473 w 9291783"/>
                  <a:gd name="connsiteY0" fmla="*/ 4285673 h 4285673"/>
                  <a:gd name="connsiteX1" fmla="*/ 0 w 9291783"/>
                  <a:gd name="connsiteY1" fmla="*/ 1699491 h 4285673"/>
                  <a:gd name="connsiteX2" fmla="*/ 572655 w 9291783"/>
                  <a:gd name="connsiteY2" fmla="*/ 1348509 h 4285673"/>
                  <a:gd name="connsiteX3" fmla="*/ 849745 w 9291783"/>
                  <a:gd name="connsiteY3" fmla="*/ 1902692 h 4285673"/>
                  <a:gd name="connsiteX4" fmla="*/ 1219200 w 9291783"/>
                  <a:gd name="connsiteY4" fmla="*/ 1662544 h 4285673"/>
                  <a:gd name="connsiteX5" fmla="*/ 2087417 w 9291783"/>
                  <a:gd name="connsiteY5" fmla="*/ 2586181 h 4285673"/>
                  <a:gd name="connsiteX6" fmla="*/ 3214254 w 9291783"/>
                  <a:gd name="connsiteY6" fmla="*/ 1717965 h 4285673"/>
                  <a:gd name="connsiteX7" fmla="*/ 3491345 w 9291783"/>
                  <a:gd name="connsiteY7" fmla="*/ 858577 h 4285673"/>
                  <a:gd name="connsiteX8" fmla="*/ 4193309 w 9291783"/>
                  <a:gd name="connsiteY8" fmla="*/ 701963 h 4285673"/>
                  <a:gd name="connsiteX9" fmla="*/ 5190836 w 9291783"/>
                  <a:gd name="connsiteY9" fmla="*/ 240146 h 4285673"/>
                  <a:gd name="connsiteX10" fmla="*/ 5523345 w 9291783"/>
                  <a:gd name="connsiteY10" fmla="*/ 0 h 4285673"/>
                  <a:gd name="connsiteX11" fmla="*/ 5874327 w 9291783"/>
                  <a:gd name="connsiteY11" fmla="*/ 230504 h 4285673"/>
                  <a:gd name="connsiteX12" fmla="*/ 6687127 w 9291783"/>
                  <a:gd name="connsiteY12" fmla="*/ 92363 h 4285673"/>
                  <a:gd name="connsiteX13" fmla="*/ 8682182 w 9291783"/>
                  <a:gd name="connsiteY13" fmla="*/ 646546 h 4285673"/>
                  <a:gd name="connsiteX14" fmla="*/ 9033163 w 9291783"/>
                  <a:gd name="connsiteY14" fmla="*/ 535709 h 4285673"/>
                  <a:gd name="connsiteX15" fmla="*/ 9291783 w 9291783"/>
                  <a:gd name="connsiteY15" fmla="*/ 1237674 h 4285673"/>
                  <a:gd name="connsiteX16" fmla="*/ 9273309 w 9291783"/>
                  <a:gd name="connsiteY16" fmla="*/ 2493818 h 4285673"/>
                  <a:gd name="connsiteX17" fmla="*/ 18473 w 9291783"/>
                  <a:gd name="connsiteY17" fmla="*/ 4285673 h 4285673"/>
                  <a:gd name="connsiteX0" fmla="*/ 18473 w 9291783"/>
                  <a:gd name="connsiteY0" fmla="*/ 4285673 h 4285673"/>
                  <a:gd name="connsiteX1" fmla="*/ 0 w 9291783"/>
                  <a:gd name="connsiteY1" fmla="*/ 1699491 h 4285673"/>
                  <a:gd name="connsiteX2" fmla="*/ 572655 w 9291783"/>
                  <a:gd name="connsiteY2" fmla="*/ 1348509 h 4285673"/>
                  <a:gd name="connsiteX3" fmla="*/ 849745 w 9291783"/>
                  <a:gd name="connsiteY3" fmla="*/ 1902692 h 4285673"/>
                  <a:gd name="connsiteX4" fmla="*/ 1219200 w 9291783"/>
                  <a:gd name="connsiteY4" fmla="*/ 1662544 h 4285673"/>
                  <a:gd name="connsiteX5" fmla="*/ 2087417 w 9291783"/>
                  <a:gd name="connsiteY5" fmla="*/ 2586181 h 4285673"/>
                  <a:gd name="connsiteX6" fmla="*/ 3214254 w 9291783"/>
                  <a:gd name="connsiteY6" fmla="*/ 1717965 h 4285673"/>
                  <a:gd name="connsiteX7" fmla="*/ 3491345 w 9291783"/>
                  <a:gd name="connsiteY7" fmla="*/ 858577 h 4285673"/>
                  <a:gd name="connsiteX8" fmla="*/ 4193309 w 9291783"/>
                  <a:gd name="connsiteY8" fmla="*/ 701963 h 4285673"/>
                  <a:gd name="connsiteX9" fmla="*/ 5190836 w 9291783"/>
                  <a:gd name="connsiteY9" fmla="*/ 240146 h 4285673"/>
                  <a:gd name="connsiteX10" fmla="*/ 5523345 w 9291783"/>
                  <a:gd name="connsiteY10" fmla="*/ 0 h 4285673"/>
                  <a:gd name="connsiteX11" fmla="*/ 5874327 w 9291783"/>
                  <a:gd name="connsiteY11" fmla="*/ 230504 h 4285673"/>
                  <a:gd name="connsiteX12" fmla="*/ 6687127 w 9291783"/>
                  <a:gd name="connsiteY12" fmla="*/ 92363 h 4285673"/>
                  <a:gd name="connsiteX13" fmla="*/ 7961746 w 9291783"/>
                  <a:gd name="connsiteY13" fmla="*/ 765143 h 4285673"/>
                  <a:gd name="connsiteX14" fmla="*/ 8682182 w 9291783"/>
                  <a:gd name="connsiteY14" fmla="*/ 646546 h 4285673"/>
                  <a:gd name="connsiteX15" fmla="*/ 9033163 w 9291783"/>
                  <a:gd name="connsiteY15" fmla="*/ 535709 h 4285673"/>
                  <a:gd name="connsiteX16" fmla="*/ 9291783 w 9291783"/>
                  <a:gd name="connsiteY16" fmla="*/ 1237674 h 4285673"/>
                  <a:gd name="connsiteX17" fmla="*/ 9273309 w 9291783"/>
                  <a:gd name="connsiteY17" fmla="*/ 2493818 h 4285673"/>
                  <a:gd name="connsiteX18" fmla="*/ 18473 w 9291783"/>
                  <a:gd name="connsiteY18" fmla="*/ 4285673 h 4285673"/>
                  <a:gd name="connsiteX0" fmla="*/ 18473 w 9291783"/>
                  <a:gd name="connsiteY0" fmla="*/ 4285673 h 4285673"/>
                  <a:gd name="connsiteX1" fmla="*/ 0 w 9291783"/>
                  <a:gd name="connsiteY1" fmla="*/ 1699491 h 4285673"/>
                  <a:gd name="connsiteX2" fmla="*/ 572655 w 9291783"/>
                  <a:gd name="connsiteY2" fmla="*/ 1348509 h 4285673"/>
                  <a:gd name="connsiteX3" fmla="*/ 849745 w 9291783"/>
                  <a:gd name="connsiteY3" fmla="*/ 1902692 h 4285673"/>
                  <a:gd name="connsiteX4" fmla="*/ 1219200 w 9291783"/>
                  <a:gd name="connsiteY4" fmla="*/ 1662544 h 4285673"/>
                  <a:gd name="connsiteX5" fmla="*/ 2087417 w 9291783"/>
                  <a:gd name="connsiteY5" fmla="*/ 2586181 h 4285673"/>
                  <a:gd name="connsiteX6" fmla="*/ 3214254 w 9291783"/>
                  <a:gd name="connsiteY6" fmla="*/ 1717965 h 4285673"/>
                  <a:gd name="connsiteX7" fmla="*/ 3491345 w 9291783"/>
                  <a:gd name="connsiteY7" fmla="*/ 858577 h 4285673"/>
                  <a:gd name="connsiteX8" fmla="*/ 4193309 w 9291783"/>
                  <a:gd name="connsiteY8" fmla="*/ 701963 h 4285673"/>
                  <a:gd name="connsiteX9" fmla="*/ 5190836 w 9291783"/>
                  <a:gd name="connsiteY9" fmla="*/ 240146 h 4285673"/>
                  <a:gd name="connsiteX10" fmla="*/ 5523345 w 9291783"/>
                  <a:gd name="connsiteY10" fmla="*/ 0 h 4285673"/>
                  <a:gd name="connsiteX11" fmla="*/ 5874327 w 9291783"/>
                  <a:gd name="connsiteY11" fmla="*/ 230504 h 4285673"/>
                  <a:gd name="connsiteX12" fmla="*/ 6797963 w 9291783"/>
                  <a:gd name="connsiteY12" fmla="*/ 387926 h 4285673"/>
                  <a:gd name="connsiteX13" fmla="*/ 7961746 w 9291783"/>
                  <a:gd name="connsiteY13" fmla="*/ 765143 h 4285673"/>
                  <a:gd name="connsiteX14" fmla="*/ 8682182 w 9291783"/>
                  <a:gd name="connsiteY14" fmla="*/ 646546 h 4285673"/>
                  <a:gd name="connsiteX15" fmla="*/ 9033163 w 9291783"/>
                  <a:gd name="connsiteY15" fmla="*/ 535709 h 4285673"/>
                  <a:gd name="connsiteX16" fmla="*/ 9291783 w 9291783"/>
                  <a:gd name="connsiteY16" fmla="*/ 1237674 h 4285673"/>
                  <a:gd name="connsiteX17" fmla="*/ 9273309 w 9291783"/>
                  <a:gd name="connsiteY17" fmla="*/ 2493818 h 4285673"/>
                  <a:gd name="connsiteX18" fmla="*/ 18473 w 9291783"/>
                  <a:gd name="connsiteY18" fmla="*/ 4285673 h 4285673"/>
                  <a:gd name="connsiteX0" fmla="*/ 18473 w 9291783"/>
                  <a:gd name="connsiteY0" fmla="*/ 4285673 h 4285673"/>
                  <a:gd name="connsiteX1" fmla="*/ 0 w 9291783"/>
                  <a:gd name="connsiteY1" fmla="*/ 1699491 h 4285673"/>
                  <a:gd name="connsiteX2" fmla="*/ 572655 w 9291783"/>
                  <a:gd name="connsiteY2" fmla="*/ 1348509 h 4285673"/>
                  <a:gd name="connsiteX3" fmla="*/ 849745 w 9291783"/>
                  <a:gd name="connsiteY3" fmla="*/ 1902692 h 4285673"/>
                  <a:gd name="connsiteX4" fmla="*/ 1219200 w 9291783"/>
                  <a:gd name="connsiteY4" fmla="*/ 1662544 h 4285673"/>
                  <a:gd name="connsiteX5" fmla="*/ 2087417 w 9291783"/>
                  <a:gd name="connsiteY5" fmla="*/ 2586181 h 4285673"/>
                  <a:gd name="connsiteX6" fmla="*/ 3214254 w 9291783"/>
                  <a:gd name="connsiteY6" fmla="*/ 1717965 h 4285673"/>
                  <a:gd name="connsiteX7" fmla="*/ 3491345 w 9291783"/>
                  <a:gd name="connsiteY7" fmla="*/ 858577 h 4285673"/>
                  <a:gd name="connsiteX8" fmla="*/ 4193309 w 9291783"/>
                  <a:gd name="connsiteY8" fmla="*/ 701963 h 4285673"/>
                  <a:gd name="connsiteX9" fmla="*/ 5190836 w 9291783"/>
                  <a:gd name="connsiteY9" fmla="*/ 240146 h 4285673"/>
                  <a:gd name="connsiteX10" fmla="*/ 5523345 w 9291783"/>
                  <a:gd name="connsiteY10" fmla="*/ 0 h 4285673"/>
                  <a:gd name="connsiteX11" fmla="*/ 6410036 w 9291783"/>
                  <a:gd name="connsiteY11" fmla="*/ 692322 h 4285673"/>
                  <a:gd name="connsiteX12" fmla="*/ 6797963 w 9291783"/>
                  <a:gd name="connsiteY12" fmla="*/ 387926 h 4285673"/>
                  <a:gd name="connsiteX13" fmla="*/ 7961746 w 9291783"/>
                  <a:gd name="connsiteY13" fmla="*/ 765143 h 4285673"/>
                  <a:gd name="connsiteX14" fmla="*/ 8682182 w 9291783"/>
                  <a:gd name="connsiteY14" fmla="*/ 646546 h 4285673"/>
                  <a:gd name="connsiteX15" fmla="*/ 9033163 w 9291783"/>
                  <a:gd name="connsiteY15" fmla="*/ 535709 h 4285673"/>
                  <a:gd name="connsiteX16" fmla="*/ 9291783 w 9291783"/>
                  <a:gd name="connsiteY16" fmla="*/ 1237674 h 4285673"/>
                  <a:gd name="connsiteX17" fmla="*/ 9273309 w 9291783"/>
                  <a:gd name="connsiteY17" fmla="*/ 2493818 h 4285673"/>
                  <a:gd name="connsiteX18" fmla="*/ 18473 w 9291783"/>
                  <a:gd name="connsiteY18" fmla="*/ 4285673 h 4285673"/>
                  <a:gd name="connsiteX0" fmla="*/ 18473 w 9291783"/>
                  <a:gd name="connsiteY0" fmla="*/ 4045527 h 4045527"/>
                  <a:gd name="connsiteX1" fmla="*/ 0 w 9291783"/>
                  <a:gd name="connsiteY1" fmla="*/ 1459345 h 4045527"/>
                  <a:gd name="connsiteX2" fmla="*/ 572655 w 9291783"/>
                  <a:gd name="connsiteY2" fmla="*/ 1108363 h 4045527"/>
                  <a:gd name="connsiteX3" fmla="*/ 849745 w 9291783"/>
                  <a:gd name="connsiteY3" fmla="*/ 1662546 h 4045527"/>
                  <a:gd name="connsiteX4" fmla="*/ 1219200 w 9291783"/>
                  <a:gd name="connsiteY4" fmla="*/ 1422398 h 4045527"/>
                  <a:gd name="connsiteX5" fmla="*/ 2087417 w 9291783"/>
                  <a:gd name="connsiteY5" fmla="*/ 2346035 h 4045527"/>
                  <a:gd name="connsiteX6" fmla="*/ 3214254 w 9291783"/>
                  <a:gd name="connsiteY6" fmla="*/ 1477819 h 4045527"/>
                  <a:gd name="connsiteX7" fmla="*/ 3491345 w 9291783"/>
                  <a:gd name="connsiteY7" fmla="*/ 618431 h 4045527"/>
                  <a:gd name="connsiteX8" fmla="*/ 4193309 w 9291783"/>
                  <a:gd name="connsiteY8" fmla="*/ 461817 h 4045527"/>
                  <a:gd name="connsiteX9" fmla="*/ 5190836 w 9291783"/>
                  <a:gd name="connsiteY9" fmla="*/ 0 h 4045527"/>
                  <a:gd name="connsiteX10" fmla="*/ 5837381 w 9291783"/>
                  <a:gd name="connsiteY10" fmla="*/ 628073 h 4045527"/>
                  <a:gd name="connsiteX11" fmla="*/ 6410036 w 9291783"/>
                  <a:gd name="connsiteY11" fmla="*/ 452176 h 4045527"/>
                  <a:gd name="connsiteX12" fmla="*/ 6797963 w 9291783"/>
                  <a:gd name="connsiteY12" fmla="*/ 147780 h 4045527"/>
                  <a:gd name="connsiteX13" fmla="*/ 7961746 w 9291783"/>
                  <a:gd name="connsiteY13" fmla="*/ 524997 h 4045527"/>
                  <a:gd name="connsiteX14" fmla="*/ 8682182 w 9291783"/>
                  <a:gd name="connsiteY14" fmla="*/ 406400 h 4045527"/>
                  <a:gd name="connsiteX15" fmla="*/ 9033163 w 9291783"/>
                  <a:gd name="connsiteY15" fmla="*/ 295563 h 4045527"/>
                  <a:gd name="connsiteX16" fmla="*/ 9291783 w 9291783"/>
                  <a:gd name="connsiteY16" fmla="*/ 997528 h 4045527"/>
                  <a:gd name="connsiteX17" fmla="*/ 9273309 w 9291783"/>
                  <a:gd name="connsiteY17" fmla="*/ 2253672 h 4045527"/>
                  <a:gd name="connsiteX18" fmla="*/ 18473 w 9291783"/>
                  <a:gd name="connsiteY18" fmla="*/ 4045527 h 404552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087417 w 9291783"/>
                  <a:gd name="connsiteY5" fmla="*/ 2198255 h 3897747"/>
                  <a:gd name="connsiteX6" fmla="*/ 3214254 w 9291783"/>
                  <a:gd name="connsiteY6" fmla="*/ 1330039 h 3897747"/>
                  <a:gd name="connsiteX7" fmla="*/ 3491345 w 9291783"/>
                  <a:gd name="connsiteY7" fmla="*/ 470651 h 3897747"/>
                  <a:gd name="connsiteX8" fmla="*/ 4193309 w 9291783"/>
                  <a:gd name="connsiteY8" fmla="*/ 314037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087417 w 9291783"/>
                  <a:gd name="connsiteY5" fmla="*/ 2198255 h 3897747"/>
                  <a:gd name="connsiteX6" fmla="*/ 3214254 w 9291783"/>
                  <a:gd name="connsiteY6" fmla="*/ 1330039 h 3897747"/>
                  <a:gd name="connsiteX7" fmla="*/ 3491345 w 9291783"/>
                  <a:gd name="connsiteY7" fmla="*/ 470651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087417 w 9291783"/>
                  <a:gd name="connsiteY5" fmla="*/ 2198255 h 3897747"/>
                  <a:gd name="connsiteX6" fmla="*/ 3214254 w 9291783"/>
                  <a:gd name="connsiteY6" fmla="*/ 1330039 h 3897747"/>
                  <a:gd name="connsiteX7" fmla="*/ 3657600 w 9291783"/>
                  <a:gd name="connsiteY7" fmla="*/ 729269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087417 w 9291783"/>
                  <a:gd name="connsiteY5" fmla="*/ 2198255 h 3897747"/>
                  <a:gd name="connsiteX6" fmla="*/ 3214254 w 9291783"/>
                  <a:gd name="connsiteY6" fmla="*/ 1330039 h 3897747"/>
                  <a:gd name="connsiteX7" fmla="*/ 3657600 w 9291783"/>
                  <a:gd name="connsiteY7" fmla="*/ 729269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897747"/>
                  <a:gd name="connsiteX1" fmla="*/ 0 w 9291783"/>
                  <a:gd name="connsiteY1" fmla="*/ 1311565 h 3897747"/>
                  <a:gd name="connsiteX2" fmla="*/ 572655 w 9291783"/>
                  <a:gd name="connsiteY2" fmla="*/ 960583 h 3897747"/>
                  <a:gd name="connsiteX3" fmla="*/ 849745 w 9291783"/>
                  <a:gd name="connsiteY3" fmla="*/ 1514766 h 3897747"/>
                  <a:gd name="connsiteX4" fmla="*/ 1219200 w 9291783"/>
                  <a:gd name="connsiteY4" fmla="*/ 1274618 h 3897747"/>
                  <a:gd name="connsiteX5" fmla="*/ 2364508 w 9291783"/>
                  <a:gd name="connsiteY5" fmla="*/ 1145310 h 3897747"/>
                  <a:gd name="connsiteX6" fmla="*/ 3214254 w 9291783"/>
                  <a:gd name="connsiteY6" fmla="*/ 1330039 h 3897747"/>
                  <a:gd name="connsiteX7" fmla="*/ 3657600 w 9291783"/>
                  <a:gd name="connsiteY7" fmla="*/ 729269 h 3897747"/>
                  <a:gd name="connsiteX8" fmla="*/ 4193309 w 9291783"/>
                  <a:gd name="connsiteY8" fmla="*/ 461819 h 3897747"/>
                  <a:gd name="connsiteX9" fmla="*/ 5061527 w 9291783"/>
                  <a:gd name="connsiteY9" fmla="*/ 535711 h 3897747"/>
                  <a:gd name="connsiteX10" fmla="*/ 5837381 w 9291783"/>
                  <a:gd name="connsiteY10" fmla="*/ 480293 h 3897747"/>
                  <a:gd name="connsiteX11" fmla="*/ 6410036 w 9291783"/>
                  <a:gd name="connsiteY11" fmla="*/ 304396 h 3897747"/>
                  <a:gd name="connsiteX12" fmla="*/ 6797963 w 9291783"/>
                  <a:gd name="connsiteY12" fmla="*/ 0 h 3897747"/>
                  <a:gd name="connsiteX13" fmla="*/ 7961746 w 9291783"/>
                  <a:gd name="connsiteY13" fmla="*/ 377217 h 3897747"/>
                  <a:gd name="connsiteX14" fmla="*/ 8682182 w 9291783"/>
                  <a:gd name="connsiteY14" fmla="*/ 258620 h 3897747"/>
                  <a:gd name="connsiteX15" fmla="*/ 9033163 w 9291783"/>
                  <a:gd name="connsiteY15" fmla="*/ 147783 h 3897747"/>
                  <a:gd name="connsiteX16" fmla="*/ 9291783 w 9291783"/>
                  <a:gd name="connsiteY16" fmla="*/ 849748 h 3897747"/>
                  <a:gd name="connsiteX17" fmla="*/ 9273309 w 9291783"/>
                  <a:gd name="connsiteY17" fmla="*/ 2105892 h 3897747"/>
                  <a:gd name="connsiteX18" fmla="*/ 18473 w 9291783"/>
                  <a:gd name="connsiteY18" fmla="*/ 3897747 h 3897747"/>
                  <a:gd name="connsiteX0" fmla="*/ 18473 w 9291783"/>
                  <a:gd name="connsiteY0" fmla="*/ 3897747 h 3916219"/>
                  <a:gd name="connsiteX1" fmla="*/ 0 w 9291783"/>
                  <a:gd name="connsiteY1" fmla="*/ 1311565 h 3916219"/>
                  <a:gd name="connsiteX2" fmla="*/ 572655 w 9291783"/>
                  <a:gd name="connsiteY2" fmla="*/ 960583 h 3916219"/>
                  <a:gd name="connsiteX3" fmla="*/ 849745 w 9291783"/>
                  <a:gd name="connsiteY3" fmla="*/ 1514766 h 3916219"/>
                  <a:gd name="connsiteX4" fmla="*/ 1219200 w 9291783"/>
                  <a:gd name="connsiteY4" fmla="*/ 1274618 h 3916219"/>
                  <a:gd name="connsiteX5" fmla="*/ 2364508 w 9291783"/>
                  <a:gd name="connsiteY5" fmla="*/ 1145310 h 3916219"/>
                  <a:gd name="connsiteX6" fmla="*/ 3214254 w 9291783"/>
                  <a:gd name="connsiteY6" fmla="*/ 1330039 h 3916219"/>
                  <a:gd name="connsiteX7" fmla="*/ 3657600 w 9291783"/>
                  <a:gd name="connsiteY7" fmla="*/ 729269 h 3916219"/>
                  <a:gd name="connsiteX8" fmla="*/ 4193309 w 9291783"/>
                  <a:gd name="connsiteY8" fmla="*/ 461819 h 3916219"/>
                  <a:gd name="connsiteX9" fmla="*/ 5061527 w 9291783"/>
                  <a:gd name="connsiteY9" fmla="*/ 535711 h 3916219"/>
                  <a:gd name="connsiteX10" fmla="*/ 5837381 w 9291783"/>
                  <a:gd name="connsiteY10" fmla="*/ 480293 h 3916219"/>
                  <a:gd name="connsiteX11" fmla="*/ 6410036 w 9291783"/>
                  <a:gd name="connsiteY11" fmla="*/ 304396 h 3916219"/>
                  <a:gd name="connsiteX12" fmla="*/ 6797963 w 9291783"/>
                  <a:gd name="connsiteY12" fmla="*/ 0 h 3916219"/>
                  <a:gd name="connsiteX13" fmla="*/ 7961746 w 9291783"/>
                  <a:gd name="connsiteY13" fmla="*/ 377217 h 3916219"/>
                  <a:gd name="connsiteX14" fmla="*/ 8682182 w 9291783"/>
                  <a:gd name="connsiteY14" fmla="*/ 258620 h 3916219"/>
                  <a:gd name="connsiteX15" fmla="*/ 9033163 w 9291783"/>
                  <a:gd name="connsiteY15" fmla="*/ 147783 h 3916219"/>
                  <a:gd name="connsiteX16" fmla="*/ 9291783 w 9291783"/>
                  <a:gd name="connsiteY16" fmla="*/ 849748 h 3916219"/>
                  <a:gd name="connsiteX17" fmla="*/ 9236363 w 9291783"/>
                  <a:gd name="connsiteY17" fmla="*/ 3916219 h 3916219"/>
                  <a:gd name="connsiteX18" fmla="*/ 18473 w 9291783"/>
                  <a:gd name="connsiteY18" fmla="*/ 3897747 h 3916219"/>
                  <a:gd name="connsiteX0" fmla="*/ 18473 w 9291783"/>
                  <a:gd name="connsiteY0" fmla="*/ 3897747 h 3916219"/>
                  <a:gd name="connsiteX1" fmla="*/ 0 w 9291783"/>
                  <a:gd name="connsiteY1" fmla="*/ 1311565 h 3916219"/>
                  <a:gd name="connsiteX2" fmla="*/ 572655 w 9291783"/>
                  <a:gd name="connsiteY2" fmla="*/ 960583 h 3916219"/>
                  <a:gd name="connsiteX3" fmla="*/ 849745 w 9291783"/>
                  <a:gd name="connsiteY3" fmla="*/ 1514766 h 3916219"/>
                  <a:gd name="connsiteX4" fmla="*/ 1219200 w 9291783"/>
                  <a:gd name="connsiteY4" fmla="*/ 1274618 h 3916219"/>
                  <a:gd name="connsiteX5" fmla="*/ 2364508 w 9291783"/>
                  <a:gd name="connsiteY5" fmla="*/ 1145310 h 3916219"/>
                  <a:gd name="connsiteX6" fmla="*/ 3214254 w 9291783"/>
                  <a:gd name="connsiteY6" fmla="*/ 1330039 h 3916219"/>
                  <a:gd name="connsiteX7" fmla="*/ 3657600 w 9291783"/>
                  <a:gd name="connsiteY7" fmla="*/ 729269 h 3916219"/>
                  <a:gd name="connsiteX8" fmla="*/ 4193309 w 9291783"/>
                  <a:gd name="connsiteY8" fmla="*/ 461819 h 3916219"/>
                  <a:gd name="connsiteX9" fmla="*/ 5061527 w 9291783"/>
                  <a:gd name="connsiteY9" fmla="*/ 535711 h 3916219"/>
                  <a:gd name="connsiteX10" fmla="*/ 5837381 w 9291783"/>
                  <a:gd name="connsiteY10" fmla="*/ 480293 h 3916219"/>
                  <a:gd name="connsiteX11" fmla="*/ 6410036 w 9291783"/>
                  <a:gd name="connsiteY11" fmla="*/ 304396 h 3916219"/>
                  <a:gd name="connsiteX12" fmla="*/ 6797963 w 9291783"/>
                  <a:gd name="connsiteY12" fmla="*/ 0 h 3916219"/>
                  <a:gd name="connsiteX13" fmla="*/ 7961746 w 9291783"/>
                  <a:gd name="connsiteY13" fmla="*/ 377217 h 3916219"/>
                  <a:gd name="connsiteX14" fmla="*/ 8682182 w 9291783"/>
                  <a:gd name="connsiteY14" fmla="*/ 258620 h 3916219"/>
                  <a:gd name="connsiteX15" fmla="*/ 8850283 w 9291783"/>
                  <a:gd name="connsiteY15" fmla="*/ 197659 h 3916219"/>
                  <a:gd name="connsiteX16" fmla="*/ 9291783 w 9291783"/>
                  <a:gd name="connsiteY16" fmla="*/ 849748 h 3916219"/>
                  <a:gd name="connsiteX17" fmla="*/ 9236363 w 9291783"/>
                  <a:gd name="connsiteY17" fmla="*/ 3916219 h 3916219"/>
                  <a:gd name="connsiteX18" fmla="*/ 18473 w 9291783"/>
                  <a:gd name="connsiteY18" fmla="*/ 3897747 h 3916219"/>
                  <a:gd name="connsiteX0" fmla="*/ 18473 w 9291783"/>
                  <a:gd name="connsiteY0" fmla="*/ 3897747 h 3916219"/>
                  <a:gd name="connsiteX1" fmla="*/ 0 w 9291783"/>
                  <a:gd name="connsiteY1" fmla="*/ 1311565 h 3916219"/>
                  <a:gd name="connsiteX2" fmla="*/ 572655 w 9291783"/>
                  <a:gd name="connsiteY2" fmla="*/ 960583 h 3916219"/>
                  <a:gd name="connsiteX3" fmla="*/ 849745 w 9291783"/>
                  <a:gd name="connsiteY3" fmla="*/ 1514766 h 3916219"/>
                  <a:gd name="connsiteX4" fmla="*/ 1219200 w 9291783"/>
                  <a:gd name="connsiteY4" fmla="*/ 1274618 h 3916219"/>
                  <a:gd name="connsiteX5" fmla="*/ 2364508 w 9291783"/>
                  <a:gd name="connsiteY5" fmla="*/ 1145310 h 3916219"/>
                  <a:gd name="connsiteX6" fmla="*/ 3214254 w 9291783"/>
                  <a:gd name="connsiteY6" fmla="*/ 1330039 h 3916219"/>
                  <a:gd name="connsiteX7" fmla="*/ 3657600 w 9291783"/>
                  <a:gd name="connsiteY7" fmla="*/ 729269 h 3916219"/>
                  <a:gd name="connsiteX8" fmla="*/ 4193309 w 9291783"/>
                  <a:gd name="connsiteY8" fmla="*/ 461819 h 3916219"/>
                  <a:gd name="connsiteX9" fmla="*/ 5061527 w 9291783"/>
                  <a:gd name="connsiteY9" fmla="*/ 535711 h 3916219"/>
                  <a:gd name="connsiteX10" fmla="*/ 5837381 w 9291783"/>
                  <a:gd name="connsiteY10" fmla="*/ 480293 h 3916219"/>
                  <a:gd name="connsiteX11" fmla="*/ 6410036 w 9291783"/>
                  <a:gd name="connsiteY11" fmla="*/ 304396 h 3916219"/>
                  <a:gd name="connsiteX12" fmla="*/ 6797963 w 9291783"/>
                  <a:gd name="connsiteY12" fmla="*/ 0 h 3916219"/>
                  <a:gd name="connsiteX13" fmla="*/ 7961746 w 9291783"/>
                  <a:gd name="connsiteY13" fmla="*/ 377217 h 3916219"/>
                  <a:gd name="connsiteX14" fmla="*/ 8349673 w 9291783"/>
                  <a:gd name="connsiteY14" fmla="*/ 391624 h 3916219"/>
                  <a:gd name="connsiteX15" fmla="*/ 8850283 w 9291783"/>
                  <a:gd name="connsiteY15" fmla="*/ 197659 h 3916219"/>
                  <a:gd name="connsiteX16" fmla="*/ 9291783 w 9291783"/>
                  <a:gd name="connsiteY16" fmla="*/ 849748 h 3916219"/>
                  <a:gd name="connsiteX17" fmla="*/ 9236363 w 9291783"/>
                  <a:gd name="connsiteY17" fmla="*/ 3916219 h 3916219"/>
                  <a:gd name="connsiteX18" fmla="*/ 18473 w 9291783"/>
                  <a:gd name="connsiteY18" fmla="*/ 3897747 h 3916219"/>
                  <a:gd name="connsiteX0" fmla="*/ 18473 w 9291783"/>
                  <a:gd name="connsiteY0" fmla="*/ 3897747 h 3916219"/>
                  <a:gd name="connsiteX1" fmla="*/ 0 w 9291783"/>
                  <a:gd name="connsiteY1" fmla="*/ 1311565 h 3916219"/>
                  <a:gd name="connsiteX2" fmla="*/ 572655 w 9291783"/>
                  <a:gd name="connsiteY2" fmla="*/ 960583 h 3916219"/>
                  <a:gd name="connsiteX3" fmla="*/ 849745 w 9291783"/>
                  <a:gd name="connsiteY3" fmla="*/ 1514766 h 3916219"/>
                  <a:gd name="connsiteX4" fmla="*/ 1219200 w 9291783"/>
                  <a:gd name="connsiteY4" fmla="*/ 1274618 h 3916219"/>
                  <a:gd name="connsiteX5" fmla="*/ 2364508 w 9291783"/>
                  <a:gd name="connsiteY5" fmla="*/ 1145310 h 3916219"/>
                  <a:gd name="connsiteX6" fmla="*/ 3214254 w 9291783"/>
                  <a:gd name="connsiteY6" fmla="*/ 1330039 h 3916219"/>
                  <a:gd name="connsiteX7" fmla="*/ 3657600 w 9291783"/>
                  <a:gd name="connsiteY7" fmla="*/ 729269 h 3916219"/>
                  <a:gd name="connsiteX8" fmla="*/ 4193309 w 9291783"/>
                  <a:gd name="connsiteY8" fmla="*/ 461819 h 3916219"/>
                  <a:gd name="connsiteX9" fmla="*/ 5061527 w 9291783"/>
                  <a:gd name="connsiteY9" fmla="*/ 535711 h 3916219"/>
                  <a:gd name="connsiteX10" fmla="*/ 5837381 w 9291783"/>
                  <a:gd name="connsiteY10" fmla="*/ 480293 h 3916219"/>
                  <a:gd name="connsiteX11" fmla="*/ 6410036 w 9291783"/>
                  <a:gd name="connsiteY11" fmla="*/ 304396 h 3916219"/>
                  <a:gd name="connsiteX12" fmla="*/ 6797963 w 9291783"/>
                  <a:gd name="connsiteY12" fmla="*/ 0 h 3916219"/>
                  <a:gd name="connsiteX13" fmla="*/ 7961746 w 9291783"/>
                  <a:gd name="connsiteY13" fmla="*/ 377217 h 3916219"/>
                  <a:gd name="connsiteX14" fmla="*/ 8349673 w 9291783"/>
                  <a:gd name="connsiteY14" fmla="*/ 391624 h 3916219"/>
                  <a:gd name="connsiteX15" fmla="*/ 8850283 w 9291783"/>
                  <a:gd name="connsiteY15" fmla="*/ 197659 h 3916219"/>
                  <a:gd name="connsiteX16" fmla="*/ 9291783 w 9291783"/>
                  <a:gd name="connsiteY16" fmla="*/ 849748 h 3916219"/>
                  <a:gd name="connsiteX17" fmla="*/ 9288620 w 9291783"/>
                  <a:gd name="connsiteY17" fmla="*/ 3916219 h 3916219"/>
                  <a:gd name="connsiteX18" fmla="*/ 18473 w 9291783"/>
                  <a:gd name="connsiteY18" fmla="*/ 3897747 h 3916219"/>
                  <a:gd name="connsiteX0" fmla="*/ 0 w 9292471"/>
                  <a:gd name="connsiteY0" fmla="*/ 3684387 h 3916219"/>
                  <a:gd name="connsiteX1" fmla="*/ 688 w 9292471"/>
                  <a:gd name="connsiteY1" fmla="*/ 1311565 h 3916219"/>
                  <a:gd name="connsiteX2" fmla="*/ 573343 w 9292471"/>
                  <a:gd name="connsiteY2" fmla="*/ 960583 h 3916219"/>
                  <a:gd name="connsiteX3" fmla="*/ 850433 w 9292471"/>
                  <a:gd name="connsiteY3" fmla="*/ 1514766 h 3916219"/>
                  <a:gd name="connsiteX4" fmla="*/ 1219888 w 9292471"/>
                  <a:gd name="connsiteY4" fmla="*/ 1274618 h 3916219"/>
                  <a:gd name="connsiteX5" fmla="*/ 2365196 w 9292471"/>
                  <a:gd name="connsiteY5" fmla="*/ 1145310 h 3916219"/>
                  <a:gd name="connsiteX6" fmla="*/ 3214942 w 9292471"/>
                  <a:gd name="connsiteY6" fmla="*/ 1330039 h 3916219"/>
                  <a:gd name="connsiteX7" fmla="*/ 3658288 w 9292471"/>
                  <a:gd name="connsiteY7" fmla="*/ 729269 h 3916219"/>
                  <a:gd name="connsiteX8" fmla="*/ 4193997 w 9292471"/>
                  <a:gd name="connsiteY8" fmla="*/ 461819 h 3916219"/>
                  <a:gd name="connsiteX9" fmla="*/ 5062215 w 9292471"/>
                  <a:gd name="connsiteY9" fmla="*/ 535711 h 3916219"/>
                  <a:gd name="connsiteX10" fmla="*/ 5838069 w 9292471"/>
                  <a:gd name="connsiteY10" fmla="*/ 480293 h 3916219"/>
                  <a:gd name="connsiteX11" fmla="*/ 6410724 w 9292471"/>
                  <a:gd name="connsiteY11" fmla="*/ 304396 h 3916219"/>
                  <a:gd name="connsiteX12" fmla="*/ 6798651 w 9292471"/>
                  <a:gd name="connsiteY12" fmla="*/ 0 h 3916219"/>
                  <a:gd name="connsiteX13" fmla="*/ 7962434 w 9292471"/>
                  <a:gd name="connsiteY13" fmla="*/ 377217 h 3916219"/>
                  <a:gd name="connsiteX14" fmla="*/ 8350361 w 9292471"/>
                  <a:gd name="connsiteY14" fmla="*/ 391624 h 3916219"/>
                  <a:gd name="connsiteX15" fmla="*/ 8850971 w 9292471"/>
                  <a:gd name="connsiteY15" fmla="*/ 197659 h 3916219"/>
                  <a:gd name="connsiteX16" fmla="*/ 9292471 w 9292471"/>
                  <a:gd name="connsiteY16" fmla="*/ 849748 h 3916219"/>
                  <a:gd name="connsiteX17" fmla="*/ 9289308 w 9292471"/>
                  <a:gd name="connsiteY17" fmla="*/ 3916219 h 3916219"/>
                  <a:gd name="connsiteX18" fmla="*/ 0 w 9292471"/>
                  <a:gd name="connsiteY18" fmla="*/ 3684387 h 3916219"/>
                  <a:gd name="connsiteX0" fmla="*/ 0 w 9295833"/>
                  <a:gd name="connsiteY0" fmla="*/ 3684387 h 3695239"/>
                  <a:gd name="connsiteX1" fmla="*/ 688 w 9295833"/>
                  <a:gd name="connsiteY1" fmla="*/ 1311565 h 3695239"/>
                  <a:gd name="connsiteX2" fmla="*/ 573343 w 9295833"/>
                  <a:gd name="connsiteY2" fmla="*/ 960583 h 3695239"/>
                  <a:gd name="connsiteX3" fmla="*/ 850433 w 9295833"/>
                  <a:gd name="connsiteY3" fmla="*/ 1514766 h 3695239"/>
                  <a:gd name="connsiteX4" fmla="*/ 1219888 w 9295833"/>
                  <a:gd name="connsiteY4" fmla="*/ 1274618 h 3695239"/>
                  <a:gd name="connsiteX5" fmla="*/ 2365196 w 9295833"/>
                  <a:gd name="connsiteY5" fmla="*/ 1145310 h 3695239"/>
                  <a:gd name="connsiteX6" fmla="*/ 3214942 w 9295833"/>
                  <a:gd name="connsiteY6" fmla="*/ 1330039 h 3695239"/>
                  <a:gd name="connsiteX7" fmla="*/ 3658288 w 9295833"/>
                  <a:gd name="connsiteY7" fmla="*/ 729269 h 3695239"/>
                  <a:gd name="connsiteX8" fmla="*/ 4193997 w 9295833"/>
                  <a:gd name="connsiteY8" fmla="*/ 461819 h 3695239"/>
                  <a:gd name="connsiteX9" fmla="*/ 5062215 w 9295833"/>
                  <a:gd name="connsiteY9" fmla="*/ 535711 h 3695239"/>
                  <a:gd name="connsiteX10" fmla="*/ 5838069 w 9295833"/>
                  <a:gd name="connsiteY10" fmla="*/ 480293 h 3695239"/>
                  <a:gd name="connsiteX11" fmla="*/ 6410724 w 9295833"/>
                  <a:gd name="connsiteY11" fmla="*/ 304396 h 3695239"/>
                  <a:gd name="connsiteX12" fmla="*/ 6798651 w 9295833"/>
                  <a:gd name="connsiteY12" fmla="*/ 0 h 3695239"/>
                  <a:gd name="connsiteX13" fmla="*/ 7962434 w 9295833"/>
                  <a:gd name="connsiteY13" fmla="*/ 377217 h 3695239"/>
                  <a:gd name="connsiteX14" fmla="*/ 8350361 w 9295833"/>
                  <a:gd name="connsiteY14" fmla="*/ 391624 h 3695239"/>
                  <a:gd name="connsiteX15" fmla="*/ 8850971 w 9295833"/>
                  <a:gd name="connsiteY15" fmla="*/ 197659 h 3695239"/>
                  <a:gd name="connsiteX16" fmla="*/ 9292471 w 9295833"/>
                  <a:gd name="connsiteY16" fmla="*/ 849748 h 3695239"/>
                  <a:gd name="connsiteX17" fmla="*/ 9295695 w 9295833"/>
                  <a:gd name="connsiteY17" fmla="*/ 3695239 h 3695239"/>
                  <a:gd name="connsiteX18" fmla="*/ 0 w 9295833"/>
                  <a:gd name="connsiteY18" fmla="*/ 3684387 h 36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95833" h="3695239">
                    <a:moveTo>
                      <a:pt x="0" y="3684387"/>
                    </a:moveTo>
                    <a:cubicBezTo>
                      <a:pt x="229" y="2893446"/>
                      <a:pt x="459" y="2102506"/>
                      <a:pt x="688" y="1311565"/>
                    </a:cubicBezTo>
                    <a:lnTo>
                      <a:pt x="573343" y="960583"/>
                    </a:lnTo>
                    <a:lnTo>
                      <a:pt x="850433" y="1514766"/>
                    </a:lnTo>
                    <a:lnTo>
                      <a:pt x="1219888" y="1274618"/>
                    </a:lnTo>
                    <a:lnTo>
                      <a:pt x="2365196" y="1145310"/>
                    </a:lnTo>
                    <a:lnTo>
                      <a:pt x="3214942" y="1330039"/>
                    </a:lnTo>
                    <a:lnTo>
                      <a:pt x="3658288" y="729269"/>
                    </a:lnTo>
                    <a:lnTo>
                      <a:pt x="4193997" y="461819"/>
                    </a:lnTo>
                    <a:lnTo>
                      <a:pt x="5062215" y="535711"/>
                    </a:lnTo>
                    <a:lnTo>
                      <a:pt x="5838069" y="480293"/>
                    </a:lnTo>
                    <a:lnTo>
                      <a:pt x="6410724" y="304396"/>
                    </a:lnTo>
                    <a:lnTo>
                      <a:pt x="6798651" y="0"/>
                    </a:lnTo>
                    <a:cubicBezTo>
                      <a:pt x="7131160" y="94951"/>
                      <a:pt x="7629925" y="282266"/>
                      <a:pt x="7962434" y="377217"/>
                    </a:cubicBezTo>
                    <a:lnTo>
                      <a:pt x="8350361" y="391624"/>
                    </a:lnTo>
                    <a:lnTo>
                      <a:pt x="8850971" y="197659"/>
                    </a:lnTo>
                    <a:lnTo>
                      <a:pt x="9292471" y="849748"/>
                    </a:lnTo>
                    <a:cubicBezTo>
                      <a:pt x="9291417" y="1871905"/>
                      <a:pt x="9296749" y="2673082"/>
                      <a:pt x="9295695" y="3695239"/>
                    </a:cubicBezTo>
                    <a:lnTo>
                      <a:pt x="0" y="3684387"/>
                    </a:lnTo>
                    <a:close/>
                  </a:path>
                </a:pathLst>
              </a:custGeom>
              <a:solidFill>
                <a:srgbClr val="B3B3B3"/>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7F7F7F"/>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DBE9A2C-0030-4656-A451-633C02ABFB84}"/>
                  </a:ext>
                </a:extLst>
              </p:cNvPr>
              <p:cNvSpPr/>
              <p:nvPr/>
            </p:nvSpPr>
            <p:spPr>
              <a:xfrm>
                <a:off x="2853312" y="3873403"/>
                <a:ext cx="1451292" cy="609228"/>
              </a:xfrm>
              <a:custGeom>
                <a:avLst/>
                <a:gdLst>
                  <a:gd name="connsiteX0" fmla="*/ 1109097 w 1109097"/>
                  <a:gd name="connsiteY0" fmla="*/ 184727 h 184727"/>
                  <a:gd name="connsiteX1" fmla="*/ 536442 w 1109097"/>
                  <a:gd name="connsiteY1" fmla="*/ 147782 h 184727"/>
                  <a:gd name="connsiteX2" fmla="*/ 733 w 1109097"/>
                  <a:gd name="connsiteY2" fmla="*/ 147782 h 184727"/>
                  <a:gd name="connsiteX3" fmla="*/ 444078 w 1109097"/>
                  <a:gd name="connsiteY3" fmla="*/ 0 h 184727"/>
                  <a:gd name="connsiteX0" fmla="*/ 1256505 w 1256505"/>
                  <a:gd name="connsiteY0" fmla="*/ 194799 h 194799"/>
                  <a:gd name="connsiteX1" fmla="*/ 536442 w 1256505"/>
                  <a:gd name="connsiteY1" fmla="*/ 147782 h 194799"/>
                  <a:gd name="connsiteX2" fmla="*/ 733 w 1256505"/>
                  <a:gd name="connsiteY2" fmla="*/ 147782 h 194799"/>
                  <a:gd name="connsiteX3" fmla="*/ 444078 w 1256505"/>
                  <a:gd name="connsiteY3" fmla="*/ 0 h 194799"/>
                </a:gdLst>
                <a:ahLst/>
                <a:cxnLst>
                  <a:cxn ang="0">
                    <a:pos x="connsiteX0" y="connsiteY0"/>
                  </a:cxn>
                  <a:cxn ang="0">
                    <a:pos x="connsiteX1" y="connsiteY1"/>
                  </a:cxn>
                  <a:cxn ang="0">
                    <a:pos x="connsiteX2" y="connsiteY2"/>
                  </a:cxn>
                  <a:cxn ang="0">
                    <a:pos x="connsiteX3" y="connsiteY3"/>
                  </a:cxn>
                </a:cxnLst>
                <a:rect l="l" t="t" r="r" b="b"/>
                <a:pathLst>
                  <a:path w="1256505" h="194799">
                    <a:moveTo>
                      <a:pt x="1256505" y="194799"/>
                    </a:moveTo>
                    <a:cubicBezTo>
                      <a:pt x="1062541" y="179405"/>
                      <a:pt x="745737" y="155618"/>
                      <a:pt x="536442" y="147782"/>
                    </a:cubicBezTo>
                    <a:cubicBezTo>
                      <a:pt x="327147" y="139946"/>
                      <a:pt x="16127" y="172412"/>
                      <a:pt x="733" y="147782"/>
                    </a:cubicBezTo>
                    <a:cubicBezTo>
                      <a:pt x="-14661" y="123152"/>
                      <a:pt x="214708" y="61576"/>
                      <a:pt x="444078" y="0"/>
                    </a:cubicBezTo>
                  </a:path>
                </a:pathLst>
              </a:custGeom>
              <a:noFill/>
              <a:ln w="63500" cap="flat" cmpd="sng" algn="ctr">
                <a:solidFill>
                  <a:srgbClr val="3092D3"/>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67B7A669-D779-4DBC-8A05-6700631F43E9}"/>
                  </a:ext>
                </a:extLst>
              </p:cNvPr>
              <p:cNvSpPr/>
              <p:nvPr/>
            </p:nvSpPr>
            <p:spPr>
              <a:xfrm>
                <a:off x="5046302" y="2687957"/>
                <a:ext cx="3273030" cy="674776"/>
              </a:xfrm>
              <a:custGeom>
                <a:avLst/>
                <a:gdLst>
                  <a:gd name="connsiteX0" fmla="*/ 0 w 2441262"/>
                  <a:gd name="connsiteY0" fmla="*/ 554182 h 590430"/>
                  <a:gd name="connsiteX1" fmla="*/ 720436 w 2441262"/>
                  <a:gd name="connsiteY1" fmla="*/ 480291 h 590430"/>
                  <a:gd name="connsiteX2" fmla="*/ 1311563 w 2441262"/>
                  <a:gd name="connsiteY2" fmla="*/ 572655 h 590430"/>
                  <a:gd name="connsiteX3" fmla="*/ 1958109 w 2441262"/>
                  <a:gd name="connsiteY3" fmla="*/ 572655 h 590430"/>
                  <a:gd name="connsiteX4" fmla="*/ 2438400 w 2441262"/>
                  <a:gd name="connsiteY4" fmla="*/ 387928 h 590430"/>
                  <a:gd name="connsiteX5" fmla="*/ 1736436 w 2441262"/>
                  <a:gd name="connsiteY5" fmla="*/ 258619 h 590430"/>
                  <a:gd name="connsiteX6" fmla="*/ 1588654 w 2441262"/>
                  <a:gd name="connsiteY6" fmla="*/ 110837 h 590430"/>
                  <a:gd name="connsiteX7" fmla="*/ 1662545 w 2441262"/>
                  <a:gd name="connsiteY7" fmla="*/ 0 h 590430"/>
                  <a:gd name="connsiteX0" fmla="*/ 0 w 2765059"/>
                  <a:gd name="connsiteY0" fmla="*/ 462742 h 590430"/>
                  <a:gd name="connsiteX1" fmla="*/ 1044233 w 2765059"/>
                  <a:gd name="connsiteY1" fmla="*/ 480291 h 590430"/>
                  <a:gd name="connsiteX2" fmla="*/ 1635360 w 2765059"/>
                  <a:gd name="connsiteY2" fmla="*/ 572655 h 590430"/>
                  <a:gd name="connsiteX3" fmla="*/ 2281906 w 2765059"/>
                  <a:gd name="connsiteY3" fmla="*/ 572655 h 590430"/>
                  <a:gd name="connsiteX4" fmla="*/ 2762197 w 2765059"/>
                  <a:gd name="connsiteY4" fmla="*/ 387928 h 590430"/>
                  <a:gd name="connsiteX5" fmla="*/ 2060233 w 2765059"/>
                  <a:gd name="connsiteY5" fmla="*/ 258619 h 590430"/>
                  <a:gd name="connsiteX6" fmla="*/ 1912451 w 2765059"/>
                  <a:gd name="connsiteY6" fmla="*/ 110837 h 590430"/>
                  <a:gd name="connsiteX7" fmla="*/ 1986342 w 2765059"/>
                  <a:gd name="connsiteY7" fmla="*/ 0 h 590430"/>
                  <a:gd name="connsiteX0" fmla="*/ 0 w 2765059"/>
                  <a:gd name="connsiteY0" fmla="*/ 462742 h 590430"/>
                  <a:gd name="connsiteX1" fmla="*/ 1044233 w 2765059"/>
                  <a:gd name="connsiteY1" fmla="*/ 480291 h 590430"/>
                  <a:gd name="connsiteX2" fmla="*/ 1635360 w 2765059"/>
                  <a:gd name="connsiteY2" fmla="*/ 572655 h 590430"/>
                  <a:gd name="connsiteX3" fmla="*/ 2281906 w 2765059"/>
                  <a:gd name="connsiteY3" fmla="*/ 572655 h 590430"/>
                  <a:gd name="connsiteX4" fmla="*/ 2762197 w 2765059"/>
                  <a:gd name="connsiteY4" fmla="*/ 387928 h 590430"/>
                  <a:gd name="connsiteX5" fmla="*/ 2060233 w 2765059"/>
                  <a:gd name="connsiteY5" fmla="*/ 258619 h 590430"/>
                  <a:gd name="connsiteX6" fmla="*/ 1912451 w 2765059"/>
                  <a:gd name="connsiteY6" fmla="*/ 110837 h 590430"/>
                  <a:gd name="connsiteX7" fmla="*/ 1986342 w 2765059"/>
                  <a:gd name="connsiteY7" fmla="*/ 0 h 590430"/>
                  <a:gd name="connsiteX0" fmla="*/ 0 w 2765059"/>
                  <a:gd name="connsiteY0" fmla="*/ 462742 h 673020"/>
                  <a:gd name="connsiteX1" fmla="*/ 1044233 w 2765059"/>
                  <a:gd name="connsiteY1" fmla="*/ 670791 h 673020"/>
                  <a:gd name="connsiteX2" fmla="*/ 1635360 w 2765059"/>
                  <a:gd name="connsiteY2" fmla="*/ 572655 h 673020"/>
                  <a:gd name="connsiteX3" fmla="*/ 2281906 w 2765059"/>
                  <a:gd name="connsiteY3" fmla="*/ 572655 h 673020"/>
                  <a:gd name="connsiteX4" fmla="*/ 2762197 w 2765059"/>
                  <a:gd name="connsiteY4" fmla="*/ 387928 h 673020"/>
                  <a:gd name="connsiteX5" fmla="*/ 2060233 w 2765059"/>
                  <a:gd name="connsiteY5" fmla="*/ 258619 h 673020"/>
                  <a:gd name="connsiteX6" fmla="*/ 1912451 w 2765059"/>
                  <a:gd name="connsiteY6" fmla="*/ 110837 h 673020"/>
                  <a:gd name="connsiteX7" fmla="*/ 1986342 w 2765059"/>
                  <a:gd name="connsiteY7" fmla="*/ 0 h 673020"/>
                  <a:gd name="connsiteX0" fmla="*/ 0 w 2833737"/>
                  <a:gd name="connsiteY0" fmla="*/ 428499 h 674323"/>
                  <a:gd name="connsiteX1" fmla="*/ 1112911 w 2833737"/>
                  <a:gd name="connsiteY1" fmla="*/ 670791 h 674323"/>
                  <a:gd name="connsiteX2" fmla="*/ 1704038 w 2833737"/>
                  <a:gd name="connsiteY2" fmla="*/ 572655 h 674323"/>
                  <a:gd name="connsiteX3" fmla="*/ 2350584 w 2833737"/>
                  <a:gd name="connsiteY3" fmla="*/ 572655 h 674323"/>
                  <a:gd name="connsiteX4" fmla="*/ 2830875 w 2833737"/>
                  <a:gd name="connsiteY4" fmla="*/ 387928 h 674323"/>
                  <a:gd name="connsiteX5" fmla="*/ 2128911 w 2833737"/>
                  <a:gd name="connsiteY5" fmla="*/ 258619 h 674323"/>
                  <a:gd name="connsiteX6" fmla="*/ 1981129 w 2833737"/>
                  <a:gd name="connsiteY6" fmla="*/ 110837 h 674323"/>
                  <a:gd name="connsiteX7" fmla="*/ 2055020 w 2833737"/>
                  <a:gd name="connsiteY7" fmla="*/ 0 h 674323"/>
                  <a:gd name="connsiteX0" fmla="*/ 0 w 2833737"/>
                  <a:gd name="connsiteY0" fmla="*/ 456700 h 702524"/>
                  <a:gd name="connsiteX1" fmla="*/ 1112911 w 2833737"/>
                  <a:gd name="connsiteY1" fmla="*/ 698992 h 702524"/>
                  <a:gd name="connsiteX2" fmla="*/ 1704038 w 2833737"/>
                  <a:gd name="connsiteY2" fmla="*/ 600856 h 702524"/>
                  <a:gd name="connsiteX3" fmla="*/ 2350584 w 2833737"/>
                  <a:gd name="connsiteY3" fmla="*/ 600856 h 702524"/>
                  <a:gd name="connsiteX4" fmla="*/ 2830875 w 2833737"/>
                  <a:gd name="connsiteY4" fmla="*/ 416129 h 702524"/>
                  <a:gd name="connsiteX5" fmla="*/ 2128911 w 2833737"/>
                  <a:gd name="connsiteY5" fmla="*/ 286820 h 702524"/>
                  <a:gd name="connsiteX6" fmla="*/ 1981129 w 2833737"/>
                  <a:gd name="connsiteY6" fmla="*/ 139038 h 702524"/>
                  <a:gd name="connsiteX7" fmla="*/ 2095222 w 2833737"/>
                  <a:gd name="connsiteY7" fmla="*/ 0 h 70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3737" h="702524">
                    <a:moveTo>
                      <a:pt x="0" y="456700"/>
                    </a:moveTo>
                    <a:cubicBezTo>
                      <a:pt x="439312" y="616335"/>
                      <a:pt x="828905" y="674966"/>
                      <a:pt x="1112911" y="698992"/>
                    </a:cubicBezTo>
                    <a:cubicBezTo>
                      <a:pt x="1396917" y="723018"/>
                      <a:pt x="1497759" y="617212"/>
                      <a:pt x="1704038" y="600856"/>
                    </a:cubicBezTo>
                    <a:cubicBezTo>
                      <a:pt x="1910317" y="584500"/>
                      <a:pt x="2162778" y="631644"/>
                      <a:pt x="2350584" y="600856"/>
                    </a:cubicBezTo>
                    <a:cubicBezTo>
                      <a:pt x="2538390" y="570068"/>
                      <a:pt x="2867820" y="468468"/>
                      <a:pt x="2830875" y="416129"/>
                    </a:cubicBezTo>
                    <a:cubicBezTo>
                      <a:pt x="2793930" y="363790"/>
                      <a:pt x="2270535" y="333002"/>
                      <a:pt x="2128911" y="286820"/>
                    </a:cubicBezTo>
                    <a:cubicBezTo>
                      <a:pt x="1987287" y="240638"/>
                      <a:pt x="1993444" y="182141"/>
                      <a:pt x="1981129" y="139038"/>
                    </a:cubicBezTo>
                    <a:cubicBezTo>
                      <a:pt x="1968814" y="95935"/>
                      <a:pt x="2052119" y="33867"/>
                      <a:pt x="2095222" y="0"/>
                    </a:cubicBezTo>
                  </a:path>
                </a:pathLst>
              </a:custGeom>
              <a:noFill/>
              <a:ln w="63500" cap="flat" cmpd="sng" algn="ctr">
                <a:solidFill>
                  <a:srgbClr val="3092D3"/>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B50A980B-0CA0-4FB8-8B9B-04E68BBB3412}"/>
                  </a:ext>
                </a:extLst>
              </p:cNvPr>
              <p:cNvSpPr/>
              <p:nvPr/>
            </p:nvSpPr>
            <p:spPr>
              <a:xfrm>
                <a:off x="1076644" y="3084830"/>
                <a:ext cx="2310243" cy="802716"/>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D9D9D9"/>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1E3E7959-2AD6-44BB-AC87-D917B9AC2653}"/>
                  </a:ext>
                </a:extLst>
              </p:cNvPr>
              <p:cNvSpPr/>
              <p:nvPr/>
            </p:nvSpPr>
            <p:spPr>
              <a:xfrm>
                <a:off x="0" y="3682421"/>
                <a:ext cx="9906000" cy="2531165"/>
              </a:xfrm>
              <a:custGeom>
                <a:avLst/>
                <a:gdLst>
                  <a:gd name="connsiteX0" fmla="*/ 0 w 12376727"/>
                  <a:gd name="connsiteY0" fmla="*/ 1902691 h 1921163"/>
                  <a:gd name="connsiteX1" fmla="*/ 0 w 12376727"/>
                  <a:gd name="connsiteY1" fmla="*/ 1126836 h 1921163"/>
                  <a:gd name="connsiteX2" fmla="*/ 295563 w 12376727"/>
                  <a:gd name="connsiteY2" fmla="*/ 942109 h 1921163"/>
                  <a:gd name="connsiteX3" fmla="*/ 942109 w 12376727"/>
                  <a:gd name="connsiteY3" fmla="*/ 942109 h 1921163"/>
                  <a:gd name="connsiteX4" fmla="*/ 1865745 w 12376727"/>
                  <a:gd name="connsiteY4" fmla="*/ 517236 h 1921163"/>
                  <a:gd name="connsiteX5" fmla="*/ 2937163 w 12376727"/>
                  <a:gd name="connsiteY5" fmla="*/ 295563 h 1921163"/>
                  <a:gd name="connsiteX6" fmla="*/ 3472873 w 12376727"/>
                  <a:gd name="connsiteY6" fmla="*/ 646545 h 1921163"/>
                  <a:gd name="connsiteX7" fmla="*/ 4396509 w 12376727"/>
                  <a:gd name="connsiteY7" fmla="*/ 831272 h 1921163"/>
                  <a:gd name="connsiteX8" fmla="*/ 5080000 w 12376727"/>
                  <a:gd name="connsiteY8" fmla="*/ 757382 h 1921163"/>
                  <a:gd name="connsiteX9" fmla="*/ 5855854 w 12376727"/>
                  <a:gd name="connsiteY9" fmla="*/ 609600 h 1921163"/>
                  <a:gd name="connsiteX10" fmla="*/ 6668654 w 12376727"/>
                  <a:gd name="connsiteY10" fmla="*/ 720436 h 1921163"/>
                  <a:gd name="connsiteX11" fmla="*/ 7869382 w 12376727"/>
                  <a:gd name="connsiteY11" fmla="*/ 387927 h 1921163"/>
                  <a:gd name="connsiteX12" fmla="*/ 8719127 w 12376727"/>
                  <a:gd name="connsiteY12" fmla="*/ 55418 h 1921163"/>
                  <a:gd name="connsiteX13" fmla="*/ 9402618 w 12376727"/>
                  <a:gd name="connsiteY13" fmla="*/ 0 h 1921163"/>
                  <a:gd name="connsiteX14" fmla="*/ 10104582 w 12376727"/>
                  <a:gd name="connsiteY14" fmla="*/ 0 h 1921163"/>
                  <a:gd name="connsiteX15" fmla="*/ 11397673 w 12376727"/>
                  <a:gd name="connsiteY15" fmla="*/ 0 h 1921163"/>
                  <a:gd name="connsiteX16" fmla="*/ 11914909 w 12376727"/>
                  <a:gd name="connsiteY16" fmla="*/ 147782 h 1921163"/>
                  <a:gd name="connsiteX17" fmla="*/ 12376727 w 12376727"/>
                  <a:gd name="connsiteY17" fmla="*/ 387927 h 1921163"/>
                  <a:gd name="connsiteX18" fmla="*/ 12376727 w 12376727"/>
                  <a:gd name="connsiteY18" fmla="*/ 1921163 h 1921163"/>
                  <a:gd name="connsiteX19" fmla="*/ 0 w 12376727"/>
                  <a:gd name="connsiteY19" fmla="*/ 1902691 h 1921163"/>
                  <a:gd name="connsiteX0" fmla="*/ 0 w 12376727"/>
                  <a:gd name="connsiteY0" fmla="*/ 1902691 h 1921163"/>
                  <a:gd name="connsiteX1" fmla="*/ 0 w 12376727"/>
                  <a:gd name="connsiteY1" fmla="*/ 1126836 h 1921163"/>
                  <a:gd name="connsiteX2" fmla="*/ 295563 w 12376727"/>
                  <a:gd name="connsiteY2" fmla="*/ 942109 h 1921163"/>
                  <a:gd name="connsiteX3" fmla="*/ 942109 w 12376727"/>
                  <a:gd name="connsiteY3" fmla="*/ 942109 h 1921163"/>
                  <a:gd name="connsiteX4" fmla="*/ 1865745 w 12376727"/>
                  <a:gd name="connsiteY4" fmla="*/ 517236 h 1921163"/>
                  <a:gd name="connsiteX5" fmla="*/ 2937163 w 12376727"/>
                  <a:gd name="connsiteY5" fmla="*/ 295563 h 1921163"/>
                  <a:gd name="connsiteX6" fmla="*/ 3472873 w 12376727"/>
                  <a:gd name="connsiteY6" fmla="*/ 646545 h 1921163"/>
                  <a:gd name="connsiteX7" fmla="*/ 4396509 w 12376727"/>
                  <a:gd name="connsiteY7" fmla="*/ 831272 h 1921163"/>
                  <a:gd name="connsiteX8" fmla="*/ 5080000 w 12376727"/>
                  <a:gd name="connsiteY8" fmla="*/ 757382 h 1921163"/>
                  <a:gd name="connsiteX9" fmla="*/ 5855854 w 12376727"/>
                  <a:gd name="connsiteY9" fmla="*/ 609600 h 1921163"/>
                  <a:gd name="connsiteX10" fmla="*/ 6668654 w 12376727"/>
                  <a:gd name="connsiteY10" fmla="*/ 720436 h 1921163"/>
                  <a:gd name="connsiteX11" fmla="*/ 7869382 w 12376727"/>
                  <a:gd name="connsiteY11" fmla="*/ 387927 h 1921163"/>
                  <a:gd name="connsiteX12" fmla="*/ 8719127 w 12376727"/>
                  <a:gd name="connsiteY12" fmla="*/ 55418 h 1921163"/>
                  <a:gd name="connsiteX13" fmla="*/ 9402618 w 12376727"/>
                  <a:gd name="connsiteY13" fmla="*/ 0 h 1921163"/>
                  <a:gd name="connsiteX14" fmla="*/ 10104582 w 12376727"/>
                  <a:gd name="connsiteY14" fmla="*/ 0 h 1921163"/>
                  <a:gd name="connsiteX15" fmla="*/ 11397673 w 12376727"/>
                  <a:gd name="connsiteY15" fmla="*/ 0 h 1921163"/>
                  <a:gd name="connsiteX16" fmla="*/ 11914909 w 12376727"/>
                  <a:gd name="connsiteY16" fmla="*/ 147782 h 1921163"/>
                  <a:gd name="connsiteX17" fmla="*/ 12376727 w 12376727"/>
                  <a:gd name="connsiteY17" fmla="*/ 387927 h 1921163"/>
                  <a:gd name="connsiteX18" fmla="*/ 9273309 w 12376727"/>
                  <a:gd name="connsiteY18" fmla="*/ 1921163 h 1921163"/>
                  <a:gd name="connsiteX19" fmla="*/ 0 w 12376727"/>
                  <a:gd name="connsiteY19" fmla="*/ 1902691 h 1921163"/>
                  <a:gd name="connsiteX0" fmla="*/ 0 w 11914909"/>
                  <a:gd name="connsiteY0" fmla="*/ 1902691 h 1921163"/>
                  <a:gd name="connsiteX1" fmla="*/ 0 w 11914909"/>
                  <a:gd name="connsiteY1" fmla="*/ 1126836 h 1921163"/>
                  <a:gd name="connsiteX2" fmla="*/ 295563 w 11914909"/>
                  <a:gd name="connsiteY2" fmla="*/ 942109 h 1921163"/>
                  <a:gd name="connsiteX3" fmla="*/ 942109 w 11914909"/>
                  <a:gd name="connsiteY3" fmla="*/ 942109 h 1921163"/>
                  <a:gd name="connsiteX4" fmla="*/ 1865745 w 11914909"/>
                  <a:gd name="connsiteY4" fmla="*/ 517236 h 1921163"/>
                  <a:gd name="connsiteX5" fmla="*/ 2937163 w 11914909"/>
                  <a:gd name="connsiteY5" fmla="*/ 295563 h 1921163"/>
                  <a:gd name="connsiteX6" fmla="*/ 3472873 w 11914909"/>
                  <a:gd name="connsiteY6" fmla="*/ 646545 h 1921163"/>
                  <a:gd name="connsiteX7" fmla="*/ 4396509 w 11914909"/>
                  <a:gd name="connsiteY7" fmla="*/ 831272 h 1921163"/>
                  <a:gd name="connsiteX8" fmla="*/ 5080000 w 11914909"/>
                  <a:gd name="connsiteY8" fmla="*/ 757382 h 1921163"/>
                  <a:gd name="connsiteX9" fmla="*/ 5855854 w 11914909"/>
                  <a:gd name="connsiteY9" fmla="*/ 609600 h 1921163"/>
                  <a:gd name="connsiteX10" fmla="*/ 6668654 w 11914909"/>
                  <a:gd name="connsiteY10" fmla="*/ 720436 h 1921163"/>
                  <a:gd name="connsiteX11" fmla="*/ 7869382 w 11914909"/>
                  <a:gd name="connsiteY11" fmla="*/ 387927 h 1921163"/>
                  <a:gd name="connsiteX12" fmla="*/ 8719127 w 11914909"/>
                  <a:gd name="connsiteY12" fmla="*/ 55418 h 1921163"/>
                  <a:gd name="connsiteX13" fmla="*/ 9402618 w 11914909"/>
                  <a:gd name="connsiteY13" fmla="*/ 0 h 1921163"/>
                  <a:gd name="connsiteX14" fmla="*/ 10104582 w 11914909"/>
                  <a:gd name="connsiteY14" fmla="*/ 0 h 1921163"/>
                  <a:gd name="connsiteX15" fmla="*/ 11397673 w 11914909"/>
                  <a:gd name="connsiteY15" fmla="*/ 0 h 1921163"/>
                  <a:gd name="connsiteX16" fmla="*/ 11914909 w 11914909"/>
                  <a:gd name="connsiteY16" fmla="*/ 147782 h 1921163"/>
                  <a:gd name="connsiteX17" fmla="*/ 9273309 w 11914909"/>
                  <a:gd name="connsiteY17" fmla="*/ 1921163 h 1921163"/>
                  <a:gd name="connsiteX18" fmla="*/ 0 w 11914909"/>
                  <a:gd name="connsiteY18" fmla="*/ 1902691 h 1921163"/>
                  <a:gd name="connsiteX0" fmla="*/ 0 w 11397673"/>
                  <a:gd name="connsiteY0" fmla="*/ 1902691 h 1921163"/>
                  <a:gd name="connsiteX1" fmla="*/ 0 w 11397673"/>
                  <a:gd name="connsiteY1" fmla="*/ 1126836 h 1921163"/>
                  <a:gd name="connsiteX2" fmla="*/ 295563 w 11397673"/>
                  <a:gd name="connsiteY2" fmla="*/ 942109 h 1921163"/>
                  <a:gd name="connsiteX3" fmla="*/ 942109 w 11397673"/>
                  <a:gd name="connsiteY3" fmla="*/ 942109 h 1921163"/>
                  <a:gd name="connsiteX4" fmla="*/ 1865745 w 11397673"/>
                  <a:gd name="connsiteY4" fmla="*/ 517236 h 1921163"/>
                  <a:gd name="connsiteX5" fmla="*/ 2937163 w 11397673"/>
                  <a:gd name="connsiteY5" fmla="*/ 295563 h 1921163"/>
                  <a:gd name="connsiteX6" fmla="*/ 3472873 w 11397673"/>
                  <a:gd name="connsiteY6" fmla="*/ 646545 h 1921163"/>
                  <a:gd name="connsiteX7" fmla="*/ 4396509 w 11397673"/>
                  <a:gd name="connsiteY7" fmla="*/ 831272 h 1921163"/>
                  <a:gd name="connsiteX8" fmla="*/ 5080000 w 11397673"/>
                  <a:gd name="connsiteY8" fmla="*/ 757382 h 1921163"/>
                  <a:gd name="connsiteX9" fmla="*/ 5855854 w 11397673"/>
                  <a:gd name="connsiteY9" fmla="*/ 609600 h 1921163"/>
                  <a:gd name="connsiteX10" fmla="*/ 6668654 w 11397673"/>
                  <a:gd name="connsiteY10" fmla="*/ 720436 h 1921163"/>
                  <a:gd name="connsiteX11" fmla="*/ 7869382 w 11397673"/>
                  <a:gd name="connsiteY11" fmla="*/ 387927 h 1921163"/>
                  <a:gd name="connsiteX12" fmla="*/ 8719127 w 11397673"/>
                  <a:gd name="connsiteY12" fmla="*/ 55418 h 1921163"/>
                  <a:gd name="connsiteX13" fmla="*/ 9402618 w 11397673"/>
                  <a:gd name="connsiteY13" fmla="*/ 0 h 1921163"/>
                  <a:gd name="connsiteX14" fmla="*/ 10104582 w 11397673"/>
                  <a:gd name="connsiteY14" fmla="*/ 0 h 1921163"/>
                  <a:gd name="connsiteX15" fmla="*/ 11397673 w 11397673"/>
                  <a:gd name="connsiteY15" fmla="*/ 0 h 1921163"/>
                  <a:gd name="connsiteX16" fmla="*/ 9273309 w 11397673"/>
                  <a:gd name="connsiteY16" fmla="*/ 1921163 h 1921163"/>
                  <a:gd name="connsiteX17" fmla="*/ 0 w 11397673"/>
                  <a:gd name="connsiteY17" fmla="*/ 1902691 h 1921163"/>
                  <a:gd name="connsiteX0" fmla="*/ 0 w 10104582"/>
                  <a:gd name="connsiteY0" fmla="*/ 1902691 h 1921163"/>
                  <a:gd name="connsiteX1" fmla="*/ 0 w 10104582"/>
                  <a:gd name="connsiteY1" fmla="*/ 1126836 h 1921163"/>
                  <a:gd name="connsiteX2" fmla="*/ 295563 w 10104582"/>
                  <a:gd name="connsiteY2" fmla="*/ 942109 h 1921163"/>
                  <a:gd name="connsiteX3" fmla="*/ 942109 w 10104582"/>
                  <a:gd name="connsiteY3" fmla="*/ 942109 h 1921163"/>
                  <a:gd name="connsiteX4" fmla="*/ 1865745 w 10104582"/>
                  <a:gd name="connsiteY4" fmla="*/ 517236 h 1921163"/>
                  <a:gd name="connsiteX5" fmla="*/ 2937163 w 10104582"/>
                  <a:gd name="connsiteY5" fmla="*/ 295563 h 1921163"/>
                  <a:gd name="connsiteX6" fmla="*/ 3472873 w 10104582"/>
                  <a:gd name="connsiteY6" fmla="*/ 646545 h 1921163"/>
                  <a:gd name="connsiteX7" fmla="*/ 4396509 w 10104582"/>
                  <a:gd name="connsiteY7" fmla="*/ 831272 h 1921163"/>
                  <a:gd name="connsiteX8" fmla="*/ 5080000 w 10104582"/>
                  <a:gd name="connsiteY8" fmla="*/ 757382 h 1921163"/>
                  <a:gd name="connsiteX9" fmla="*/ 5855854 w 10104582"/>
                  <a:gd name="connsiteY9" fmla="*/ 609600 h 1921163"/>
                  <a:gd name="connsiteX10" fmla="*/ 6668654 w 10104582"/>
                  <a:gd name="connsiteY10" fmla="*/ 720436 h 1921163"/>
                  <a:gd name="connsiteX11" fmla="*/ 7869382 w 10104582"/>
                  <a:gd name="connsiteY11" fmla="*/ 387927 h 1921163"/>
                  <a:gd name="connsiteX12" fmla="*/ 8719127 w 10104582"/>
                  <a:gd name="connsiteY12" fmla="*/ 55418 h 1921163"/>
                  <a:gd name="connsiteX13" fmla="*/ 9402618 w 10104582"/>
                  <a:gd name="connsiteY13" fmla="*/ 0 h 1921163"/>
                  <a:gd name="connsiteX14" fmla="*/ 10104582 w 10104582"/>
                  <a:gd name="connsiteY14" fmla="*/ 0 h 1921163"/>
                  <a:gd name="connsiteX15" fmla="*/ 9273309 w 10104582"/>
                  <a:gd name="connsiteY15" fmla="*/ 1921163 h 1921163"/>
                  <a:gd name="connsiteX16" fmla="*/ 0 w 10104582"/>
                  <a:gd name="connsiteY16" fmla="*/ 1902691 h 1921163"/>
                  <a:gd name="connsiteX0" fmla="*/ 0 w 9402618"/>
                  <a:gd name="connsiteY0" fmla="*/ 1902691 h 1921163"/>
                  <a:gd name="connsiteX1" fmla="*/ 0 w 9402618"/>
                  <a:gd name="connsiteY1" fmla="*/ 1126836 h 1921163"/>
                  <a:gd name="connsiteX2" fmla="*/ 295563 w 9402618"/>
                  <a:gd name="connsiteY2" fmla="*/ 942109 h 1921163"/>
                  <a:gd name="connsiteX3" fmla="*/ 942109 w 9402618"/>
                  <a:gd name="connsiteY3" fmla="*/ 942109 h 1921163"/>
                  <a:gd name="connsiteX4" fmla="*/ 1865745 w 9402618"/>
                  <a:gd name="connsiteY4" fmla="*/ 517236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295563 w 9402618"/>
                  <a:gd name="connsiteY2" fmla="*/ 942109 h 1921163"/>
                  <a:gd name="connsiteX3" fmla="*/ 942109 w 9402618"/>
                  <a:gd name="connsiteY3" fmla="*/ 942109 h 1921163"/>
                  <a:gd name="connsiteX4" fmla="*/ 1366982 w 9402618"/>
                  <a:gd name="connsiteY4" fmla="*/ 332508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2641600 w 9402618"/>
                  <a:gd name="connsiteY6" fmla="*/ 36945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2641600 w 9402618"/>
                  <a:gd name="connsiteY6" fmla="*/ 369455 h 1921163"/>
                  <a:gd name="connsiteX7" fmla="*/ 3491345 w 9402618"/>
                  <a:gd name="connsiteY7" fmla="*/ 285922 h 1921163"/>
                  <a:gd name="connsiteX8" fmla="*/ 4396509 w 9402618"/>
                  <a:gd name="connsiteY8" fmla="*/ 831272 h 1921163"/>
                  <a:gd name="connsiteX9" fmla="*/ 5080000 w 9402618"/>
                  <a:gd name="connsiteY9" fmla="*/ 757382 h 1921163"/>
                  <a:gd name="connsiteX10" fmla="*/ 5855854 w 9402618"/>
                  <a:gd name="connsiteY10" fmla="*/ 609600 h 1921163"/>
                  <a:gd name="connsiteX11" fmla="*/ 6668654 w 9402618"/>
                  <a:gd name="connsiteY11" fmla="*/ 720436 h 1921163"/>
                  <a:gd name="connsiteX12" fmla="*/ 7869382 w 9402618"/>
                  <a:gd name="connsiteY12" fmla="*/ 387927 h 1921163"/>
                  <a:gd name="connsiteX13" fmla="*/ 8719127 w 9402618"/>
                  <a:gd name="connsiteY13" fmla="*/ 55418 h 1921163"/>
                  <a:gd name="connsiteX14" fmla="*/ 9402618 w 9402618"/>
                  <a:gd name="connsiteY14" fmla="*/ 0 h 1921163"/>
                  <a:gd name="connsiteX15" fmla="*/ 9273309 w 9402618"/>
                  <a:gd name="connsiteY15" fmla="*/ 1921163 h 1921163"/>
                  <a:gd name="connsiteX16" fmla="*/ 0 w 9402618"/>
                  <a:gd name="connsiteY16" fmla="*/ 1902691 h 1921163"/>
                  <a:gd name="connsiteX0" fmla="*/ 0 w 9402618"/>
                  <a:gd name="connsiteY0" fmla="*/ 1902691 h 1921163"/>
                  <a:gd name="connsiteX1" fmla="*/ 0 w 9402618"/>
                  <a:gd name="connsiteY1" fmla="*/ 1126836 h 1921163"/>
                  <a:gd name="connsiteX2" fmla="*/ 406400 w 9402618"/>
                  <a:gd name="connsiteY2" fmla="*/ 1311564 h 1921163"/>
                  <a:gd name="connsiteX3" fmla="*/ 942109 w 9402618"/>
                  <a:gd name="connsiteY3" fmla="*/ 942109 h 1921163"/>
                  <a:gd name="connsiteX4" fmla="*/ 1366982 w 9402618"/>
                  <a:gd name="connsiteY4" fmla="*/ 332508 h 1921163"/>
                  <a:gd name="connsiteX5" fmla="*/ 2087417 w 9402618"/>
                  <a:gd name="connsiteY5" fmla="*/ 665017 h 1921163"/>
                  <a:gd name="connsiteX6" fmla="*/ 2641600 w 9402618"/>
                  <a:gd name="connsiteY6" fmla="*/ 369455 h 1921163"/>
                  <a:gd name="connsiteX7" fmla="*/ 3491345 w 9402618"/>
                  <a:gd name="connsiteY7" fmla="*/ 285922 h 1921163"/>
                  <a:gd name="connsiteX8" fmla="*/ 4193309 w 9402618"/>
                  <a:gd name="connsiteY8" fmla="*/ 129308 h 1921163"/>
                  <a:gd name="connsiteX9" fmla="*/ 5080000 w 9402618"/>
                  <a:gd name="connsiteY9" fmla="*/ 757382 h 1921163"/>
                  <a:gd name="connsiteX10" fmla="*/ 5855854 w 9402618"/>
                  <a:gd name="connsiteY10" fmla="*/ 609600 h 1921163"/>
                  <a:gd name="connsiteX11" fmla="*/ 6668654 w 9402618"/>
                  <a:gd name="connsiteY11" fmla="*/ 720436 h 1921163"/>
                  <a:gd name="connsiteX12" fmla="*/ 7869382 w 9402618"/>
                  <a:gd name="connsiteY12" fmla="*/ 387927 h 1921163"/>
                  <a:gd name="connsiteX13" fmla="*/ 8719127 w 9402618"/>
                  <a:gd name="connsiteY13" fmla="*/ 55418 h 1921163"/>
                  <a:gd name="connsiteX14" fmla="*/ 9402618 w 9402618"/>
                  <a:gd name="connsiteY14" fmla="*/ 0 h 1921163"/>
                  <a:gd name="connsiteX15" fmla="*/ 9273309 w 9402618"/>
                  <a:gd name="connsiteY15" fmla="*/ 1921163 h 1921163"/>
                  <a:gd name="connsiteX16" fmla="*/ 0 w 9402618"/>
                  <a:gd name="connsiteY16" fmla="*/ 1902691 h 1921163"/>
                  <a:gd name="connsiteX0" fmla="*/ 0 w 9402618"/>
                  <a:gd name="connsiteY0" fmla="*/ 2235200 h 2253672"/>
                  <a:gd name="connsiteX1" fmla="*/ 0 w 9402618"/>
                  <a:gd name="connsiteY1" fmla="*/ 1459345 h 2253672"/>
                  <a:gd name="connsiteX2" fmla="*/ 406400 w 9402618"/>
                  <a:gd name="connsiteY2" fmla="*/ 1644073 h 2253672"/>
                  <a:gd name="connsiteX3" fmla="*/ 942109 w 9402618"/>
                  <a:gd name="connsiteY3" fmla="*/ 1274618 h 2253672"/>
                  <a:gd name="connsiteX4" fmla="*/ 1366982 w 9402618"/>
                  <a:gd name="connsiteY4" fmla="*/ 665017 h 2253672"/>
                  <a:gd name="connsiteX5" fmla="*/ 2087417 w 9402618"/>
                  <a:gd name="connsiteY5" fmla="*/ 997526 h 2253672"/>
                  <a:gd name="connsiteX6" fmla="*/ 2641600 w 9402618"/>
                  <a:gd name="connsiteY6" fmla="*/ 701964 h 2253672"/>
                  <a:gd name="connsiteX7" fmla="*/ 3491345 w 9402618"/>
                  <a:gd name="connsiteY7" fmla="*/ 618431 h 2253672"/>
                  <a:gd name="connsiteX8" fmla="*/ 4193309 w 9402618"/>
                  <a:gd name="connsiteY8" fmla="*/ 461817 h 2253672"/>
                  <a:gd name="connsiteX9" fmla="*/ 5190836 w 9402618"/>
                  <a:gd name="connsiteY9" fmla="*/ 0 h 2253672"/>
                  <a:gd name="connsiteX10" fmla="*/ 5855854 w 9402618"/>
                  <a:gd name="connsiteY10" fmla="*/ 942109 h 2253672"/>
                  <a:gd name="connsiteX11" fmla="*/ 6668654 w 9402618"/>
                  <a:gd name="connsiteY11" fmla="*/ 1052945 h 2253672"/>
                  <a:gd name="connsiteX12" fmla="*/ 7869382 w 9402618"/>
                  <a:gd name="connsiteY12" fmla="*/ 720436 h 2253672"/>
                  <a:gd name="connsiteX13" fmla="*/ 8719127 w 9402618"/>
                  <a:gd name="connsiteY13" fmla="*/ 387927 h 2253672"/>
                  <a:gd name="connsiteX14" fmla="*/ 9402618 w 9402618"/>
                  <a:gd name="connsiteY14" fmla="*/ 332509 h 2253672"/>
                  <a:gd name="connsiteX15" fmla="*/ 9273309 w 9402618"/>
                  <a:gd name="connsiteY15" fmla="*/ 2253672 h 2253672"/>
                  <a:gd name="connsiteX16" fmla="*/ 0 w 9402618"/>
                  <a:gd name="connsiteY16" fmla="*/ 2235200 h 2253672"/>
                  <a:gd name="connsiteX0" fmla="*/ 0 w 9402618"/>
                  <a:gd name="connsiteY0" fmla="*/ 2475346 h 2493818"/>
                  <a:gd name="connsiteX1" fmla="*/ 0 w 9402618"/>
                  <a:gd name="connsiteY1" fmla="*/ 1699491 h 2493818"/>
                  <a:gd name="connsiteX2" fmla="*/ 406400 w 9402618"/>
                  <a:gd name="connsiteY2" fmla="*/ 1884219 h 2493818"/>
                  <a:gd name="connsiteX3" fmla="*/ 942109 w 9402618"/>
                  <a:gd name="connsiteY3" fmla="*/ 1514764 h 2493818"/>
                  <a:gd name="connsiteX4" fmla="*/ 1366982 w 9402618"/>
                  <a:gd name="connsiteY4" fmla="*/ 905163 h 2493818"/>
                  <a:gd name="connsiteX5" fmla="*/ 2087417 w 9402618"/>
                  <a:gd name="connsiteY5" fmla="*/ 1237672 h 2493818"/>
                  <a:gd name="connsiteX6" fmla="*/ 2641600 w 9402618"/>
                  <a:gd name="connsiteY6" fmla="*/ 942110 h 2493818"/>
                  <a:gd name="connsiteX7" fmla="*/ 3491345 w 9402618"/>
                  <a:gd name="connsiteY7" fmla="*/ 858577 h 2493818"/>
                  <a:gd name="connsiteX8" fmla="*/ 4193309 w 9402618"/>
                  <a:gd name="connsiteY8" fmla="*/ 701963 h 2493818"/>
                  <a:gd name="connsiteX9" fmla="*/ 5190836 w 9402618"/>
                  <a:gd name="connsiteY9" fmla="*/ 240146 h 2493818"/>
                  <a:gd name="connsiteX10" fmla="*/ 5523345 w 9402618"/>
                  <a:gd name="connsiteY10" fmla="*/ 0 h 2493818"/>
                  <a:gd name="connsiteX11" fmla="*/ 6668654 w 9402618"/>
                  <a:gd name="connsiteY11" fmla="*/ 1293091 h 2493818"/>
                  <a:gd name="connsiteX12" fmla="*/ 7869382 w 9402618"/>
                  <a:gd name="connsiteY12" fmla="*/ 960582 h 2493818"/>
                  <a:gd name="connsiteX13" fmla="*/ 8719127 w 9402618"/>
                  <a:gd name="connsiteY13" fmla="*/ 628073 h 2493818"/>
                  <a:gd name="connsiteX14" fmla="*/ 9402618 w 9402618"/>
                  <a:gd name="connsiteY14" fmla="*/ 572655 h 2493818"/>
                  <a:gd name="connsiteX15" fmla="*/ 9273309 w 9402618"/>
                  <a:gd name="connsiteY15" fmla="*/ 2493818 h 2493818"/>
                  <a:gd name="connsiteX16" fmla="*/ 0 w 9402618"/>
                  <a:gd name="connsiteY16" fmla="*/ 2475346 h 2493818"/>
                  <a:gd name="connsiteX0" fmla="*/ 0 w 9402618"/>
                  <a:gd name="connsiteY0" fmla="*/ 2475346 h 2493818"/>
                  <a:gd name="connsiteX1" fmla="*/ 0 w 9402618"/>
                  <a:gd name="connsiteY1" fmla="*/ 1699491 h 2493818"/>
                  <a:gd name="connsiteX2" fmla="*/ 406400 w 9402618"/>
                  <a:gd name="connsiteY2" fmla="*/ 1884219 h 2493818"/>
                  <a:gd name="connsiteX3" fmla="*/ 942109 w 9402618"/>
                  <a:gd name="connsiteY3" fmla="*/ 1514764 h 2493818"/>
                  <a:gd name="connsiteX4" fmla="*/ 1366982 w 9402618"/>
                  <a:gd name="connsiteY4" fmla="*/ 905163 h 2493818"/>
                  <a:gd name="connsiteX5" fmla="*/ 2087417 w 9402618"/>
                  <a:gd name="connsiteY5" fmla="*/ 1237672 h 2493818"/>
                  <a:gd name="connsiteX6" fmla="*/ 2641600 w 9402618"/>
                  <a:gd name="connsiteY6" fmla="*/ 942110 h 2493818"/>
                  <a:gd name="connsiteX7" fmla="*/ 3491345 w 9402618"/>
                  <a:gd name="connsiteY7" fmla="*/ 858577 h 2493818"/>
                  <a:gd name="connsiteX8" fmla="*/ 4193309 w 9402618"/>
                  <a:gd name="connsiteY8" fmla="*/ 701963 h 2493818"/>
                  <a:gd name="connsiteX9" fmla="*/ 5190836 w 9402618"/>
                  <a:gd name="connsiteY9" fmla="*/ 240146 h 2493818"/>
                  <a:gd name="connsiteX10" fmla="*/ 5523345 w 9402618"/>
                  <a:gd name="connsiteY10" fmla="*/ 0 h 2493818"/>
                  <a:gd name="connsiteX11" fmla="*/ 5874327 w 9402618"/>
                  <a:gd name="connsiteY11" fmla="*/ 230504 h 2493818"/>
                  <a:gd name="connsiteX12" fmla="*/ 6668654 w 9402618"/>
                  <a:gd name="connsiteY12" fmla="*/ 1293091 h 2493818"/>
                  <a:gd name="connsiteX13" fmla="*/ 7869382 w 9402618"/>
                  <a:gd name="connsiteY13" fmla="*/ 960582 h 2493818"/>
                  <a:gd name="connsiteX14" fmla="*/ 8719127 w 9402618"/>
                  <a:gd name="connsiteY14" fmla="*/ 628073 h 2493818"/>
                  <a:gd name="connsiteX15" fmla="*/ 9402618 w 9402618"/>
                  <a:gd name="connsiteY15" fmla="*/ 572655 h 2493818"/>
                  <a:gd name="connsiteX16" fmla="*/ 9273309 w 9402618"/>
                  <a:gd name="connsiteY16" fmla="*/ 2493818 h 2493818"/>
                  <a:gd name="connsiteX17" fmla="*/ 0 w 9402618"/>
                  <a:gd name="connsiteY17" fmla="*/ 2475346 h 2493818"/>
                  <a:gd name="connsiteX0" fmla="*/ 0 w 9402618"/>
                  <a:gd name="connsiteY0" fmla="*/ 2475346 h 2493818"/>
                  <a:gd name="connsiteX1" fmla="*/ 0 w 9402618"/>
                  <a:gd name="connsiteY1" fmla="*/ 1699491 h 2493818"/>
                  <a:gd name="connsiteX2" fmla="*/ 406400 w 9402618"/>
                  <a:gd name="connsiteY2" fmla="*/ 1884219 h 2493818"/>
                  <a:gd name="connsiteX3" fmla="*/ 942109 w 9402618"/>
                  <a:gd name="connsiteY3" fmla="*/ 1514764 h 2493818"/>
                  <a:gd name="connsiteX4" fmla="*/ 1366982 w 9402618"/>
                  <a:gd name="connsiteY4" fmla="*/ 905163 h 2493818"/>
                  <a:gd name="connsiteX5" fmla="*/ 2087417 w 9402618"/>
                  <a:gd name="connsiteY5" fmla="*/ 1237672 h 2493818"/>
                  <a:gd name="connsiteX6" fmla="*/ 2641600 w 9402618"/>
                  <a:gd name="connsiteY6" fmla="*/ 942110 h 2493818"/>
                  <a:gd name="connsiteX7" fmla="*/ 3491345 w 9402618"/>
                  <a:gd name="connsiteY7" fmla="*/ 858577 h 2493818"/>
                  <a:gd name="connsiteX8" fmla="*/ 4193309 w 9402618"/>
                  <a:gd name="connsiteY8" fmla="*/ 701963 h 2493818"/>
                  <a:gd name="connsiteX9" fmla="*/ 5190836 w 9402618"/>
                  <a:gd name="connsiteY9" fmla="*/ 240146 h 2493818"/>
                  <a:gd name="connsiteX10" fmla="*/ 5523345 w 9402618"/>
                  <a:gd name="connsiteY10" fmla="*/ 0 h 2493818"/>
                  <a:gd name="connsiteX11" fmla="*/ 5874327 w 9402618"/>
                  <a:gd name="connsiteY11" fmla="*/ 230504 h 2493818"/>
                  <a:gd name="connsiteX12" fmla="*/ 6687127 w 9402618"/>
                  <a:gd name="connsiteY12" fmla="*/ 92363 h 2493818"/>
                  <a:gd name="connsiteX13" fmla="*/ 7869382 w 9402618"/>
                  <a:gd name="connsiteY13" fmla="*/ 960582 h 2493818"/>
                  <a:gd name="connsiteX14" fmla="*/ 8719127 w 9402618"/>
                  <a:gd name="connsiteY14" fmla="*/ 628073 h 2493818"/>
                  <a:gd name="connsiteX15" fmla="*/ 9402618 w 9402618"/>
                  <a:gd name="connsiteY15" fmla="*/ 572655 h 2493818"/>
                  <a:gd name="connsiteX16" fmla="*/ 9273309 w 9402618"/>
                  <a:gd name="connsiteY16" fmla="*/ 2493818 h 2493818"/>
                  <a:gd name="connsiteX17" fmla="*/ 0 w 9402618"/>
                  <a:gd name="connsiteY17" fmla="*/ 2475346 h 2493818"/>
                  <a:gd name="connsiteX0" fmla="*/ 0 w 9402618"/>
                  <a:gd name="connsiteY0" fmla="*/ 2604655 h 2623127"/>
                  <a:gd name="connsiteX1" fmla="*/ 0 w 9402618"/>
                  <a:gd name="connsiteY1" fmla="*/ 1828800 h 2623127"/>
                  <a:gd name="connsiteX2" fmla="*/ 406400 w 9402618"/>
                  <a:gd name="connsiteY2" fmla="*/ 2013528 h 2623127"/>
                  <a:gd name="connsiteX3" fmla="*/ 942109 w 9402618"/>
                  <a:gd name="connsiteY3" fmla="*/ 1644073 h 2623127"/>
                  <a:gd name="connsiteX4" fmla="*/ 1366982 w 9402618"/>
                  <a:gd name="connsiteY4" fmla="*/ 1034472 h 2623127"/>
                  <a:gd name="connsiteX5" fmla="*/ 2087417 w 9402618"/>
                  <a:gd name="connsiteY5" fmla="*/ 1366981 h 2623127"/>
                  <a:gd name="connsiteX6" fmla="*/ 2641600 w 9402618"/>
                  <a:gd name="connsiteY6" fmla="*/ 1071419 h 2623127"/>
                  <a:gd name="connsiteX7" fmla="*/ 3491345 w 9402618"/>
                  <a:gd name="connsiteY7" fmla="*/ 987886 h 2623127"/>
                  <a:gd name="connsiteX8" fmla="*/ 4193309 w 9402618"/>
                  <a:gd name="connsiteY8" fmla="*/ 831272 h 2623127"/>
                  <a:gd name="connsiteX9" fmla="*/ 5190836 w 9402618"/>
                  <a:gd name="connsiteY9" fmla="*/ 369455 h 2623127"/>
                  <a:gd name="connsiteX10" fmla="*/ 5523345 w 9402618"/>
                  <a:gd name="connsiteY10" fmla="*/ 129309 h 2623127"/>
                  <a:gd name="connsiteX11" fmla="*/ 5874327 w 9402618"/>
                  <a:gd name="connsiteY11" fmla="*/ 359813 h 2623127"/>
                  <a:gd name="connsiteX12" fmla="*/ 6687127 w 9402618"/>
                  <a:gd name="connsiteY12" fmla="*/ 221672 h 2623127"/>
                  <a:gd name="connsiteX13" fmla="*/ 7869382 w 9402618"/>
                  <a:gd name="connsiteY13" fmla="*/ 0 h 2623127"/>
                  <a:gd name="connsiteX14" fmla="*/ 8719127 w 9402618"/>
                  <a:gd name="connsiteY14" fmla="*/ 757382 h 2623127"/>
                  <a:gd name="connsiteX15" fmla="*/ 9402618 w 9402618"/>
                  <a:gd name="connsiteY15" fmla="*/ 701964 h 2623127"/>
                  <a:gd name="connsiteX16" fmla="*/ 9273309 w 9402618"/>
                  <a:gd name="connsiteY16" fmla="*/ 2623127 h 2623127"/>
                  <a:gd name="connsiteX17" fmla="*/ 0 w 9402618"/>
                  <a:gd name="connsiteY17" fmla="*/ 2604655 h 2623127"/>
                  <a:gd name="connsiteX0" fmla="*/ 0 w 9402618"/>
                  <a:gd name="connsiteY0" fmla="*/ 2604655 h 2623127"/>
                  <a:gd name="connsiteX1" fmla="*/ 0 w 9402618"/>
                  <a:gd name="connsiteY1" fmla="*/ 1828800 h 2623127"/>
                  <a:gd name="connsiteX2" fmla="*/ 406400 w 9402618"/>
                  <a:gd name="connsiteY2" fmla="*/ 2013528 h 2623127"/>
                  <a:gd name="connsiteX3" fmla="*/ 942109 w 9402618"/>
                  <a:gd name="connsiteY3" fmla="*/ 1644073 h 2623127"/>
                  <a:gd name="connsiteX4" fmla="*/ 1366982 w 9402618"/>
                  <a:gd name="connsiteY4" fmla="*/ 1034472 h 2623127"/>
                  <a:gd name="connsiteX5" fmla="*/ 2087417 w 9402618"/>
                  <a:gd name="connsiteY5" fmla="*/ 1366981 h 2623127"/>
                  <a:gd name="connsiteX6" fmla="*/ 2641600 w 9402618"/>
                  <a:gd name="connsiteY6" fmla="*/ 1071419 h 2623127"/>
                  <a:gd name="connsiteX7" fmla="*/ 3491345 w 9402618"/>
                  <a:gd name="connsiteY7" fmla="*/ 987886 h 2623127"/>
                  <a:gd name="connsiteX8" fmla="*/ 4193309 w 9402618"/>
                  <a:gd name="connsiteY8" fmla="*/ 831272 h 2623127"/>
                  <a:gd name="connsiteX9" fmla="*/ 5190836 w 9402618"/>
                  <a:gd name="connsiteY9" fmla="*/ 369455 h 2623127"/>
                  <a:gd name="connsiteX10" fmla="*/ 5523345 w 9402618"/>
                  <a:gd name="connsiteY10" fmla="*/ 129309 h 2623127"/>
                  <a:gd name="connsiteX11" fmla="*/ 5874327 w 9402618"/>
                  <a:gd name="connsiteY11" fmla="*/ 359813 h 2623127"/>
                  <a:gd name="connsiteX12" fmla="*/ 6687127 w 9402618"/>
                  <a:gd name="connsiteY12" fmla="*/ 221672 h 2623127"/>
                  <a:gd name="connsiteX13" fmla="*/ 7869382 w 9402618"/>
                  <a:gd name="connsiteY13" fmla="*/ 0 h 2623127"/>
                  <a:gd name="connsiteX14" fmla="*/ 8497454 w 9402618"/>
                  <a:gd name="connsiteY14" fmla="*/ 350982 h 2623127"/>
                  <a:gd name="connsiteX15" fmla="*/ 9402618 w 9402618"/>
                  <a:gd name="connsiteY15" fmla="*/ 701964 h 2623127"/>
                  <a:gd name="connsiteX16" fmla="*/ 9273309 w 9402618"/>
                  <a:gd name="connsiteY16" fmla="*/ 2623127 h 2623127"/>
                  <a:gd name="connsiteX17" fmla="*/ 0 w 9402618"/>
                  <a:gd name="connsiteY17" fmla="*/ 2604655 h 2623127"/>
                  <a:gd name="connsiteX0" fmla="*/ 0 w 9273309"/>
                  <a:gd name="connsiteY0" fmla="*/ 2900218 h 2918690"/>
                  <a:gd name="connsiteX1" fmla="*/ 0 w 9273309"/>
                  <a:gd name="connsiteY1" fmla="*/ 2124363 h 2918690"/>
                  <a:gd name="connsiteX2" fmla="*/ 406400 w 9273309"/>
                  <a:gd name="connsiteY2" fmla="*/ 2309091 h 2918690"/>
                  <a:gd name="connsiteX3" fmla="*/ 942109 w 9273309"/>
                  <a:gd name="connsiteY3" fmla="*/ 1939636 h 2918690"/>
                  <a:gd name="connsiteX4" fmla="*/ 1366982 w 9273309"/>
                  <a:gd name="connsiteY4" fmla="*/ 1330035 h 2918690"/>
                  <a:gd name="connsiteX5" fmla="*/ 2087417 w 9273309"/>
                  <a:gd name="connsiteY5" fmla="*/ 1662544 h 2918690"/>
                  <a:gd name="connsiteX6" fmla="*/ 2641600 w 9273309"/>
                  <a:gd name="connsiteY6" fmla="*/ 1366982 h 2918690"/>
                  <a:gd name="connsiteX7" fmla="*/ 3491345 w 9273309"/>
                  <a:gd name="connsiteY7" fmla="*/ 1283449 h 2918690"/>
                  <a:gd name="connsiteX8" fmla="*/ 4193309 w 9273309"/>
                  <a:gd name="connsiteY8" fmla="*/ 1126835 h 2918690"/>
                  <a:gd name="connsiteX9" fmla="*/ 5190836 w 9273309"/>
                  <a:gd name="connsiteY9" fmla="*/ 665018 h 2918690"/>
                  <a:gd name="connsiteX10" fmla="*/ 5523345 w 9273309"/>
                  <a:gd name="connsiteY10" fmla="*/ 424872 h 2918690"/>
                  <a:gd name="connsiteX11" fmla="*/ 5874327 w 9273309"/>
                  <a:gd name="connsiteY11" fmla="*/ 655376 h 2918690"/>
                  <a:gd name="connsiteX12" fmla="*/ 6687127 w 9273309"/>
                  <a:gd name="connsiteY12" fmla="*/ 517235 h 2918690"/>
                  <a:gd name="connsiteX13" fmla="*/ 7869382 w 9273309"/>
                  <a:gd name="connsiteY13" fmla="*/ 295563 h 2918690"/>
                  <a:gd name="connsiteX14" fmla="*/ 8497454 w 9273309"/>
                  <a:gd name="connsiteY14" fmla="*/ 646545 h 2918690"/>
                  <a:gd name="connsiteX15" fmla="*/ 9236364 w 9273309"/>
                  <a:gd name="connsiteY15" fmla="*/ 0 h 2918690"/>
                  <a:gd name="connsiteX16" fmla="*/ 9273309 w 9273309"/>
                  <a:gd name="connsiteY16" fmla="*/ 2918690 h 2918690"/>
                  <a:gd name="connsiteX17" fmla="*/ 0 w 9273309"/>
                  <a:gd name="connsiteY17" fmla="*/ 2900218 h 2918690"/>
                  <a:gd name="connsiteX0" fmla="*/ 0 w 9273309"/>
                  <a:gd name="connsiteY0" fmla="*/ 2900218 h 2918690"/>
                  <a:gd name="connsiteX1" fmla="*/ 0 w 9273309"/>
                  <a:gd name="connsiteY1" fmla="*/ 2124363 h 2918690"/>
                  <a:gd name="connsiteX2" fmla="*/ 406400 w 9273309"/>
                  <a:gd name="connsiteY2" fmla="*/ 2309091 h 2918690"/>
                  <a:gd name="connsiteX3" fmla="*/ 942109 w 9273309"/>
                  <a:gd name="connsiteY3" fmla="*/ 1939636 h 2918690"/>
                  <a:gd name="connsiteX4" fmla="*/ 1366982 w 9273309"/>
                  <a:gd name="connsiteY4" fmla="*/ 1330035 h 2918690"/>
                  <a:gd name="connsiteX5" fmla="*/ 2087417 w 9273309"/>
                  <a:gd name="connsiteY5" fmla="*/ 1662544 h 2918690"/>
                  <a:gd name="connsiteX6" fmla="*/ 2641600 w 9273309"/>
                  <a:gd name="connsiteY6" fmla="*/ 1366982 h 2918690"/>
                  <a:gd name="connsiteX7" fmla="*/ 3491345 w 9273309"/>
                  <a:gd name="connsiteY7" fmla="*/ 1283449 h 2918690"/>
                  <a:gd name="connsiteX8" fmla="*/ 4193309 w 9273309"/>
                  <a:gd name="connsiteY8" fmla="*/ 1126835 h 2918690"/>
                  <a:gd name="connsiteX9" fmla="*/ 5190836 w 9273309"/>
                  <a:gd name="connsiteY9" fmla="*/ 665018 h 2918690"/>
                  <a:gd name="connsiteX10" fmla="*/ 5523345 w 9273309"/>
                  <a:gd name="connsiteY10" fmla="*/ 424872 h 2918690"/>
                  <a:gd name="connsiteX11" fmla="*/ 5874327 w 9273309"/>
                  <a:gd name="connsiteY11" fmla="*/ 655376 h 2918690"/>
                  <a:gd name="connsiteX12" fmla="*/ 6687127 w 9273309"/>
                  <a:gd name="connsiteY12" fmla="*/ 517235 h 2918690"/>
                  <a:gd name="connsiteX13" fmla="*/ 7869382 w 9273309"/>
                  <a:gd name="connsiteY13" fmla="*/ 295563 h 2918690"/>
                  <a:gd name="connsiteX14" fmla="*/ 8497454 w 9273309"/>
                  <a:gd name="connsiteY14" fmla="*/ 646545 h 2918690"/>
                  <a:gd name="connsiteX15" fmla="*/ 9236364 w 9273309"/>
                  <a:gd name="connsiteY15" fmla="*/ 0 h 2918690"/>
                  <a:gd name="connsiteX16" fmla="*/ 9273309 w 9273309"/>
                  <a:gd name="connsiteY16" fmla="*/ 2918690 h 2918690"/>
                  <a:gd name="connsiteX17" fmla="*/ 0 w 9273309"/>
                  <a:gd name="connsiteY17" fmla="*/ 2900218 h 2918690"/>
                  <a:gd name="connsiteX0" fmla="*/ 0 w 9273309"/>
                  <a:gd name="connsiteY0" fmla="*/ 2900218 h 2918690"/>
                  <a:gd name="connsiteX1" fmla="*/ 0 w 9273309"/>
                  <a:gd name="connsiteY1" fmla="*/ 2124363 h 2918690"/>
                  <a:gd name="connsiteX2" fmla="*/ 406400 w 9273309"/>
                  <a:gd name="connsiteY2" fmla="*/ 2309091 h 2918690"/>
                  <a:gd name="connsiteX3" fmla="*/ 942109 w 9273309"/>
                  <a:gd name="connsiteY3" fmla="*/ 1939636 h 2918690"/>
                  <a:gd name="connsiteX4" fmla="*/ 1366982 w 9273309"/>
                  <a:gd name="connsiteY4" fmla="*/ 1330035 h 2918690"/>
                  <a:gd name="connsiteX5" fmla="*/ 2087417 w 9273309"/>
                  <a:gd name="connsiteY5" fmla="*/ 1662544 h 2918690"/>
                  <a:gd name="connsiteX6" fmla="*/ 2641600 w 9273309"/>
                  <a:gd name="connsiteY6" fmla="*/ 1366982 h 2918690"/>
                  <a:gd name="connsiteX7" fmla="*/ 3491345 w 9273309"/>
                  <a:gd name="connsiteY7" fmla="*/ 1283449 h 2918690"/>
                  <a:gd name="connsiteX8" fmla="*/ 4193309 w 9273309"/>
                  <a:gd name="connsiteY8" fmla="*/ 1126835 h 2918690"/>
                  <a:gd name="connsiteX9" fmla="*/ 5190836 w 9273309"/>
                  <a:gd name="connsiteY9" fmla="*/ 665018 h 2918690"/>
                  <a:gd name="connsiteX10" fmla="*/ 5523345 w 9273309"/>
                  <a:gd name="connsiteY10" fmla="*/ 424872 h 2918690"/>
                  <a:gd name="connsiteX11" fmla="*/ 5874327 w 9273309"/>
                  <a:gd name="connsiteY11" fmla="*/ 655376 h 2918690"/>
                  <a:gd name="connsiteX12" fmla="*/ 6687127 w 9273309"/>
                  <a:gd name="connsiteY12" fmla="*/ 517235 h 2918690"/>
                  <a:gd name="connsiteX13" fmla="*/ 7869382 w 9273309"/>
                  <a:gd name="connsiteY13" fmla="*/ 295563 h 2918690"/>
                  <a:gd name="connsiteX14" fmla="*/ 8497454 w 9273309"/>
                  <a:gd name="connsiteY14" fmla="*/ 646545 h 2918690"/>
                  <a:gd name="connsiteX15" fmla="*/ 9236364 w 9273309"/>
                  <a:gd name="connsiteY15" fmla="*/ 0 h 2918690"/>
                  <a:gd name="connsiteX16" fmla="*/ 9273309 w 9273309"/>
                  <a:gd name="connsiteY16" fmla="*/ 2918690 h 2918690"/>
                  <a:gd name="connsiteX17" fmla="*/ 0 w 9273309"/>
                  <a:gd name="connsiteY17" fmla="*/ 2900218 h 2918690"/>
                  <a:gd name="connsiteX0" fmla="*/ 0 w 9273309"/>
                  <a:gd name="connsiteY0" fmla="*/ 3528290 h 3528290"/>
                  <a:gd name="connsiteX1" fmla="*/ 0 w 9273309"/>
                  <a:gd name="connsiteY1" fmla="*/ 2124363 h 3528290"/>
                  <a:gd name="connsiteX2" fmla="*/ 406400 w 9273309"/>
                  <a:gd name="connsiteY2" fmla="*/ 2309091 h 3528290"/>
                  <a:gd name="connsiteX3" fmla="*/ 942109 w 9273309"/>
                  <a:gd name="connsiteY3" fmla="*/ 1939636 h 3528290"/>
                  <a:gd name="connsiteX4" fmla="*/ 1366982 w 9273309"/>
                  <a:gd name="connsiteY4" fmla="*/ 1330035 h 3528290"/>
                  <a:gd name="connsiteX5" fmla="*/ 2087417 w 9273309"/>
                  <a:gd name="connsiteY5" fmla="*/ 1662544 h 3528290"/>
                  <a:gd name="connsiteX6" fmla="*/ 2641600 w 9273309"/>
                  <a:gd name="connsiteY6" fmla="*/ 1366982 h 3528290"/>
                  <a:gd name="connsiteX7" fmla="*/ 3491345 w 9273309"/>
                  <a:gd name="connsiteY7" fmla="*/ 1283449 h 3528290"/>
                  <a:gd name="connsiteX8" fmla="*/ 4193309 w 9273309"/>
                  <a:gd name="connsiteY8" fmla="*/ 1126835 h 3528290"/>
                  <a:gd name="connsiteX9" fmla="*/ 5190836 w 9273309"/>
                  <a:gd name="connsiteY9" fmla="*/ 665018 h 3528290"/>
                  <a:gd name="connsiteX10" fmla="*/ 5523345 w 9273309"/>
                  <a:gd name="connsiteY10" fmla="*/ 424872 h 3528290"/>
                  <a:gd name="connsiteX11" fmla="*/ 5874327 w 9273309"/>
                  <a:gd name="connsiteY11" fmla="*/ 655376 h 3528290"/>
                  <a:gd name="connsiteX12" fmla="*/ 6687127 w 9273309"/>
                  <a:gd name="connsiteY12" fmla="*/ 517235 h 3528290"/>
                  <a:gd name="connsiteX13" fmla="*/ 7869382 w 9273309"/>
                  <a:gd name="connsiteY13" fmla="*/ 295563 h 3528290"/>
                  <a:gd name="connsiteX14" fmla="*/ 8497454 w 9273309"/>
                  <a:gd name="connsiteY14" fmla="*/ 646545 h 3528290"/>
                  <a:gd name="connsiteX15" fmla="*/ 9236364 w 9273309"/>
                  <a:gd name="connsiteY15" fmla="*/ 0 h 3528290"/>
                  <a:gd name="connsiteX16" fmla="*/ 9273309 w 9273309"/>
                  <a:gd name="connsiteY16" fmla="*/ 2918690 h 3528290"/>
                  <a:gd name="connsiteX17" fmla="*/ 0 w 9273309"/>
                  <a:gd name="connsiteY17" fmla="*/ 3528290 h 3528290"/>
                  <a:gd name="connsiteX0" fmla="*/ 0 w 9254836"/>
                  <a:gd name="connsiteY0" fmla="*/ 3528290 h 3565235"/>
                  <a:gd name="connsiteX1" fmla="*/ 0 w 9254836"/>
                  <a:gd name="connsiteY1" fmla="*/ 2124363 h 3565235"/>
                  <a:gd name="connsiteX2" fmla="*/ 406400 w 9254836"/>
                  <a:gd name="connsiteY2" fmla="*/ 2309091 h 3565235"/>
                  <a:gd name="connsiteX3" fmla="*/ 942109 w 9254836"/>
                  <a:gd name="connsiteY3" fmla="*/ 1939636 h 3565235"/>
                  <a:gd name="connsiteX4" fmla="*/ 1366982 w 9254836"/>
                  <a:gd name="connsiteY4" fmla="*/ 1330035 h 3565235"/>
                  <a:gd name="connsiteX5" fmla="*/ 2087417 w 9254836"/>
                  <a:gd name="connsiteY5" fmla="*/ 1662544 h 3565235"/>
                  <a:gd name="connsiteX6" fmla="*/ 2641600 w 9254836"/>
                  <a:gd name="connsiteY6" fmla="*/ 1366982 h 3565235"/>
                  <a:gd name="connsiteX7" fmla="*/ 3491345 w 9254836"/>
                  <a:gd name="connsiteY7" fmla="*/ 1283449 h 3565235"/>
                  <a:gd name="connsiteX8" fmla="*/ 4193309 w 9254836"/>
                  <a:gd name="connsiteY8" fmla="*/ 1126835 h 3565235"/>
                  <a:gd name="connsiteX9" fmla="*/ 5190836 w 9254836"/>
                  <a:gd name="connsiteY9" fmla="*/ 665018 h 3565235"/>
                  <a:gd name="connsiteX10" fmla="*/ 5523345 w 9254836"/>
                  <a:gd name="connsiteY10" fmla="*/ 424872 h 3565235"/>
                  <a:gd name="connsiteX11" fmla="*/ 5874327 w 9254836"/>
                  <a:gd name="connsiteY11" fmla="*/ 655376 h 3565235"/>
                  <a:gd name="connsiteX12" fmla="*/ 6687127 w 9254836"/>
                  <a:gd name="connsiteY12" fmla="*/ 517235 h 3565235"/>
                  <a:gd name="connsiteX13" fmla="*/ 7869382 w 9254836"/>
                  <a:gd name="connsiteY13" fmla="*/ 295563 h 3565235"/>
                  <a:gd name="connsiteX14" fmla="*/ 8497454 w 9254836"/>
                  <a:gd name="connsiteY14" fmla="*/ 646545 h 3565235"/>
                  <a:gd name="connsiteX15" fmla="*/ 9236364 w 9254836"/>
                  <a:gd name="connsiteY15" fmla="*/ 0 h 3565235"/>
                  <a:gd name="connsiteX16" fmla="*/ 9254836 w 9254836"/>
                  <a:gd name="connsiteY16" fmla="*/ 3565235 h 3565235"/>
                  <a:gd name="connsiteX17" fmla="*/ 0 w 9254836"/>
                  <a:gd name="connsiteY17" fmla="*/ 3528290 h 3565235"/>
                  <a:gd name="connsiteX0" fmla="*/ 0 w 9254836"/>
                  <a:gd name="connsiteY0" fmla="*/ 3389745 h 3426690"/>
                  <a:gd name="connsiteX1" fmla="*/ 0 w 9254836"/>
                  <a:gd name="connsiteY1" fmla="*/ 1985818 h 3426690"/>
                  <a:gd name="connsiteX2" fmla="*/ 406400 w 9254836"/>
                  <a:gd name="connsiteY2" fmla="*/ 2170546 h 3426690"/>
                  <a:gd name="connsiteX3" fmla="*/ 942109 w 9254836"/>
                  <a:gd name="connsiteY3" fmla="*/ 1801091 h 3426690"/>
                  <a:gd name="connsiteX4" fmla="*/ 1366982 w 9254836"/>
                  <a:gd name="connsiteY4" fmla="*/ 1191490 h 3426690"/>
                  <a:gd name="connsiteX5" fmla="*/ 2087417 w 9254836"/>
                  <a:gd name="connsiteY5" fmla="*/ 1523999 h 3426690"/>
                  <a:gd name="connsiteX6" fmla="*/ 2641600 w 9254836"/>
                  <a:gd name="connsiteY6" fmla="*/ 1228437 h 3426690"/>
                  <a:gd name="connsiteX7" fmla="*/ 3491345 w 9254836"/>
                  <a:gd name="connsiteY7" fmla="*/ 1144904 h 3426690"/>
                  <a:gd name="connsiteX8" fmla="*/ 4193309 w 9254836"/>
                  <a:gd name="connsiteY8" fmla="*/ 988290 h 3426690"/>
                  <a:gd name="connsiteX9" fmla="*/ 5190836 w 9254836"/>
                  <a:gd name="connsiteY9" fmla="*/ 526473 h 3426690"/>
                  <a:gd name="connsiteX10" fmla="*/ 5523345 w 9254836"/>
                  <a:gd name="connsiteY10" fmla="*/ 286327 h 3426690"/>
                  <a:gd name="connsiteX11" fmla="*/ 5874327 w 9254836"/>
                  <a:gd name="connsiteY11" fmla="*/ 516831 h 3426690"/>
                  <a:gd name="connsiteX12" fmla="*/ 6687127 w 9254836"/>
                  <a:gd name="connsiteY12" fmla="*/ 378690 h 3426690"/>
                  <a:gd name="connsiteX13" fmla="*/ 7869382 w 9254836"/>
                  <a:gd name="connsiteY13" fmla="*/ 157018 h 3426690"/>
                  <a:gd name="connsiteX14" fmla="*/ 8497454 w 9254836"/>
                  <a:gd name="connsiteY14" fmla="*/ 508000 h 3426690"/>
                  <a:gd name="connsiteX15" fmla="*/ 9236364 w 9254836"/>
                  <a:gd name="connsiteY15" fmla="*/ 0 h 3426690"/>
                  <a:gd name="connsiteX16" fmla="*/ 9254836 w 9254836"/>
                  <a:gd name="connsiteY16" fmla="*/ 3426690 h 3426690"/>
                  <a:gd name="connsiteX17" fmla="*/ 0 w 9254836"/>
                  <a:gd name="connsiteY17" fmla="*/ 3389745 h 3426690"/>
                  <a:gd name="connsiteX0" fmla="*/ 0 w 9254836"/>
                  <a:gd name="connsiteY0" fmla="*/ 3232727 h 3269672"/>
                  <a:gd name="connsiteX1" fmla="*/ 0 w 9254836"/>
                  <a:gd name="connsiteY1" fmla="*/ 1828800 h 3269672"/>
                  <a:gd name="connsiteX2" fmla="*/ 406400 w 9254836"/>
                  <a:gd name="connsiteY2" fmla="*/ 2013528 h 3269672"/>
                  <a:gd name="connsiteX3" fmla="*/ 942109 w 9254836"/>
                  <a:gd name="connsiteY3" fmla="*/ 1644073 h 3269672"/>
                  <a:gd name="connsiteX4" fmla="*/ 1366982 w 9254836"/>
                  <a:gd name="connsiteY4" fmla="*/ 1034472 h 3269672"/>
                  <a:gd name="connsiteX5" fmla="*/ 2087417 w 9254836"/>
                  <a:gd name="connsiteY5" fmla="*/ 1366981 h 3269672"/>
                  <a:gd name="connsiteX6" fmla="*/ 2641600 w 9254836"/>
                  <a:gd name="connsiteY6" fmla="*/ 1071419 h 3269672"/>
                  <a:gd name="connsiteX7" fmla="*/ 3491345 w 9254836"/>
                  <a:gd name="connsiteY7" fmla="*/ 987886 h 3269672"/>
                  <a:gd name="connsiteX8" fmla="*/ 4193309 w 9254836"/>
                  <a:gd name="connsiteY8" fmla="*/ 831272 h 3269672"/>
                  <a:gd name="connsiteX9" fmla="*/ 5190836 w 9254836"/>
                  <a:gd name="connsiteY9" fmla="*/ 369455 h 3269672"/>
                  <a:gd name="connsiteX10" fmla="*/ 5523345 w 9254836"/>
                  <a:gd name="connsiteY10" fmla="*/ 129309 h 3269672"/>
                  <a:gd name="connsiteX11" fmla="*/ 5874327 w 9254836"/>
                  <a:gd name="connsiteY11" fmla="*/ 359813 h 3269672"/>
                  <a:gd name="connsiteX12" fmla="*/ 6687127 w 9254836"/>
                  <a:gd name="connsiteY12" fmla="*/ 221672 h 3269672"/>
                  <a:gd name="connsiteX13" fmla="*/ 7869382 w 9254836"/>
                  <a:gd name="connsiteY13" fmla="*/ 0 h 3269672"/>
                  <a:gd name="connsiteX14" fmla="*/ 8497454 w 9254836"/>
                  <a:gd name="connsiteY14" fmla="*/ 350982 h 3269672"/>
                  <a:gd name="connsiteX15" fmla="*/ 9247931 w 9254836"/>
                  <a:gd name="connsiteY15" fmla="*/ 140855 h 3269672"/>
                  <a:gd name="connsiteX16" fmla="*/ 9254836 w 9254836"/>
                  <a:gd name="connsiteY16" fmla="*/ 3269672 h 3269672"/>
                  <a:gd name="connsiteX17" fmla="*/ 0 w 9254836"/>
                  <a:gd name="connsiteY17" fmla="*/ 3232727 h 3269672"/>
                  <a:gd name="connsiteX0" fmla="*/ 0 w 9254836"/>
                  <a:gd name="connsiteY0" fmla="*/ 3232727 h 3269672"/>
                  <a:gd name="connsiteX1" fmla="*/ 0 w 9254836"/>
                  <a:gd name="connsiteY1" fmla="*/ 1828800 h 3269672"/>
                  <a:gd name="connsiteX2" fmla="*/ 406400 w 9254836"/>
                  <a:gd name="connsiteY2" fmla="*/ 2013528 h 3269672"/>
                  <a:gd name="connsiteX3" fmla="*/ 942109 w 9254836"/>
                  <a:gd name="connsiteY3" fmla="*/ 1644073 h 3269672"/>
                  <a:gd name="connsiteX4" fmla="*/ 1366982 w 9254836"/>
                  <a:gd name="connsiteY4" fmla="*/ 1034472 h 3269672"/>
                  <a:gd name="connsiteX5" fmla="*/ 2087417 w 9254836"/>
                  <a:gd name="connsiteY5" fmla="*/ 1366981 h 3269672"/>
                  <a:gd name="connsiteX6" fmla="*/ 2641600 w 9254836"/>
                  <a:gd name="connsiteY6" fmla="*/ 1071419 h 3269672"/>
                  <a:gd name="connsiteX7" fmla="*/ 3491345 w 9254836"/>
                  <a:gd name="connsiteY7" fmla="*/ 987886 h 3269672"/>
                  <a:gd name="connsiteX8" fmla="*/ 4193309 w 9254836"/>
                  <a:gd name="connsiteY8" fmla="*/ 831272 h 3269672"/>
                  <a:gd name="connsiteX9" fmla="*/ 5190836 w 9254836"/>
                  <a:gd name="connsiteY9" fmla="*/ 369455 h 3269672"/>
                  <a:gd name="connsiteX10" fmla="*/ 5523345 w 9254836"/>
                  <a:gd name="connsiteY10" fmla="*/ 129309 h 3269672"/>
                  <a:gd name="connsiteX11" fmla="*/ 5874327 w 9254836"/>
                  <a:gd name="connsiteY11" fmla="*/ 359813 h 3269672"/>
                  <a:gd name="connsiteX12" fmla="*/ 6687127 w 9254836"/>
                  <a:gd name="connsiteY12" fmla="*/ 221672 h 3269672"/>
                  <a:gd name="connsiteX13" fmla="*/ 7869382 w 9254836"/>
                  <a:gd name="connsiteY13" fmla="*/ 0 h 3269672"/>
                  <a:gd name="connsiteX14" fmla="*/ 8497454 w 9254836"/>
                  <a:gd name="connsiteY14" fmla="*/ 350982 h 3269672"/>
                  <a:gd name="connsiteX15" fmla="*/ 9247931 w 9254836"/>
                  <a:gd name="connsiteY15" fmla="*/ 140855 h 3269672"/>
                  <a:gd name="connsiteX16" fmla="*/ 9254836 w 9254836"/>
                  <a:gd name="connsiteY16" fmla="*/ 3269672 h 3269672"/>
                  <a:gd name="connsiteX17" fmla="*/ 0 w 9254836"/>
                  <a:gd name="connsiteY17" fmla="*/ 3232727 h 3269672"/>
                  <a:gd name="connsiteX0" fmla="*/ 0 w 9254836"/>
                  <a:gd name="connsiteY0" fmla="*/ 3232727 h 3269672"/>
                  <a:gd name="connsiteX1" fmla="*/ 0 w 9254836"/>
                  <a:gd name="connsiteY1" fmla="*/ 1828800 h 3269672"/>
                  <a:gd name="connsiteX2" fmla="*/ 406400 w 9254836"/>
                  <a:gd name="connsiteY2" fmla="*/ 2013528 h 3269672"/>
                  <a:gd name="connsiteX3" fmla="*/ 942109 w 9254836"/>
                  <a:gd name="connsiteY3" fmla="*/ 1644073 h 3269672"/>
                  <a:gd name="connsiteX4" fmla="*/ 1366982 w 9254836"/>
                  <a:gd name="connsiteY4" fmla="*/ 1034472 h 3269672"/>
                  <a:gd name="connsiteX5" fmla="*/ 2087417 w 9254836"/>
                  <a:gd name="connsiteY5" fmla="*/ 1366981 h 3269672"/>
                  <a:gd name="connsiteX6" fmla="*/ 2641600 w 9254836"/>
                  <a:gd name="connsiteY6" fmla="*/ 1071419 h 3269672"/>
                  <a:gd name="connsiteX7" fmla="*/ 3491345 w 9254836"/>
                  <a:gd name="connsiteY7" fmla="*/ 987886 h 3269672"/>
                  <a:gd name="connsiteX8" fmla="*/ 4193309 w 9254836"/>
                  <a:gd name="connsiteY8" fmla="*/ 831272 h 3269672"/>
                  <a:gd name="connsiteX9" fmla="*/ 5190836 w 9254836"/>
                  <a:gd name="connsiteY9" fmla="*/ 369455 h 3269672"/>
                  <a:gd name="connsiteX10" fmla="*/ 5523345 w 9254836"/>
                  <a:gd name="connsiteY10" fmla="*/ 129309 h 3269672"/>
                  <a:gd name="connsiteX11" fmla="*/ 5874327 w 9254836"/>
                  <a:gd name="connsiteY11" fmla="*/ 359813 h 3269672"/>
                  <a:gd name="connsiteX12" fmla="*/ 6687127 w 9254836"/>
                  <a:gd name="connsiteY12" fmla="*/ 221672 h 3269672"/>
                  <a:gd name="connsiteX13" fmla="*/ 7869382 w 9254836"/>
                  <a:gd name="connsiteY13" fmla="*/ 0 h 3269672"/>
                  <a:gd name="connsiteX14" fmla="*/ 8497454 w 9254836"/>
                  <a:gd name="connsiteY14" fmla="*/ 350982 h 3269672"/>
                  <a:gd name="connsiteX15" fmla="*/ 9247931 w 9254836"/>
                  <a:gd name="connsiteY15" fmla="*/ 140855 h 3269672"/>
                  <a:gd name="connsiteX16" fmla="*/ 9254836 w 9254836"/>
                  <a:gd name="connsiteY16" fmla="*/ 3269672 h 3269672"/>
                  <a:gd name="connsiteX17" fmla="*/ 0 w 9254836"/>
                  <a:gd name="connsiteY17" fmla="*/ 3232727 h 3269672"/>
                  <a:gd name="connsiteX0" fmla="*/ 0 w 9254836"/>
                  <a:gd name="connsiteY0" fmla="*/ 3327399 h 3364344"/>
                  <a:gd name="connsiteX1" fmla="*/ 0 w 9254836"/>
                  <a:gd name="connsiteY1" fmla="*/ 1923472 h 3364344"/>
                  <a:gd name="connsiteX2" fmla="*/ 406400 w 9254836"/>
                  <a:gd name="connsiteY2" fmla="*/ 2108200 h 3364344"/>
                  <a:gd name="connsiteX3" fmla="*/ 942109 w 9254836"/>
                  <a:gd name="connsiteY3" fmla="*/ 1738745 h 3364344"/>
                  <a:gd name="connsiteX4" fmla="*/ 1366982 w 9254836"/>
                  <a:gd name="connsiteY4" fmla="*/ 1129144 h 3364344"/>
                  <a:gd name="connsiteX5" fmla="*/ 2087417 w 9254836"/>
                  <a:gd name="connsiteY5" fmla="*/ 1461653 h 3364344"/>
                  <a:gd name="connsiteX6" fmla="*/ 2641600 w 9254836"/>
                  <a:gd name="connsiteY6" fmla="*/ 1166091 h 3364344"/>
                  <a:gd name="connsiteX7" fmla="*/ 3491345 w 9254836"/>
                  <a:gd name="connsiteY7" fmla="*/ 1082558 h 3364344"/>
                  <a:gd name="connsiteX8" fmla="*/ 4193309 w 9254836"/>
                  <a:gd name="connsiteY8" fmla="*/ 925944 h 3364344"/>
                  <a:gd name="connsiteX9" fmla="*/ 5190836 w 9254836"/>
                  <a:gd name="connsiteY9" fmla="*/ 464127 h 3364344"/>
                  <a:gd name="connsiteX10" fmla="*/ 5523345 w 9254836"/>
                  <a:gd name="connsiteY10" fmla="*/ 223981 h 3364344"/>
                  <a:gd name="connsiteX11" fmla="*/ 5874327 w 9254836"/>
                  <a:gd name="connsiteY11" fmla="*/ 454485 h 3364344"/>
                  <a:gd name="connsiteX12" fmla="*/ 6687127 w 9254836"/>
                  <a:gd name="connsiteY12" fmla="*/ 316344 h 3364344"/>
                  <a:gd name="connsiteX13" fmla="*/ 7869382 w 9254836"/>
                  <a:gd name="connsiteY13" fmla="*/ 94672 h 3364344"/>
                  <a:gd name="connsiteX14" fmla="*/ 8497454 w 9254836"/>
                  <a:gd name="connsiteY14" fmla="*/ 445654 h 3364344"/>
                  <a:gd name="connsiteX15" fmla="*/ 9247931 w 9254836"/>
                  <a:gd name="connsiteY15" fmla="*/ 0 h 3364344"/>
                  <a:gd name="connsiteX16" fmla="*/ 9254836 w 9254836"/>
                  <a:gd name="connsiteY16" fmla="*/ 3364344 h 3364344"/>
                  <a:gd name="connsiteX17" fmla="*/ 0 w 9254836"/>
                  <a:gd name="connsiteY17" fmla="*/ 3327399 h 3364344"/>
                  <a:gd name="connsiteX0" fmla="*/ 0 w 9254836"/>
                  <a:gd name="connsiteY0" fmla="*/ 3327399 h 3327399"/>
                  <a:gd name="connsiteX1" fmla="*/ 0 w 9254836"/>
                  <a:gd name="connsiteY1" fmla="*/ 1923472 h 3327399"/>
                  <a:gd name="connsiteX2" fmla="*/ 406400 w 9254836"/>
                  <a:gd name="connsiteY2" fmla="*/ 2108200 h 3327399"/>
                  <a:gd name="connsiteX3" fmla="*/ 942109 w 9254836"/>
                  <a:gd name="connsiteY3" fmla="*/ 1738745 h 3327399"/>
                  <a:gd name="connsiteX4" fmla="*/ 1366982 w 9254836"/>
                  <a:gd name="connsiteY4" fmla="*/ 1129144 h 3327399"/>
                  <a:gd name="connsiteX5" fmla="*/ 2087417 w 9254836"/>
                  <a:gd name="connsiteY5" fmla="*/ 1461653 h 3327399"/>
                  <a:gd name="connsiteX6" fmla="*/ 2641600 w 9254836"/>
                  <a:gd name="connsiteY6" fmla="*/ 1166091 h 3327399"/>
                  <a:gd name="connsiteX7" fmla="*/ 3491345 w 9254836"/>
                  <a:gd name="connsiteY7" fmla="*/ 1082558 h 3327399"/>
                  <a:gd name="connsiteX8" fmla="*/ 4193309 w 9254836"/>
                  <a:gd name="connsiteY8" fmla="*/ 925944 h 3327399"/>
                  <a:gd name="connsiteX9" fmla="*/ 5190836 w 9254836"/>
                  <a:gd name="connsiteY9" fmla="*/ 464127 h 3327399"/>
                  <a:gd name="connsiteX10" fmla="*/ 5523345 w 9254836"/>
                  <a:gd name="connsiteY10" fmla="*/ 223981 h 3327399"/>
                  <a:gd name="connsiteX11" fmla="*/ 5874327 w 9254836"/>
                  <a:gd name="connsiteY11" fmla="*/ 454485 h 3327399"/>
                  <a:gd name="connsiteX12" fmla="*/ 6687127 w 9254836"/>
                  <a:gd name="connsiteY12" fmla="*/ 316344 h 3327399"/>
                  <a:gd name="connsiteX13" fmla="*/ 7869382 w 9254836"/>
                  <a:gd name="connsiteY13" fmla="*/ 94672 h 3327399"/>
                  <a:gd name="connsiteX14" fmla="*/ 8497454 w 9254836"/>
                  <a:gd name="connsiteY14" fmla="*/ 445654 h 3327399"/>
                  <a:gd name="connsiteX15" fmla="*/ 9247931 w 9254836"/>
                  <a:gd name="connsiteY15" fmla="*/ 0 h 3327399"/>
                  <a:gd name="connsiteX16" fmla="*/ 9254836 w 9254836"/>
                  <a:gd name="connsiteY16" fmla="*/ 3143364 h 3327399"/>
                  <a:gd name="connsiteX17" fmla="*/ 0 w 9254836"/>
                  <a:gd name="connsiteY17" fmla="*/ 3327399 h 3327399"/>
                  <a:gd name="connsiteX0" fmla="*/ 0 w 9261198"/>
                  <a:gd name="connsiteY0" fmla="*/ 3144519 h 3144519"/>
                  <a:gd name="connsiteX1" fmla="*/ 6362 w 9261198"/>
                  <a:gd name="connsiteY1" fmla="*/ 1923472 h 3144519"/>
                  <a:gd name="connsiteX2" fmla="*/ 412762 w 9261198"/>
                  <a:gd name="connsiteY2" fmla="*/ 2108200 h 3144519"/>
                  <a:gd name="connsiteX3" fmla="*/ 948471 w 9261198"/>
                  <a:gd name="connsiteY3" fmla="*/ 1738745 h 3144519"/>
                  <a:gd name="connsiteX4" fmla="*/ 1373344 w 9261198"/>
                  <a:gd name="connsiteY4" fmla="*/ 1129144 h 3144519"/>
                  <a:gd name="connsiteX5" fmla="*/ 2093779 w 9261198"/>
                  <a:gd name="connsiteY5" fmla="*/ 1461653 h 3144519"/>
                  <a:gd name="connsiteX6" fmla="*/ 2647962 w 9261198"/>
                  <a:gd name="connsiteY6" fmla="*/ 1166091 h 3144519"/>
                  <a:gd name="connsiteX7" fmla="*/ 3497707 w 9261198"/>
                  <a:gd name="connsiteY7" fmla="*/ 1082558 h 3144519"/>
                  <a:gd name="connsiteX8" fmla="*/ 4199671 w 9261198"/>
                  <a:gd name="connsiteY8" fmla="*/ 925944 h 3144519"/>
                  <a:gd name="connsiteX9" fmla="*/ 5197198 w 9261198"/>
                  <a:gd name="connsiteY9" fmla="*/ 464127 h 3144519"/>
                  <a:gd name="connsiteX10" fmla="*/ 5529707 w 9261198"/>
                  <a:gd name="connsiteY10" fmla="*/ 223981 h 3144519"/>
                  <a:gd name="connsiteX11" fmla="*/ 5880689 w 9261198"/>
                  <a:gd name="connsiteY11" fmla="*/ 454485 h 3144519"/>
                  <a:gd name="connsiteX12" fmla="*/ 6693489 w 9261198"/>
                  <a:gd name="connsiteY12" fmla="*/ 316344 h 3144519"/>
                  <a:gd name="connsiteX13" fmla="*/ 7875744 w 9261198"/>
                  <a:gd name="connsiteY13" fmla="*/ 94672 h 3144519"/>
                  <a:gd name="connsiteX14" fmla="*/ 8503816 w 9261198"/>
                  <a:gd name="connsiteY14" fmla="*/ 445654 h 3144519"/>
                  <a:gd name="connsiteX15" fmla="*/ 9254293 w 9261198"/>
                  <a:gd name="connsiteY15" fmla="*/ 0 h 3144519"/>
                  <a:gd name="connsiteX16" fmla="*/ 9261198 w 9261198"/>
                  <a:gd name="connsiteY16" fmla="*/ 3143364 h 3144519"/>
                  <a:gd name="connsiteX17" fmla="*/ 0 w 9261198"/>
                  <a:gd name="connsiteY17" fmla="*/ 3144519 h 3144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61198" h="3144519">
                    <a:moveTo>
                      <a:pt x="0" y="3144519"/>
                    </a:moveTo>
                    <a:cubicBezTo>
                      <a:pt x="2121" y="2737503"/>
                      <a:pt x="4241" y="2330488"/>
                      <a:pt x="6362" y="1923472"/>
                    </a:cubicBezTo>
                    <a:lnTo>
                      <a:pt x="412762" y="2108200"/>
                    </a:lnTo>
                    <a:lnTo>
                      <a:pt x="948471" y="1738745"/>
                    </a:lnTo>
                    <a:lnTo>
                      <a:pt x="1373344" y="1129144"/>
                    </a:lnTo>
                    <a:lnTo>
                      <a:pt x="2093779" y="1461653"/>
                    </a:lnTo>
                    <a:lnTo>
                      <a:pt x="2647962" y="1166091"/>
                    </a:lnTo>
                    <a:lnTo>
                      <a:pt x="3497707" y="1082558"/>
                    </a:lnTo>
                    <a:lnTo>
                      <a:pt x="4199671" y="925944"/>
                    </a:lnTo>
                    <a:lnTo>
                      <a:pt x="5197198" y="464127"/>
                    </a:lnTo>
                    <a:lnTo>
                      <a:pt x="5529707" y="223981"/>
                    </a:lnTo>
                    <a:lnTo>
                      <a:pt x="5880689" y="454485"/>
                    </a:lnTo>
                    <a:lnTo>
                      <a:pt x="6693489" y="316344"/>
                    </a:lnTo>
                    <a:lnTo>
                      <a:pt x="7875744" y="94672"/>
                    </a:lnTo>
                    <a:lnTo>
                      <a:pt x="8503816" y="445654"/>
                    </a:lnTo>
                    <a:lnTo>
                      <a:pt x="9254293" y="0"/>
                    </a:lnTo>
                    <a:cubicBezTo>
                      <a:pt x="9260450" y="1188412"/>
                      <a:pt x="9255041" y="1954952"/>
                      <a:pt x="9261198" y="3143364"/>
                    </a:cubicBezTo>
                    <a:lnTo>
                      <a:pt x="0" y="3144519"/>
                    </a:lnTo>
                    <a:close/>
                  </a:path>
                </a:pathLst>
              </a:custGeom>
              <a:solidFill>
                <a:srgbClr val="D9D9D9"/>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7F7F7F"/>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046B2096-7BE3-4FC5-886D-A399CC94A36F}"/>
                  </a:ext>
                </a:extLst>
              </p:cNvPr>
              <p:cNvGrpSpPr/>
              <p:nvPr/>
            </p:nvGrpSpPr>
            <p:grpSpPr>
              <a:xfrm>
                <a:off x="-14012" y="4012528"/>
                <a:ext cx="9899198" cy="2535326"/>
                <a:chOff x="-17246" y="4147180"/>
                <a:chExt cx="12183630" cy="3120395"/>
              </a:xfrm>
            </p:grpSpPr>
            <p:sp>
              <p:nvSpPr>
                <p:cNvPr id="32" name="Freeform: Shape 31">
                  <a:extLst>
                    <a:ext uri="{FF2B5EF4-FFF2-40B4-BE49-F238E27FC236}">
                      <a16:creationId xmlns:a16="http://schemas.microsoft.com/office/drawing/2014/main" id="{D24A0A13-A659-4CB8-9E3E-DFEAF190FE66}"/>
                    </a:ext>
                  </a:extLst>
                </p:cNvPr>
                <p:cNvSpPr/>
                <p:nvPr/>
              </p:nvSpPr>
              <p:spPr>
                <a:xfrm>
                  <a:off x="-17246" y="4147180"/>
                  <a:ext cx="12183630" cy="2694581"/>
                </a:xfrm>
                <a:custGeom>
                  <a:avLst/>
                  <a:gdLst>
                    <a:gd name="connsiteX0" fmla="*/ 0 w 12376727"/>
                    <a:gd name="connsiteY0" fmla="*/ 1902691 h 1921163"/>
                    <a:gd name="connsiteX1" fmla="*/ 0 w 12376727"/>
                    <a:gd name="connsiteY1" fmla="*/ 1126836 h 1921163"/>
                    <a:gd name="connsiteX2" fmla="*/ 295563 w 12376727"/>
                    <a:gd name="connsiteY2" fmla="*/ 942109 h 1921163"/>
                    <a:gd name="connsiteX3" fmla="*/ 942109 w 12376727"/>
                    <a:gd name="connsiteY3" fmla="*/ 942109 h 1921163"/>
                    <a:gd name="connsiteX4" fmla="*/ 1865745 w 12376727"/>
                    <a:gd name="connsiteY4" fmla="*/ 517236 h 1921163"/>
                    <a:gd name="connsiteX5" fmla="*/ 2937163 w 12376727"/>
                    <a:gd name="connsiteY5" fmla="*/ 295563 h 1921163"/>
                    <a:gd name="connsiteX6" fmla="*/ 3472873 w 12376727"/>
                    <a:gd name="connsiteY6" fmla="*/ 646545 h 1921163"/>
                    <a:gd name="connsiteX7" fmla="*/ 4396509 w 12376727"/>
                    <a:gd name="connsiteY7" fmla="*/ 831272 h 1921163"/>
                    <a:gd name="connsiteX8" fmla="*/ 5080000 w 12376727"/>
                    <a:gd name="connsiteY8" fmla="*/ 757382 h 1921163"/>
                    <a:gd name="connsiteX9" fmla="*/ 5855854 w 12376727"/>
                    <a:gd name="connsiteY9" fmla="*/ 609600 h 1921163"/>
                    <a:gd name="connsiteX10" fmla="*/ 6668654 w 12376727"/>
                    <a:gd name="connsiteY10" fmla="*/ 720436 h 1921163"/>
                    <a:gd name="connsiteX11" fmla="*/ 7869382 w 12376727"/>
                    <a:gd name="connsiteY11" fmla="*/ 387927 h 1921163"/>
                    <a:gd name="connsiteX12" fmla="*/ 8719127 w 12376727"/>
                    <a:gd name="connsiteY12" fmla="*/ 55418 h 1921163"/>
                    <a:gd name="connsiteX13" fmla="*/ 9402618 w 12376727"/>
                    <a:gd name="connsiteY13" fmla="*/ 0 h 1921163"/>
                    <a:gd name="connsiteX14" fmla="*/ 10104582 w 12376727"/>
                    <a:gd name="connsiteY14" fmla="*/ 0 h 1921163"/>
                    <a:gd name="connsiteX15" fmla="*/ 11397673 w 12376727"/>
                    <a:gd name="connsiteY15" fmla="*/ 0 h 1921163"/>
                    <a:gd name="connsiteX16" fmla="*/ 11914909 w 12376727"/>
                    <a:gd name="connsiteY16" fmla="*/ 147782 h 1921163"/>
                    <a:gd name="connsiteX17" fmla="*/ 12376727 w 12376727"/>
                    <a:gd name="connsiteY17" fmla="*/ 387927 h 1921163"/>
                    <a:gd name="connsiteX18" fmla="*/ 12376727 w 12376727"/>
                    <a:gd name="connsiteY18" fmla="*/ 1921163 h 1921163"/>
                    <a:gd name="connsiteX19" fmla="*/ 0 w 12376727"/>
                    <a:gd name="connsiteY19" fmla="*/ 1902691 h 1921163"/>
                    <a:gd name="connsiteX0" fmla="*/ 0 w 12376727"/>
                    <a:gd name="connsiteY0" fmla="*/ 1902691 h 1921163"/>
                    <a:gd name="connsiteX1" fmla="*/ 0 w 12376727"/>
                    <a:gd name="connsiteY1" fmla="*/ 1126836 h 1921163"/>
                    <a:gd name="connsiteX2" fmla="*/ 295563 w 12376727"/>
                    <a:gd name="connsiteY2" fmla="*/ 942109 h 1921163"/>
                    <a:gd name="connsiteX3" fmla="*/ 942109 w 12376727"/>
                    <a:gd name="connsiteY3" fmla="*/ 942109 h 1921163"/>
                    <a:gd name="connsiteX4" fmla="*/ 1865745 w 12376727"/>
                    <a:gd name="connsiteY4" fmla="*/ 517236 h 1921163"/>
                    <a:gd name="connsiteX5" fmla="*/ 2937163 w 12376727"/>
                    <a:gd name="connsiteY5" fmla="*/ 295563 h 1921163"/>
                    <a:gd name="connsiteX6" fmla="*/ 3472873 w 12376727"/>
                    <a:gd name="connsiteY6" fmla="*/ 646545 h 1921163"/>
                    <a:gd name="connsiteX7" fmla="*/ 4396509 w 12376727"/>
                    <a:gd name="connsiteY7" fmla="*/ 831272 h 1921163"/>
                    <a:gd name="connsiteX8" fmla="*/ 5080000 w 12376727"/>
                    <a:gd name="connsiteY8" fmla="*/ 757382 h 1921163"/>
                    <a:gd name="connsiteX9" fmla="*/ 5855854 w 12376727"/>
                    <a:gd name="connsiteY9" fmla="*/ 609600 h 1921163"/>
                    <a:gd name="connsiteX10" fmla="*/ 6668654 w 12376727"/>
                    <a:gd name="connsiteY10" fmla="*/ 720436 h 1921163"/>
                    <a:gd name="connsiteX11" fmla="*/ 7869382 w 12376727"/>
                    <a:gd name="connsiteY11" fmla="*/ 387927 h 1921163"/>
                    <a:gd name="connsiteX12" fmla="*/ 8719127 w 12376727"/>
                    <a:gd name="connsiteY12" fmla="*/ 55418 h 1921163"/>
                    <a:gd name="connsiteX13" fmla="*/ 9402618 w 12376727"/>
                    <a:gd name="connsiteY13" fmla="*/ 0 h 1921163"/>
                    <a:gd name="connsiteX14" fmla="*/ 10104582 w 12376727"/>
                    <a:gd name="connsiteY14" fmla="*/ 0 h 1921163"/>
                    <a:gd name="connsiteX15" fmla="*/ 11397673 w 12376727"/>
                    <a:gd name="connsiteY15" fmla="*/ 0 h 1921163"/>
                    <a:gd name="connsiteX16" fmla="*/ 11914909 w 12376727"/>
                    <a:gd name="connsiteY16" fmla="*/ 147782 h 1921163"/>
                    <a:gd name="connsiteX17" fmla="*/ 12376727 w 12376727"/>
                    <a:gd name="connsiteY17" fmla="*/ 387927 h 1921163"/>
                    <a:gd name="connsiteX18" fmla="*/ 9273309 w 12376727"/>
                    <a:gd name="connsiteY18" fmla="*/ 1921163 h 1921163"/>
                    <a:gd name="connsiteX19" fmla="*/ 0 w 12376727"/>
                    <a:gd name="connsiteY19" fmla="*/ 1902691 h 1921163"/>
                    <a:gd name="connsiteX0" fmla="*/ 0 w 11914909"/>
                    <a:gd name="connsiteY0" fmla="*/ 1902691 h 1921163"/>
                    <a:gd name="connsiteX1" fmla="*/ 0 w 11914909"/>
                    <a:gd name="connsiteY1" fmla="*/ 1126836 h 1921163"/>
                    <a:gd name="connsiteX2" fmla="*/ 295563 w 11914909"/>
                    <a:gd name="connsiteY2" fmla="*/ 942109 h 1921163"/>
                    <a:gd name="connsiteX3" fmla="*/ 942109 w 11914909"/>
                    <a:gd name="connsiteY3" fmla="*/ 942109 h 1921163"/>
                    <a:gd name="connsiteX4" fmla="*/ 1865745 w 11914909"/>
                    <a:gd name="connsiteY4" fmla="*/ 517236 h 1921163"/>
                    <a:gd name="connsiteX5" fmla="*/ 2937163 w 11914909"/>
                    <a:gd name="connsiteY5" fmla="*/ 295563 h 1921163"/>
                    <a:gd name="connsiteX6" fmla="*/ 3472873 w 11914909"/>
                    <a:gd name="connsiteY6" fmla="*/ 646545 h 1921163"/>
                    <a:gd name="connsiteX7" fmla="*/ 4396509 w 11914909"/>
                    <a:gd name="connsiteY7" fmla="*/ 831272 h 1921163"/>
                    <a:gd name="connsiteX8" fmla="*/ 5080000 w 11914909"/>
                    <a:gd name="connsiteY8" fmla="*/ 757382 h 1921163"/>
                    <a:gd name="connsiteX9" fmla="*/ 5855854 w 11914909"/>
                    <a:gd name="connsiteY9" fmla="*/ 609600 h 1921163"/>
                    <a:gd name="connsiteX10" fmla="*/ 6668654 w 11914909"/>
                    <a:gd name="connsiteY10" fmla="*/ 720436 h 1921163"/>
                    <a:gd name="connsiteX11" fmla="*/ 7869382 w 11914909"/>
                    <a:gd name="connsiteY11" fmla="*/ 387927 h 1921163"/>
                    <a:gd name="connsiteX12" fmla="*/ 8719127 w 11914909"/>
                    <a:gd name="connsiteY12" fmla="*/ 55418 h 1921163"/>
                    <a:gd name="connsiteX13" fmla="*/ 9402618 w 11914909"/>
                    <a:gd name="connsiteY13" fmla="*/ 0 h 1921163"/>
                    <a:gd name="connsiteX14" fmla="*/ 10104582 w 11914909"/>
                    <a:gd name="connsiteY14" fmla="*/ 0 h 1921163"/>
                    <a:gd name="connsiteX15" fmla="*/ 11397673 w 11914909"/>
                    <a:gd name="connsiteY15" fmla="*/ 0 h 1921163"/>
                    <a:gd name="connsiteX16" fmla="*/ 11914909 w 11914909"/>
                    <a:gd name="connsiteY16" fmla="*/ 147782 h 1921163"/>
                    <a:gd name="connsiteX17" fmla="*/ 9273309 w 11914909"/>
                    <a:gd name="connsiteY17" fmla="*/ 1921163 h 1921163"/>
                    <a:gd name="connsiteX18" fmla="*/ 0 w 11914909"/>
                    <a:gd name="connsiteY18" fmla="*/ 1902691 h 1921163"/>
                    <a:gd name="connsiteX0" fmla="*/ 0 w 11397673"/>
                    <a:gd name="connsiteY0" fmla="*/ 1902691 h 1921163"/>
                    <a:gd name="connsiteX1" fmla="*/ 0 w 11397673"/>
                    <a:gd name="connsiteY1" fmla="*/ 1126836 h 1921163"/>
                    <a:gd name="connsiteX2" fmla="*/ 295563 w 11397673"/>
                    <a:gd name="connsiteY2" fmla="*/ 942109 h 1921163"/>
                    <a:gd name="connsiteX3" fmla="*/ 942109 w 11397673"/>
                    <a:gd name="connsiteY3" fmla="*/ 942109 h 1921163"/>
                    <a:gd name="connsiteX4" fmla="*/ 1865745 w 11397673"/>
                    <a:gd name="connsiteY4" fmla="*/ 517236 h 1921163"/>
                    <a:gd name="connsiteX5" fmla="*/ 2937163 w 11397673"/>
                    <a:gd name="connsiteY5" fmla="*/ 295563 h 1921163"/>
                    <a:gd name="connsiteX6" fmla="*/ 3472873 w 11397673"/>
                    <a:gd name="connsiteY6" fmla="*/ 646545 h 1921163"/>
                    <a:gd name="connsiteX7" fmla="*/ 4396509 w 11397673"/>
                    <a:gd name="connsiteY7" fmla="*/ 831272 h 1921163"/>
                    <a:gd name="connsiteX8" fmla="*/ 5080000 w 11397673"/>
                    <a:gd name="connsiteY8" fmla="*/ 757382 h 1921163"/>
                    <a:gd name="connsiteX9" fmla="*/ 5855854 w 11397673"/>
                    <a:gd name="connsiteY9" fmla="*/ 609600 h 1921163"/>
                    <a:gd name="connsiteX10" fmla="*/ 6668654 w 11397673"/>
                    <a:gd name="connsiteY10" fmla="*/ 720436 h 1921163"/>
                    <a:gd name="connsiteX11" fmla="*/ 7869382 w 11397673"/>
                    <a:gd name="connsiteY11" fmla="*/ 387927 h 1921163"/>
                    <a:gd name="connsiteX12" fmla="*/ 8719127 w 11397673"/>
                    <a:gd name="connsiteY12" fmla="*/ 55418 h 1921163"/>
                    <a:gd name="connsiteX13" fmla="*/ 9402618 w 11397673"/>
                    <a:gd name="connsiteY13" fmla="*/ 0 h 1921163"/>
                    <a:gd name="connsiteX14" fmla="*/ 10104582 w 11397673"/>
                    <a:gd name="connsiteY14" fmla="*/ 0 h 1921163"/>
                    <a:gd name="connsiteX15" fmla="*/ 11397673 w 11397673"/>
                    <a:gd name="connsiteY15" fmla="*/ 0 h 1921163"/>
                    <a:gd name="connsiteX16" fmla="*/ 9273309 w 11397673"/>
                    <a:gd name="connsiteY16" fmla="*/ 1921163 h 1921163"/>
                    <a:gd name="connsiteX17" fmla="*/ 0 w 11397673"/>
                    <a:gd name="connsiteY17" fmla="*/ 1902691 h 1921163"/>
                    <a:gd name="connsiteX0" fmla="*/ 0 w 10104582"/>
                    <a:gd name="connsiteY0" fmla="*/ 1902691 h 1921163"/>
                    <a:gd name="connsiteX1" fmla="*/ 0 w 10104582"/>
                    <a:gd name="connsiteY1" fmla="*/ 1126836 h 1921163"/>
                    <a:gd name="connsiteX2" fmla="*/ 295563 w 10104582"/>
                    <a:gd name="connsiteY2" fmla="*/ 942109 h 1921163"/>
                    <a:gd name="connsiteX3" fmla="*/ 942109 w 10104582"/>
                    <a:gd name="connsiteY3" fmla="*/ 942109 h 1921163"/>
                    <a:gd name="connsiteX4" fmla="*/ 1865745 w 10104582"/>
                    <a:gd name="connsiteY4" fmla="*/ 517236 h 1921163"/>
                    <a:gd name="connsiteX5" fmla="*/ 2937163 w 10104582"/>
                    <a:gd name="connsiteY5" fmla="*/ 295563 h 1921163"/>
                    <a:gd name="connsiteX6" fmla="*/ 3472873 w 10104582"/>
                    <a:gd name="connsiteY6" fmla="*/ 646545 h 1921163"/>
                    <a:gd name="connsiteX7" fmla="*/ 4396509 w 10104582"/>
                    <a:gd name="connsiteY7" fmla="*/ 831272 h 1921163"/>
                    <a:gd name="connsiteX8" fmla="*/ 5080000 w 10104582"/>
                    <a:gd name="connsiteY8" fmla="*/ 757382 h 1921163"/>
                    <a:gd name="connsiteX9" fmla="*/ 5855854 w 10104582"/>
                    <a:gd name="connsiteY9" fmla="*/ 609600 h 1921163"/>
                    <a:gd name="connsiteX10" fmla="*/ 6668654 w 10104582"/>
                    <a:gd name="connsiteY10" fmla="*/ 720436 h 1921163"/>
                    <a:gd name="connsiteX11" fmla="*/ 7869382 w 10104582"/>
                    <a:gd name="connsiteY11" fmla="*/ 387927 h 1921163"/>
                    <a:gd name="connsiteX12" fmla="*/ 8719127 w 10104582"/>
                    <a:gd name="connsiteY12" fmla="*/ 55418 h 1921163"/>
                    <a:gd name="connsiteX13" fmla="*/ 9402618 w 10104582"/>
                    <a:gd name="connsiteY13" fmla="*/ 0 h 1921163"/>
                    <a:gd name="connsiteX14" fmla="*/ 10104582 w 10104582"/>
                    <a:gd name="connsiteY14" fmla="*/ 0 h 1921163"/>
                    <a:gd name="connsiteX15" fmla="*/ 9273309 w 10104582"/>
                    <a:gd name="connsiteY15" fmla="*/ 1921163 h 1921163"/>
                    <a:gd name="connsiteX16" fmla="*/ 0 w 10104582"/>
                    <a:gd name="connsiteY16" fmla="*/ 1902691 h 1921163"/>
                    <a:gd name="connsiteX0" fmla="*/ 0 w 9402618"/>
                    <a:gd name="connsiteY0" fmla="*/ 1902691 h 1921163"/>
                    <a:gd name="connsiteX1" fmla="*/ 0 w 9402618"/>
                    <a:gd name="connsiteY1" fmla="*/ 1126836 h 1921163"/>
                    <a:gd name="connsiteX2" fmla="*/ 295563 w 9402618"/>
                    <a:gd name="connsiteY2" fmla="*/ 942109 h 1921163"/>
                    <a:gd name="connsiteX3" fmla="*/ 942109 w 9402618"/>
                    <a:gd name="connsiteY3" fmla="*/ 942109 h 1921163"/>
                    <a:gd name="connsiteX4" fmla="*/ 1865745 w 9402618"/>
                    <a:gd name="connsiteY4" fmla="*/ 517236 h 1921163"/>
                    <a:gd name="connsiteX5" fmla="*/ 2937163 w 9402618"/>
                    <a:gd name="connsiteY5" fmla="*/ 295563 h 1921163"/>
                    <a:gd name="connsiteX6" fmla="*/ 3472873 w 9402618"/>
                    <a:gd name="connsiteY6" fmla="*/ 646545 h 1921163"/>
                    <a:gd name="connsiteX7" fmla="*/ 4396509 w 9402618"/>
                    <a:gd name="connsiteY7" fmla="*/ 831272 h 1921163"/>
                    <a:gd name="connsiteX8" fmla="*/ 5080000 w 9402618"/>
                    <a:gd name="connsiteY8" fmla="*/ 757382 h 1921163"/>
                    <a:gd name="connsiteX9" fmla="*/ 5855854 w 9402618"/>
                    <a:gd name="connsiteY9" fmla="*/ 609600 h 1921163"/>
                    <a:gd name="connsiteX10" fmla="*/ 6668654 w 9402618"/>
                    <a:gd name="connsiteY10" fmla="*/ 720436 h 1921163"/>
                    <a:gd name="connsiteX11" fmla="*/ 7869382 w 9402618"/>
                    <a:gd name="connsiteY11" fmla="*/ 387927 h 1921163"/>
                    <a:gd name="connsiteX12" fmla="*/ 8719127 w 9402618"/>
                    <a:gd name="connsiteY12" fmla="*/ 55418 h 1921163"/>
                    <a:gd name="connsiteX13" fmla="*/ 9402618 w 9402618"/>
                    <a:gd name="connsiteY13" fmla="*/ 0 h 1921163"/>
                    <a:gd name="connsiteX14" fmla="*/ 9273309 w 9402618"/>
                    <a:gd name="connsiteY14" fmla="*/ 1921163 h 1921163"/>
                    <a:gd name="connsiteX15" fmla="*/ 0 w 9402618"/>
                    <a:gd name="connsiteY15" fmla="*/ 1902691 h 1921163"/>
                    <a:gd name="connsiteX0" fmla="*/ 0 w 9402618"/>
                    <a:gd name="connsiteY0" fmla="*/ 1902691 h 1935018"/>
                    <a:gd name="connsiteX1" fmla="*/ 0 w 9402618"/>
                    <a:gd name="connsiteY1" fmla="*/ 1126836 h 1935018"/>
                    <a:gd name="connsiteX2" fmla="*/ 295563 w 9402618"/>
                    <a:gd name="connsiteY2" fmla="*/ 942109 h 1935018"/>
                    <a:gd name="connsiteX3" fmla="*/ 942109 w 9402618"/>
                    <a:gd name="connsiteY3" fmla="*/ 942109 h 1935018"/>
                    <a:gd name="connsiteX4" fmla="*/ 1865745 w 9402618"/>
                    <a:gd name="connsiteY4" fmla="*/ 517236 h 1935018"/>
                    <a:gd name="connsiteX5" fmla="*/ 2937163 w 9402618"/>
                    <a:gd name="connsiteY5" fmla="*/ 295563 h 1935018"/>
                    <a:gd name="connsiteX6" fmla="*/ 3472873 w 9402618"/>
                    <a:gd name="connsiteY6" fmla="*/ 646545 h 1935018"/>
                    <a:gd name="connsiteX7" fmla="*/ 4396509 w 9402618"/>
                    <a:gd name="connsiteY7" fmla="*/ 831272 h 1935018"/>
                    <a:gd name="connsiteX8" fmla="*/ 5080000 w 9402618"/>
                    <a:gd name="connsiteY8" fmla="*/ 757382 h 1935018"/>
                    <a:gd name="connsiteX9" fmla="*/ 5855854 w 9402618"/>
                    <a:gd name="connsiteY9" fmla="*/ 609600 h 1935018"/>
                    <a:gd name="connsiteX10" fmla="*/ 6668654 w 9402618"/>
                    <a:gd name="connsiteY10" fmla="*/ 720436 h 1935018"/>
                    <a:gd name="connsiteX11" fmla="*/ 7869382 w 9402618"/>
                    <a:gd name="connsiteY11" fmla="*/ 387927 h 1935018"/>
                    <a:gd name="connsiteX12" fmla="*/ 8719127 w 9402618"/>
                    <a:gd name="connsiteY12" fmla="*/ 55418 h 1935018"/>
                    <a:gd name="connsiteX13" fmla="*/ 9402618 w 9402618"/>
                    <a:gd name="connsiteY13" fmla="*/ 0 h 1935018"/>
                    <a:gd name="connsiteX14" fmla="*/ 9402572 w 9402618"/>
                    <a:gd name="connsiteY14" fmla="*/ 1935018 h 1935018"/>
                    <a:gd name="connsiteX15" fmla="*/ 0 w 9402618"/>
                    <a:gd name="connsiteY15" fmla="*/ 1902691 h 1935018"/>
                    <a:gd name="connsiteX0" fmla="*/ 0 w 9402618"/>
                    <a:gd name="connsiteY0" fmla="*/ 1681711 h 1935018"/>
                    <a:gd name="connsiteX1" fmla="*/ 0 w 9402618"/>
                    <a:gd name="connsiteY1" fmla="*/ 1126836 h 1935018"/>
                    <a:gd name="connsiteX2" fmla="*/ 295563 w 9402618"/>
                    <a:gd name="connsiteY2" fmla="*/ 942109 h 1935018"/>
                    <a:gd name="connsiteX3" fmla="*/ 942109 w 9402618"/>
                    <a:gd name="connsiteY3" fmla="*/ 942109 h 1935018"/>
                    <a:gd name="connsiteX4" fmla="*/ 1865745 w 9402618"/>
                    <a:gd name="connsiteY4" fmla="*/ 517236 h 1935018"/>
                    <a:gd name="connsiteX5" fmla="*/ 2937163 w 9402618"/>
                    <a:gd name="connsiteY5" fmla="*/ 295563 h 1935018"/>
                    <a:gd name="connsiteX6" fmla="*/ 3472873 w 9402618"/>
                    <a:gd name="connsiteY6" fmla="*/ 646545 h 1935018"/>
                    <a:gd name="connsiteX7" fmla="*/ 4396509 w 9402618"/>
                    <a:gd name="connsiteY7" fmla="*/ 831272 h 1935018"/>
                    <a:gd name="connsiteX8" fmla="*/ 5080000 w 9402618"/>
                    <a:gd name="connsiteY8" fmla="*/ 757382 h 1935018"/>
                    <a:gd name="connsiteX9" fmla="*/ 5855854 w 9402618"/>
                    <a:gd name="connsiteY9" fmla="*/ 609600 h 1935018"/>
                    <a:gd name="connsiteX10" fmla="*/ 6668654 w 9402618"/>
                    <a:gd name="connsiteY10" fmla="*/ 720436 h 1935018"/>
                    <a:gd name="connsiteX11" fmla="*/ 7869382 w 9402618"/>
                    <a:gd name="connsiteY11" fmla="*/ 387927 h 1935018"/>
                    <a:gd name="connsiteX12" fmla="*/ 8719127 w 9402618"/>
                    <a:gd name="connsiteY12" fmla="*/ 55418 h 1935018"/>
                    <a:gd name="connsiteX13" fmla="*/ 9402618 w 9402618"/>
                    <a:gd name="connsiteY13" fmla="*/ 0 h 1935018"/>
                    <a:gd name="connsiteX14" fmla="*/ 9402572 w 9402618"/>
                    <a:gd name="connsiteY14" fmla="*/ 1935018 h 1935018"/>
                    <a:gd name="connsiteX15" fmla="*/ 0 w 9402618"/>
                    <a:gd name="connsiteY15" fmla="*/ 1681711 h 1935018"/>
                    <a:gd name="connsiteX0" fmla="*/ 0 w 9409035"/>
                    <a:gd name="connsiteY0" fmla="*/ 1681711 h 1691178"/>
                    <a:gd name="connsiteX1" fmla="*/ 0 w 9409035"/>
                    <a:gd name="connsiteY1" fmla="*/ 1126836 h 1691178"/>
                    <a:gd name="connsiteX2" fmla="*/ 295563 w 9409035"/>
                    <a:gd name="connsiteY2" fmla="*/ 942109 h 1691178"/>
                    <a:gd name="connsiteX3" fmla="*/ 942109 w 9409035"/>
                    <a:gd name="connsiteY3" fmla="*/ 942109 h 1691178"/>
                    <a:gd name="connsiteX4" fmla="*/ 1865745 w 9409035"/>
                    <a:gd name="connsiteY4" fmla="*/ 517236 h 1691178"/>
                    <a:gd name="connsiteX5" fmla="*/ 2937163 w 9409035"/>
                    <a:gd name="connsiteY5" fmla="*/ 295563 h 1691178"/>
                    <a:gd name="connsiteX6" fmla="*/ 3472873 w 9409035"/>
                    <a:gd name="connsiteY6" fmla="*/ 646545 h 1691178"/>
                    <a:gd name="connsiteX7" fmla="*/ 4396509 w 9409035"/>
                    <a:gd name="connsiteY7" fmla="*/ 831272 h 1691178"/>
                    <a:gd name="connsiteX8" fmla="*/ 5080000 w 9409035"/>
                    <a:gd name="connsiteY8" fmla="*/ 757382 h 1691178"/>
                    <a:gd name="connsiteX9" fmla="*/ 5855854 w 9409035"/>
                    <a:gd name="connsiteY9" fmla="*/ 609600 h 1691178"/>
                    <a:gd name="connsiteX10" fmla="*/ 6668654 w 9409035"/>
                    <a:gd name="connsiteY10" fmla="*/ 720436 h 1691178"/>
                    <a:gd name="connsiteX11" fmla="*/ 7869382 w 9409035"/>
                    <a:gd name="connsiteY11" fmla="*/ 387927 h 1691178"/>
                    <a:gd name="connsiteX12" fmla="*/ 8719127 w 9409035"/>
                    <a:gd name="connsiteY12" fmla="*/ 55418 h 1691178"/>
                    <a:gd name="connsiteX13" fmla="*/ 9402618 w 9409035"/>
                    <a:gd name="connsiteY13" fmla="*/ 0 h 1691178"/>
                    <a:gd name="connsiteX14" fmla="*/ 9409035 w 9409035"/>
                    <a:gd name="connsiteY14" fmla="*/ 1691178 h 1691178"/>
                    <a:gd name="connsiteX15" fmla="*/ 0 w 9409035"/>
                    <a:gd name="connsiteY15" fmla="*/ 1681711 h 169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09035" h="1691178">
                      <a:moveTo>
                        <a:pt x="0" y="1681711"/>
                      </a:moveTo>
                      <a:lnTo>
                        <a:pt x="0" y="1126836"/>
                      </a:lnTo>
                      <a:lnTo>
                        <a:pt x="295563" y="942109"/>
                      </a:lnTo>
                      <a:lnTo>
                        <a:pt x="942109" y="942109"/>
                      </a:lnTo>
                      <a:lnTo>
                        <a:pt x="1865745" y="517236"/>
                      </a:lnTo>
                      <a:lnTo>
                        <a:pt x="2937163" y="295563"/>
                      </a:lnTo>
                      <a:lnTo>
                        <a:pt x="3472873" y="646545"/>
                      </a:lnTo>
                      <a:lnTo>
                        <a:pt x="4396509" y="831272"/>
                      </a:lnTo>
                      <a:lnTo>
                        <a:pt x="5080000" y="757382"/>
                      </a:lnTo>
                      <a:lnTo>
                        <a:pt x="5855854" y="609600"/>
                      </a:lnTo>
                      <a:lnTo>
                        <a:pt x="6668654" y="720436"/>
                      </a:lnTo>
                      <a:lnTo>
                        <a:pt x="7869382" y="387927"/>
                      </a:lnTo>
                      <a:lnTo>
                        <a:pt x="8719127" y="55418"/>
                      </a:lnTo>
                      <a:lnTo>
                        <a:pt x="9402618" y="0"/>
                      </a:lnTo>
                      <a:cubicBezTo>
                        <a:pt x="9402603" y="645006"/>
                        <a:pt x="9409050" y="1046172"/>
                        <a:pt x="9409035" y="1691178"/>
                      </a:cubicBezTo>
                      <a:lnTo>
                        <a:pt x="0" y="1681711"/>
                      </a:lnTo>
                      <a:close/>
                    </a:path>
                  </a:pathLst>
                </a:custGeom>
                <a:solidFill>
                  <a:srgbClr val="D9D9D9"/>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7F7F7F"/>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00B0D414-BF1F-4C47-B7E2-30D5B7A91D47}"/>
                    </a:ext>
                  </a:extLst>
                </p:cNvPr>
                <p:cNvSpPr/>
                <p:nvPr/>
              </p:nvSpPr>
              <p:spPr>
                <a:xfrm flipH="1">
                  <a:off x="4909556" y="4790097"/>
                  <a:ext cx="1804221" cy="2477478"/>
                </a:xfrm>
                <a:custGeom>
                  <a:avLst/>
                  <a:gdLst>
                    <a:gd name="connsiteX0" fmla="*/ 1812819 w 1812819"/>
                    <a:gd name="connsiteY0" fmla="*/ 1440872 h 1440872"/>
                    <a:gd name="connsiteX1" fmla="*/ 390419 w 1812819"/>
                    <a:gd name="connsiteY1" fmla="*/ 1126836 h 1440872"/>
                    <a:gd name="connsiteX2" fmla="*/ 39438 w 1812819"/>
                    <a:gd name="connsiteY2" fmla="*/ 720436 h 1440872"/>
                    <a:gd name="connsiteX3" fmla="*/ 1129328 w 1812819"/>
                    <a:gd name="connsiteY3" fmla="*/ 258618 h 1440872"/>
                    <a:gd name="connsiteX4" fmla="*/ 1240165 w 1812819"/>
                    <a:gd name="connsiteY4" fmla="*/ 0 h 1440872"/>
                    <a:gd name="connsiteX0" fmla="*/ 1084127 w 1267844"/>
                    <a:gd name="connsiteY0" fmla="*/ 1303712 h 1303712"/>
                    <a:gd name="connsiteX1" fmla="*/ 379967 w 1267844"/>
                    <a:gd name="connsiteY1" fmla="*/ 1126836 h 1303712"/>
                    <a:gd name="connsiteX2" fmla="*/ 28986 w 1267844"/>
                    <a:gd name="connsiteY2" fmla="*/ 720436 h 1303712"/>
                    <a:gd name="connsiteX3" fmla="*/ 1118876 w 1267844"/>
                    <a:gd name="connsiteY3" fmla="*/ 258618 h 1303712"/>
                    <a:gd name="connsiteX4" fmla="*/ 1229713 w 1267844"/>
                    <a:gd name="connsiteY4" fmla="*/ 0 h 1303712"/>
                    <a:gd name="connsiteX0" fmla="*/ 1084127 w 1267843"/>
                    <a:gd name="connsiteY0" fmla="*/ 1303712 h 1303712"/>
                    <a:gd name="connsiteX1" fmla="*/ 379967 w 1267843"/>
                    <a:gd name="connsiteY1" fmla="*/ 1126836 h 1303712"/>
                    <a:gd name="connsiteX2" fmla="*/ 28986 w 1267843"/>
                    <a:gd name="connsiteY2" fmla="*/ 720436 h 1303712"/>
                    <a:gd name="connsiteX3" fmla="*/ 1118876 w 1267843"/>
                    <a:gd name="connsiteY3" fmla="*/ 258618 h 1303712"/>
                    <a:gd name="connsiteX4" fmla="*/ 1229713 w 1267843"/>
                    <a:gd name="connsiteY4" fmla="*/ 0 h 1303712"/>
                    <a:gd name="connsiteX0" fmla="*/ 1082651 w 1266367"/>
                    <a:gd name="connsiteY0" fmla="*/ 1303712 h 1303712"/>
                    <a:gd name="connsiteX1" fmla="*/ 390266 w 1266367"/>
                    <a:gd name="connsiteY1" fmla="*/ 1157316 h 1303712"/>
                    <a:gd name="connsiteX2" fmla="*/ 27510 w 1266367"/>
                    <a:gd name="connsiteY2" fmla="*/ 720436 h 1303712"/>
                    <a:gd name="connsiteX3" fmla="*/ 1117400 w 1266367"/>
                    <a:gd name="connsiteY3" fmla="*/ 258618 h 1303712"/>
                    <a:gd name="connsiteX4" fmla="*/ 1228237 w 1266367"/>
                    <a:gd name="connsiteY4" fmla="*/ 0 h 1303712"/>
                    <a:gd name="connsiteX0" fmla="*/ 1085461 w 1269177"/>
                    <a:gd name="connsiteY0" fmla="*/ 1303712 h 1303712"/>
                    <a:gd name="connsiteX1" fmla="*/ 393076 w 1269177"/>
                    <a:gd name="connsiteY1" fmla="*/ 1157316 h 1303712"/>
                    <a:gd name="connsiteX2" fmla="*/ 30320 w 1269177"/>
                    <a:gd name="connsiteY2" fmla="*/ 720436 h 1303712"/>
                    <a:gd name="connsiteX3" fmla="*/ 1120210 w 1269177"/>
                    <a:gd name="connsiteY3" fmla="*/ 258618 h 1303712"/>
                    <a:gd name="connsiteX4" fmla="*/ 1231047 w 1269177"/>
                    <a:gd name="connsiteY4" fmla="*/ 0 h 1303712"/>
                    <a:gd name="connsiteX0" fmla="*/ 1085461 w 1269177"/>
                    <a:gd name="connsiteY0" fmla="*/ 1303712 h 1303712"/>
                    <a:gd name="connsiteX1" fmla="*/ 393076 w 1269177"/>
                    <a:gd name="connsiteY1" fmla="*/ 1157316 h 1303712"/>
                    <a:gd name="connsiteX2" fmla="*/ 30320 w 1269177"/>
                    <a:gd name="connsiteY2" fmla="*/ 720436 h 1303712"/>
                    <a:gd name="connsiteX3" fmla="*/ 1120210 w 1269177"/>
                    <a:gd name="connsiteY3" fmla="*/ 258618 h 1303712"/>
                    <a:gd name="connsiteX4" fmla="*/ 1231047 w 1269177"/>
                    <a:gd name="connsiteY4" fmla="*/ 0 h 1303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177" h="1303712">
                      <a:moveTo>
                        <a:pt x="1085461" y="1303712"/>
                      </a:moveTo>
                      <a:cubicBezTo>
                        <a:pt x="639787" y="1206730"/>
                        <a:pt x="610143" y="1216429"/>
                        <a:pt x="393076" y="1157316"/>
                      </a:cubicBezTo>
                      <a:cubicBezTo>
                        <a:pt x="176009" y="1098203"/>
                        <a:pt x="-90869" y="870219"/>
                        <a:pt x="30320" y="720436"/>
                      </a:cubicBezTo>
                      <a:cubicBezTo>
                        <a:pt x="151509" y="570653"/>
                        <a:pt x="920089" y="378691"/>
                        <a:pt x="1120210" y="258618"/>
                      </a:cubicBezTo>
                      <a:cubicBezTo>
                        <a:pt x="1320331" y="138545"/>
                        <a:pt x="1275689" y="69272"/>
                        <a:pt x="1231047" y="0"/>
                      </a:cubicBezTo>
                    </a:path>
                  </a:pathLst>
                </a:custGeom>
                <a:noFill/>
                <a:ln w="63500" cap="flat" cmpd="sng" algn="ctr">
                  <a:solidFill>
                    <a:srgbClr val="3092D3"/>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0E21CB0F-83FC-4662-A65D-8C513457AD28}"/>
                    </a:ext>
                  </a:extLst>
                </p:cNvPr>
                <p:cNvSpPr/>
                <p:nvPr/>
              </p:nvSpPr>
              <p:spPr>
                <a:xfrm flipH="1" flipV="1">
                  <a:off x="6074568" y="5778423"/>
                  <a:ext cx="1015327" cy="125367"/>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grpSp>
          <p:sp>
            <p:nvSpPr>
              <p:cNvPr id="27" name="Freeform: Shape 26">
                <a:extLst>
                  <a:ext uri="{FF2B5EF4-FFF2-40B4-BE49-F238E27FC236}">
                    <a16:creationId xmlns:a16="http://schemas.microsoft.com/office/drawing/2014/main" id="{96CF800A-F486-41F0-A465-F7AEC0D21DF6}"/>
                  </a:ext>
                </a:extLst>
              </p:cNvPr>
              <p:cNvSpPr/>
              <p:nvPr/>
            </p:nvSpPr>
            <p:spPr>
              <a:xfrm>
                <a:off x="7942213" y="2179142"/>
                <a:ext cx="576561" cy="147042"/>
              </a:xfrm>
              <a:custGeom>
                <a:avLst/>
                <a:gdLst>
                  <a:gd name="connsiteX0" fmla="*/ 0 w 709613"/>
                  <a:gd name="connsiteY0" fmla="*/ 0 h 180975"/>
                  <a:gd name="connsiteX1" fmla="*/ 709613 w 709613"/>
                  <a:gd name="connsiteY1" fmla="*/ 180975 h 180975"/>
                  <a:gd name="connsiteX2" fmla="*/ 709613 w 709613"/>
                  <a:gd name="connsiteY2" fmla="*/ 28575 h 180975"/>
                  <a:gd name="connsiteX3" fmla="*/ 0 w 709613"/>
                  <a:gd name="connsiteY3" fmla="*/ 0 h 180975"/>
                </a:gdLst>
                <a:ahLst/>
                <a:cxnLst>
                  <a:cxn ang="0">
                    <a:pos x="connsiteX0" y="connsiteY0"/>
                  </a:cxn>
                  <a:cxn ang="0">
                    <a:pos x="connsiteX1" y="connsiteY1"/>
                  </a:cxn>
                  <a:cxn ang="0">
                    <a:pos x="connsiteX2" y="connsiteY2"/>
                  </a:cxn>
                  <a:cxn ang="0">
                    <a:pos x="connsiteX3" y="connsiteY3"/>
                  </a:cxn>
                </a:cxnLst>
                <a:rect l="l" t="t" r="r" b="b"/>
                <a:pathLst>
                  <a:path w="709613" h="180975">
                    <a:moveTo>
                      <a:pt x="0" y="0"/>
                    </a:moveTo>
                    <a:lnTo>
                      <a:pt x="709613" y="180975"/>
                    </a:lnTo>
                    <a:lnTo>
                      <a:pt x="709613" y="28575"/>
                    </a:lnTo>
                    <a:lnTo>
                      <a:pt x="0" y="0"/>
                    </a:lnTo>
                    <a:close/>
                  </a:path>
                </a:pathLst>
              </a:custGeom>
              <a:solidFill>
                <a:srgbClr val="E6E6E6"/>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244"/>
                  </a:spcBef>
                  <a:spcAft>
                    <a:spcPts val="244"/>
                  </a:spcAft>
                  <a:buClrTx/>
                  <a:buSzTx/>
                  <a:buFontTx/>
                  <a:buNone/>
                  <a:tabLst/>
                  <a:defRPr/>
                </a:pPr>
                <a:endParaRPr kumimoji="0" lang="en-US" sz="1300" b="0" i="0" u="none" strike="noStrike" kern="0" cap="none" spc="0" normalizeH="0" baseline="0" noProof="0" err="1">
                  <a:ln>
                    <a:noFill/>
                  </a:ln>
                  <a:solidFill>
                    <a:srgbClr val="FFFFFF"/>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B6C9E49E-0050-417C-BB38-29273DA69A70}"/>
                  </a:ext>
                </a:extLst>
              </p:cNvPr>
              <p:cNvSpPr/>
              <p:nvPr/>
            </p:nvSpPr>
            <p:spPr>
              <a:xfrm flipH="1">
                <a:off x="8200296" y="1986732"/>
                <a:ext cx="1548064" cy="366581"/>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13C8E00E-A329-428C-9C6A-3770ACC6B371}"/>
                  </a:ext>
                </a:extLst>
              </p:cNvPr>
              <p:cNvSpPr/>
              <p:nvPr/>
            </p:nvSpPr>
            <p:spPr>
              <a:xfrm>
                <a:off x="4935587" y="3028504"/>
                <a:ext cx="458539" cy="147042"/>
              </a:xfrm>
              <a:custGeom>
                <a:avLst/>
                <a:gdLst>
                  <a:gd name="connsiteX0" fmla="*/ 0 w 564356"/>
                  <a:gd name="connsiteY0" fmla="*/ 142875 h 180975"/>
                  <a:gd name="connsiteX1" fmla="*/ 564356 w 564356"/>
                  <a:gd name="connsiteY1" fmla="*/ 180975 h 180975"/>
                  <a:gd name="connsiteX2" fmla="*/ 85725 w 564356"/>
                  <a:gd name="connsiteY2" fmla="*/ 0 h 180975"/>
                  <a:gd name="connsiteX3" fmla="*/ 0 w 564356"/>
                  <a:gd name="connsiteY3" fmla="*/ 142875 h 180975"/>
                </a:gdLst>
                <a:ahLst/>
                <a:cxnLst>
                  <a:cxn ang="0">
                    <a:pos x="connsiteX0" y="connsiteY0"/>
                  </a:cxn>
                  <a:cxn ang="0">
                    <a:pos x="connsiteX1" y="connsiteY1"/>
                  </a:cxn>
                  <a:cxn ang="0">
                    <a:pos x="connsiteX2" y="connsiteY2"/>
                  </a:cxn>
                  <a:cxn ang="0">
                    <a:pos x="connsiteX3" y="connsiteY3"/>
                  </a:cxn>
                </a:cxnLst>
                <a:rect l="l" t="t" r="r" b="b"/>
                <a:pathLst>
                  <a:path w="564356" h="180975">
                    <a:moveTo>
                      <a:pt x="0" y="142875"/>
                    </a:moveTo>
                    <a:lnTo>
                      <a:pt x="564356" y="180975"/>
                    </a:lnTo>
                    <a:lnTo>
                      <a:pt x="85725" y="0"/>
                    </a:lnTo>
                    <a:lnTo>
                      <a:pt x="0" y="142875"/>
                    </a:lnTo>
                    <a:close/>
                  </a:path>
                </a:pathLst>
              </a:custGeom>
              <a:solidFill>
                <a:srgbClr val="E6E6E6"/>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244"/>
                  </a:spcBef>
                  <a:spcAft>
                    <a:spcPts val="244"/>
                  </a:spcAft>
                  <a:buClrTx/>
                  <a:buSzTx/>
                  <a:buFontTx/>
                  <a:buNone/>
                  <a:tabLst/>
                  <a:defRPr/>
                </a:pPr>
                <a:endParaRPr kumimoji="0" lang="en-US" sz="1300" b="0" i="0" u="none" strike="noStrike" kern="0" cap="none" spc="0" normalizeH="0" baseline="0" noProof="0" err="1">
                  <a:ln>
                    <a:noFill/>
                  </a:ln>
                  <a:solidFill>
                    <a:srgbClr val="FFFFFF"/>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E85E5CFC-86E7-4F76-B0FC-F5ECBD0A4E96}"/>
                  </a:ext>
                </a:extLst>
              </p:cNvPr>
              <p:cNvSpPr/>
              <p:nvPr/>
            </p:nvSpPr>
            <p:spPr>
              <a:xfrm>
                <a:off x="7251502" y="2620268"/>
                <a:ext cx="330845" cy="137368"/>
              </a:xfrm>
              <a:custGeom>
                <a:avLst/>
                <a:gdLst>
                  <a:gd name="connsiteX0" fmla="*/ 0 w 407194"/>
                  <a:gd name="connsiteY0" fmla="*/ 54768 h 169068"/>
                  <a:gd name="connsiteX1" fmla="*/ 407194 w 407194"/>
                  <a:gd name="connsiteY1" fmla="*/ 169068 h 169068"/>
                  <a:gd name="connsiteX2" fmla="*/ 304800 w 407194"/>
                  <a:gd name="connsiteY2" fmla="*/ 0 h 169068"/>
                  <a:gd name="connsiteX3" fmla="*/ 283369 w 407194"/>
                  <a:gd name="connsiteY3" fmla="*/ 0 h 169068"/>
                  <a:gd name="connsiteX4" fmla="*/ 0 w 407194"/>
                  <a:gd name="connsiteY4" fmla="*/ 54768 h 169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194" h="169068">
                    <a:moveTo>
                      <a:pt x="0" y="54768"/>
                    </a:moveTo>
                    <a:lnTo>
                      <a:pt x="407194" y="169068"/>
                    </a:lnTo>
                    <a:lnTo>
                      <a:pt x="304800" y="0"/>
                    </a:lnTo>
                    <a:lnTo>
                      <a:pt x="283369" y="0"/>
                    </a:lnTo>
                    <a:lnTo>
                      <a:pt x="0" y="54768"/>
                    </a:lnTo>
                    <a:close/>
                  </a:path>
                </a:pathLst>
              </a:custGeom>
              <a:solidFill>
                <a:srgbClr val="112946"/>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244"/>
                  </a:spcBef>
                  <a:spcAft>
                    <a:spcPts val="244"/>
                  </a:spcAft>
                  <a:buClrTx/>
                  <a:buSzTx/>
                  <a:buFontTx/>
                  <a:buNone/>
                  <a:tabLst/>
                  <a:defRPr/>
                </a:pPr>
                <a:endParaRPr kumimoji="0" lang="en-US" sz="1300" b="0" i="0" u="none" strike="noStrike" kern="0" cap="none" spc="0" normalizeH="0" baseline="0" noProof="0" err="1">
                  <a:ln>
                    <a:noFill/>
                  </a:ln>
                  <a:solidFill>
                    <a:srgbClr val="FFFFFF"/>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338C1F2C-BA97-4ADA-A477-3A10A910AEC3}"/>
                  </a:ext>
                </a:extLst>
              </p:cNvPr>
              <p:cNvSpPr/>
              <p:nvPr/>
            </p:nvSpPr>
            <p:spPr>
              <a:xfrm>
                <a:off x="3836151" y="4133933"/>
                <a:ext cx="352597" cy="487822"/>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B3B3B3"/>
                    </a:solidFill>
                    <a:effectLst/>
                    <a:uLnTx/>
                    <a:uFillTx/>
                    <a:latin typeface="Arial"/>
                    <a:ea typeface="+mn-ea"/>
                    <a:cs typeface="+mn-cs"/>
                  </a:rPr>
                  <a:t>2</a:t>
                </a:r>
              </a:p>
            </p:txBody>
          </p:sp>
        </p:grpSp>
        <p:sp>
          <p:nvSpPr>
            <p:cNvPr id="9" name="Freeform: Shape 8">
              <a:extLst>
                <a:ext uri="{FF2B5EF4-FFF2-40B4-BE49-F238E27FC236}">
                  <a16:creationId xmlns:a16="http://schemas.microsoft.com/office/drawing/2014/main" id="{7C7E6FD7-286A-4533-937D-29F96E7B42B8}"/>
                </a:ext>
              </a:extLst>
            </p:cNvPr>
            <p:cNvSpPr/>
            <p:nvPr/>
          </p:nvSpPr>
          <p:spPr>
            <a:xfrm rot="10800000" flipH="1">
              <a:off x="2750071" y="4498770"/>
              <a:ext cx="2009584" cy="994574"/>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E89C7420-F8FD-4618-9125-0113299E2476}"/>
                </a:ext>
              </a:extLst>
            </p:cNvPr>
            <p:cNvSpPr/>
            <p:nvPr/>
          </p:nvSpPr>
          <p:spPr>
            <a:xfrm>
              <a:off x="4040654" y="3331262"/>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B3B3B3"/>
                  </a:solidFill>
                  <a:effectLst/>
                  <a:uLnTx/>
                  <a:uFillTx/>
                  <a:latin typeface="Arial"/>
                  <a:ea typeface="+mn-ea"/>
                  <a:cs typeface="+mn-cs"/>
                </a:rPr>
                <a:t>4</a:t>
              </a:r>
            </a:p>
          </p:txBody>
        </p:sp>
        <p:sp>
          <p:nvSpPr>
            <p:cNvPr id="11" name="Freeform: Shape 10">
              <a:extLst>
                <a:ext uri="{FF2B5EF4-FFF2-40B4-BE49-F238E27FC236}">
                  <a16:creationId xmlns:a16="http://schemas.microsoft.com/office/drawing/2014/main" id="{D9671639-EDED-45B4-8215-2BD8B40BC3F1}"/>
                </a:ext>
              </a:extLst>
            </p:cNvPr>
            <p:cNvSpPr/>
            <p:nvPr/>
          </p:nvSpPr>
          <p:spPr>
            <a:xfrm>
              <a:off x="5513693" y="4629918"/>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B3B3B3"/>
                  </a:solidFill>
                  <a:effectLst/>
                  <a:uLnTx/>
                  <a:uFillTx/>
                  <a:latin typeface="Arial"/>
                  <a:ea typeface="+mn-ea"/>
                  <a:cs typeface="+mn-cs"/>
                </a:rPr>
                <a:t>1</a:t>
              </a:r>
            </a:p>
          </p:txBody>
        </p:sp>
        <p:sp>
          <p:nvSpPr>
            <p:cNvPr id="12" name="Freeform: Shape 11">
              <a:extLst>
                <a:ext uri="{FF2B5EF4-FFF2-40B4-BE49-F238E27FC236}">
                  <a16:creationId xmlns:a16="http://schemas.microsoft.com/office/drawing/2014/main" id="{DF700A6B-5191-4104-A9E0-C7A5A7693EFF}"/>
                </a:ext>
              </a:extLst>
            </p:cNvPr>
            <p:cNvSpPr/>
            <p:nvPr/>
          </p:nvSpPr>
          <p:spPr>
            <a:xfrm>
              <a:off x="8734683" y="1771871"/>
              <a:ext cx="484043"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E6E6E6"/>
                  </a:solidFill>
                  <a:effectLst/>
                  <a:uLnTx/>
                  <a:uFillTx/>
                  <a:latin typeface="Arial"/>
                  <a:ea typeface="+mn-ea"/>
                  <a:cs typeface="+mn-cs"/>
                </a:rPr>
                <a:t>10</a:t>
              </a:r>
            </a:p>
          </p:txBody>
        </p:sp>
        <p:sp>
          <p:nvSpPr>
            <p:cNvPr id="13" name="Freeform: Shape 12">
              <a:extLst>
                <a:ext uri="{FF2B5EF4-FFF2-40B4-BE49-F238E27FC236}">
                  <a16:creationId xmlns:a16="http://schemas.microsoft.com/office/drawing/2014/main" id="{EA26C951-E0B7-420E-8B0C-8C0A0E1550B4}"/>
                </a:ext>
              </a:extLst>
            </p:cNvPr>
            <p:cNvSpPr/>
            <p:nvPr/>
          </p:nvSpPr>
          <p:spPr>
            <a:xfrm>
              <a:off x="6686914" y="2720845"/>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E6E6E6"/>
                  </a:solidFill>
                  <a:effectLst/>
                  <a:uLnTx/>
                  <a:uFillTx/>
                  <a:latin typeface="Arial"/>
                  <a:ea typeface="+mn-ea"/>
                  <a:cs typeface="+mn-cs"/>
                </a:rPr>
                <a:t>6</a:t>
              </a:r>
            </a:p>
          </p:txBody>
        </p:sp>
        <p:sp>
          <p:nvSpPr>
            <p:cNvPr id="14" name="Freeform: Shape 13">
              <a:extLst>
                <a:ext uri="{FF2B5EF4-FFF2-40B4-BE49-F238E27FC236}">
                  <a16:creationId xmlns:a16="http://schemas.microsoft.com/office/drawing/2014/main" id="{FCEA8C5E-3C38-4713-BE7C-763149685E4A}"/>
                </a:ext>
              </a:extLst>
            </p:cNvPr>
            <p:cNvSpPr/>
            <p:nvPr/>
          </p:nvSpPr>
          <p:spPr>
            <a:xfrm rot="10800000" flipH="1">
              <a:off x="4837187" y="3251987"/>
              <a:ext cx="2045443" cy="589901"/>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F5901641-E8EE-4CB5-8B6B-2A9BAB3E1413}"/>
                </a:ext>
              </a:extLst>
            </p:cNvPr>
            <p:cNvSpPr/>
            <p:nvPr/>
          </p:nvSpPr>
          <p:spPr>
            <a:xfrm>
              <a:off x="5957719" y="1835858"/>
              <a:ext cx="2219829" cy="834866"/>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4D125012-DA23-465D-BAFF-9EDDFAED3ED0}"/>
                </a:ext>
              </a:extLst>
            </p:cNvPr>
            <p:cNvSpPr/>
            <p:nvPr/>
          </p:nvSpPr>
          <p:spPr>
            <a:xfrm>
              <a:off x="7997247" y="2160762"/>
              <a:ext cx="37273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E6E6E6"/>
                  </a:solidFill>
                  <a:effectLst/>
                  <a:uLnTx/>
                  <a:uFillTx/>
                  <a:latin typeface="Arial"/>
                  <a:ea typeface="+mn-ea"/>
                  <a:cs typeface="+mn-cs"/>
                </a:rPr>
                <a:t>9</a:t>
              </a:r>
            </a:p>
          </p:txBody>
        </p:sp>
        <p:sp>
          <p:nvSpPr>
            <p:cNvPr id="17" name="Freeform: Shape 16">
              <a:extLst>
                <a:ext uri="{FF2B5EF4-FFF2-40B4-BE49-F238E27FC236}">
                  <a16:creationId xmlns:a16="http://schemas.microsoft.com/office/drawing/2014/main" id="{924ADD88-7C30-4076-94C0-22856864785F}"/>
                </a:ext>
              </a:extLst>
            </p:cNvPr>
            <p:cNvSpPr/>
            <p:nvPr/>
          </p:nvSpPr>
          <p:spPr>
            <a:xfrm>
              <a:off x="8716040" y="2614251"/>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E6E6E6"/>
                  </a:solidFill>
                  <a:effectLst/>
                  <a:uLnTx/>
                  <a:uFillTx/>
                  <a:latin typeface="Arial"/>
                  <a:ea typeface="+mn-ea"/>
                  <a:cs typeface="+mn-cs"/>
                </a:rPr>
                <a:t>8</a:t>
              </a:r>
            </a:p>
          </p:txBody>
        </p:sp>
      </p:grpSp>
      <p:sp>
        <p:nvSpPr>
          <p:cNvPr id="35" name="TextBox 34">
            <a:extLst>
              <a:ext uri="{FF2B5EF4-FFF2-40B4-BE49-F238E27FC236}">
                <a16:creationId xmlns:a16="http://schemas.microsoft.com/office/drawing/2014/main" id="{41CD728C-99C2-414A-ABCD-5E19F51F61FC}"/>
              </a:ext>
            </a:extLst>
          </p:cNvPr>
          <p:cNvSpPr txBox="1">
            <a:spLocks/>
          </p:cNvSpPr>
          <p:nvPr/>
        </p:nvSpPr>
        <p:spPr>
          <a:xfrm>
            <a:off x="6684766" y="4876333"/>
            <a:ext cx="2605152" cy="92333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ru-RU" sz="1200" b="1" i="0" u="none" strike="noStrike" kern="0" cap="none" spc="0" normalizeH="0" baseline="0" noProof="0" dirty="0">
                <a:ln>
                  <a:noFill/>
                </a:ln>
                <a:solidFill>
                  <a:srgbClr val="132330"/>
                </a:solidFill>
                <a:effectLst/>
                <a:uLnTx/>
                <a:uFillTx/>
                <a:latin typeface="Arial"/>
                <a:ea typeface="+mn-ea"/>
                <a:cs typeface="Arial"/>
                <a:sym typeface="Arial"/>
                <a:rtl val="0"/>
              </a:rPr>
              <a:t>Вторая специальная сессия Всемирной ассамблеи здравоохранения </a:t>
            </a:r>
            <a:r>
              <a:rPr kumimoji="0" lang="en-US" sz="1200" b="1" i="0" u="none" strike="noStrike" kern="0" cap="none" spc="0" normalizeH="0" baseline="0" noProof="0" dirty="0">
                <a:ln>
                  <a:noFill/>
                </a:ln>
                <a:solidFill>
                  <a:srgbClr val="132330"/>
                </a:solidFill>
                <a:effectLst/>
                <a:uLnTx/>
                <a:uFillTx/>
                <a:latin typeface="Arial"/>
                <a:ea typeface="+mn-ea"/>
                <a:cs typeface="Arial"/>
                <a:sym typeface="Arial"/>
                <a:rtl val="0"/>
              </a:rPr>
              <a:t>(</a:t>
            </a:r>
            <a:r>
              <a:rPr kumimoji="0" lang="ru-RU" sz="1200" b="1" i="0" u="none" strike="noStrike" kern="0" cap="none" spc="0" normalizeH="0" baseline="0" noProof="0" dirty="0">
                <a:ln>
                  <a:noFill/>
                </a:ln>
                <a:solidFill>
                  <a:srgbClr val="132330"/>
                </a:solidFill>
                <a:effectLst/>
                <a:uLnTx/>
                <a:uFillTx/>
                <a:latin typeface="Arial"/>
                <a:ea typeface="+mn-ea"/>
                <a:cs typeface="Arial"/>
                <a:sym typeface="Arial"/>
                <a:rtl val="0"/>
              </a:rPr>
              <a:t>ВАЗ </a:t>
            </a:r>
            <a:r>
              <a:rPr kumimoji="0" lang="en-US" sz="1200" b="1" i="0" u="none" strike="noStrike" kern="0" cap="none" spc="0" normalizeH="0" baseline="0" noProof="0" dirty="0">
                <a:ln>
                  <a:noFill/>
                </a:ln>
                <a:solidFill>
                  <a:srgbClr val="132330"/>
                </a:solidFill>
                <a:effectLst/>
                <a:uLnTx/>
                <a:uFillTx/>
                <a:latin typeface="Arial"/>
                <a:ea typeface="+mn-ea"/>
                <a:cs typeface="Arial"/>
                <a:sym typeface="Arial"/>
                <a:rtl val="0"/>
              </a:rPr>
              <a:t>SS2)</a:t>
            </a: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1" u="none" strike="noStrike" kern="0" cap="none" spc="0" normalizeH="0" baseline="0" noProof="0" dirty="0">
                <a:ln>
                  <a:noFill/>
                </a:ln>
                <a:solidFill>
                  <a:srgbClr val="17375E">
                    <a:lumMod val="50000"/>
                  </a:srgbClr>
                </a:solidFill>
                <a:effectLst/>
                <a:uLnTx/>
                <a:uFillTx/>
                <a:latin typeface="Arial"/>
                <a:ea typeface="+mn-ea"/>
                <a:cs typeface="Arial" panose="020B0604020202020204" pitchFamily="34" charset="0"/>
                <a:sym typeface="Arial"/>
              </a:rPr>
              <a:t>30 </a:t>
            </a:r>
            <a:r>
              <a:rPr kumimoji="0" lang="ru-RU" sz="1200" b="0" i="1" u="none" strike="noStrike" kern="0" cap="none" spc="0" normalizeH="0" baseline="0" noProof="0" dirty="0">
                <a:ln>
                  <a:noFill/>
                </a:ln>
                <a:solidFill>
                  <a:srgbClr val="17375E">
                    <a:lumMod val="50000"/>
                  </a:srgbClr>
                </a:solidFill>
                <a:effectLst/>
                <a:uLnTx/>
                <a:uFillTx/>
                <a:latin typeface="Arial"/>
                <a:ea typeface="+mn-ea"/>
                <a:cs typeface="Arial" panose="020B0604020202020204" pitchFamily="34" charset="0"/>
                <a:sym typeface="Arial"/>
              </a:rPr>
              <a:t>ноября</a:t>
            </a:r>
            <a:r>
              <a:rPr kumimoji="0" lang="en-US" sz="1200" b="0" i="1" u="none" strike="noStrike" kern="0" cap="none" spc="0" normalizeH="0" baseline="0" noProof="0" dirty="0">
                <a:ln>
                  <a:noFill/>
                </a:ln>
                <a:solidFill>
                  <a:srgbClr val="17375E">
                    <a:lumMod val="50000"/>
                  </a:srgbClr>
                </a:solidFill>
                <a:effectLst/>
                <a:uLnTx/>
                <a:uFillTx/>
                <a:latin typeface="Arial"/>
                <a:ea typeface="+mn-ea"/>
                <a:cs typeface="Arial" panose="020B0604020202020204" pitchFamily="34" charset="0"/>
                <a:sym typeface="Arial"/>
              </a:rPr>
              <a:t>–1 </a:t>
            </a:r>
            <a:r>
              <a:rPr kumimoji="0" lang="ru-RU" sz="1200" b="0" i="1" u="none" strike="noStrike" kern="0" cap="none" spc="0" normalizeH="0" baseline="0" noProof="0" dirty="0">
                <a:ln>
                  <a:noFill/>
                </a:ln>
                <a:solidFill>
                  <a:srgbClr val="17375E">
                    <a:lumMod val="50000"/>
                  </a:srgbClr>
                </a:solidFill>
                <a:effectLst/>
                <a:uLnTx/>
                <a:uFillTx/>
                <a:latin typeface="Arial"/>
                <a:ea typeface="+mn-ea"/>
                <a:cs typeface="Arial" panose="020B0604020202020204" pitchFamily="34" charset="0"/>
                <a:sym typeface="Arial"/>
              </a:rPr>
              <a:t>декабря</a:t>
            </a:r>
            <a:r>
              <a:rPr kumimoji="0" lang="en-US" sz="1200" b="0" i="1" u="none" strike="noStrike" kern="0" cap="none" spc="0" normalizeH="0" baseline="0" noProof="0" dirty="0">
                <a:ln>
                  <a:noFill/>
                </a:ln>
                <a:solidFill>
                  <a:srgbClr val="17375E">
                    <a:lumMod val="50000"/>
                  </a:srgbClr>
                </a:solidFill>
                <a:effectLst/>
                <a:uLnTx/>
                <a:uFillTx/>
                <a:latin typeface="Arial"/>
                <a:ea typeface="+mn-ea"/>
                <a:cs typeface="Arial" panose="020B0604020202020204" pitchFamily="34" charset="0"/>
                <a:sym typeface="Arial"/>
              </a:rPr>
              <a:t> 2021</a:t>
            </a: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endParaRPr kumimoji="0" lang="en-US" sz="1200" b="0" i="1" u="none" strike="noStrike" kern="0" cap="none" spc="0" normalizeH="0" baseline="0" noProof="0" dirty="0">
              <a:ln>
                <a:noFill/>
              </a:ln>
              <a:solidFill>
                <a:srgbClr val="FFFFFF"/>
              </a:solidFill>
              <a:effectLst/>
              <a:uLnTx/>
              <a:uFillTx/>
              <a:latin typeface="Arial"/>
              <a:ea typeface="+mn-ea"/>
              <a:cs typeface="Arial" panose="020B0604020202020204" pitchFamily="34" charset="0"/>
              <a:sym typeface="Arial"/>
            </a:endParaRPr>
          </a:p>
        </p:txBody>
      </p:sp>
      <p:sp>
        <p:nvSpPr>
          <p:cNvPr id="36" name="TextBox 35">
            <a:extLst>
              <a:ext uri="{FF2B5EF4-FFF2-40B4-BE49-F238E27FC236}">
                <a16:creationId xmlns:a16="http://schemas.microsoft.com/office/drawing/2014/main" id="{351B30F5-FAE0-446D-9826-6F343EE83BC2}"/>
              </a:ext>
            </a:extLst>
          </p:cNvPr>
          <p:cNvSpPr txBox="1">
            <a:spLocks/>
          </p:cNvSpPr>
          <p:nvPr/>
        </p:nvSpPr>
        <p:spPr>
          <a:xfrm>
            <a:off x="2910344" y="4632174"/>
            <a:ext cx="2180994"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ru-RU" sz="12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Первое заседание</a:t>
            </a:r>
            <a:r>
              <a:rPr kumimoji="0" lang="en-US" sz="12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 INB (INB1)</a:t>
            </a: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24 </a:t>
            </a:r>
            <a:r>
              <a:rPr kumimoji="0" lang="ru-RU" sz="1200" b="0"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февраля</a:t>
            </a:r>
            <a:r>
              <a:rPr kumimoji="0" lang="en-US" sz="1200" b="0"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 2022</a:t>
            </a:r>
          </a:p>
        </p:txBody>
      </p:sp>
      <p:sp>
        <p:nvSpPr>
          <p:cNvPr id="37" name="TextBox 36">
            <a:extLst>
              <a:ext uri="{FF2B5EF4-FFF2-40B4-BE49-F238E27FC236}">
                <a16:creationId xmlns:a16="http://schemas.microsoft.com/office/drawing/2014/main" id="{3956911F-3C72-41F7-A826-1BE6B9BBD007}"/>
              </a:ext>
            </a:extLst>
          </p:cNvPr>
          <p:cNvSpPr txBox="1">
            <a:spLocks/>
          </p:cNvSpPr>
          <p:nvPr/>
        </p:nvSpPr>
        <p:spPr>
          <a:xfrm>
            <a:off x="2161403" y="3561046"/>
            <a:ext cx="1627190" cy="40011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ru-RU" sz="1400" b="1" i="0" u="none" strike="noStrike" kern="0" cap="none" spc="0" normalizeH="0" baseline="0" noProof="0" dirty="0">
                <a:ln>
                  <a:noFill/>
                </a:ln>
                <a:solidFill>
                  <a:srgbClr val="112946"/>
                </a:solidFill>
                <a:effectLst/>
                <a:uLnTx/>
                <a:uFillTx/>
                <a:latin typeface="Arial"/>
                <a:ea typeface="+mn-ea"/>
                <a:cs typeface="Arial"/>
                <a:sym typeface="Arial"/>
                <a:rtl val="0"/>
              </a:rPr>
              <a:t>ВАЗ </a:t>
            </a:r>
            <a:r>
              <a:rPr kumimoji="0" lang="en-US" sz="1400" b="1" i="0" u="none" strike="noStrike" kern="0" cap="none" spc="0" normalizeH="0" baseline="0" noProof="0" dirty="0">
                <a:ln>
                  <a:noFill/>
                </a:ln>
                <a:solidFill>
                  <a:srgbClr val="112946"/>
                </a:solidFill>
                <a:effectLst/>
                <a:uLnTx/>
                <a:uFillTx/>
                <a:latin typeface="Arial"/>
                <a:ea typeface="+mn-ea"/>
                <a:cs typeface="Arial"/>
                <a:sym typeface="Arial"/>
                <a:rtl val="0"/>
              </a:rPr>
              <a:t>75</a:t>
            </a: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1" u="none" strike="noStrike" kern="0" cap="none" spc="0" normalizeH="0" baseline="0" noProof="0" dirty="0">
                <a:ln>
                  <a:noFill/>
                </a:ln>
                <a:solidFill>
                  <a:srgbClr val="112946"/>
                </a:solidFill>
                <a:effectLst/>
                <a:uLnTx/>
                <a:uFillTx/>
                <a:latin typeface="Arial"/>
                <a:ea typeface="+mn-ea"/>
                <a:cs typeface="Arial"/>
                <a:sym typeface="Arial"/>
                <a:rtl val="0"/>
              </a:rPr>
              <a:t>22</a:t>
            </a:r>
            <a:r>
              <a:rPr kumimoji="0" lang="en-US" sz="1200" b="0" i="1" u="none" strike="noStrike" kern="0" cap="none" spc="0" normalizeH="0" baseline="0" noProof="0" dirty="0">
                <a:ln>
                  <a:noFill/>
                </a:ln>
                <a:solidFill>
                  <a:srgbClr val="112946"/>
                </a:solidFill>
                <a:effectLst/>
                <a:uLnTx/>
                <a:uFillTx/>
                <a:latin typeface="Calibri" panose="020F0502020204030204" pitchFamily="34" charset="0"/>
                <a:ea typeface="+mn-ea"/>
                <a:cs typeface="Calibri" panose="020F0502020204030204" pitchFamily="34" charset="0"/>
                <a:sym typeface="Arial"/>
                <a:rtl val="0"/>
              </a:rPr>
              <a:t>–</a:t>
            </a:r>
            <a:r>
              <a:rPr kumimoji="0" lang="en-US" sz="1200" b="0" i="1" u="none" strike="noStrike" kern="0" cap="none" spc="0" normalizeH="0" baseline="0" noProof="0" dirty="0">
                <a:ln>
                  <a:noFill/>
                </a:ln>
                <a:solidFill>
                  <a:srgbClr val="112946"/>
                </a:solidFill>
                <a:effectLst/>
                <a:uLnTx/>
                <a:uFillTx/>
                <a:latin typeface="Arial"/>
                <a:ea typeface="+mn-ea"/>
                <a:cs typeface="Arial"/>
                <a:sym typeface="Arial"/>
                <a:rtl val="0"/>
              </a:rPr>
              <a:t>28 </a:t>
            </a:r>
            <a:r>
              <a:rPr lang="ru-RU" sz="1200" i="1" kern="0" dirty="0">
                <a:solidFill>
                  <a:srgbClr val="112946"/>
                </a:solidFill>
                <a:latin typeface="Arial"/>
                <a:cs typeface="Arial"/>
                <a:sym typeface="Arial"/>
                <a:rtl val="0"/>
              </a:rPr>
              <a:t>мая</a:t>
            </a:r>
            <a:r>
              <a:rPr kumimoji="0" lang="en-US" sz="1200" b="0" i="1" u="none" strike="noStrike" kern="0" cap="none" spc="0" normalizeH="0" baseline="0" noProof="0" dirty="0">
                <a:ln>
                  <a:noFill/>
                </a:ln>
                <a:solidFill>
                  <a:srgbClr val="112946"/>
                </a:solidFill>
                <a:effectLst/>
                <a:uLnTx/>
                <a:uFillTx/>
                <a:latin typeface="Arial"/>
                <a:ea typeface="+mn-ea"/>
                <a:cs typeface="Arial"/>
                <a:sym typeface="Arial"/>
                <a:rtl val="0"/>
              </a:rPr>
              <a:t> 2022</a:t>
            </a:r>
          </a:p>
        </p:txBody>
      </p:sp>
      <p:sp>
        <p:nvSpPr>
          <p:cNvPr id="38" name="TextBox 37">
            <a:extLst>
              <a:ext uri="{FF2B5EF4-FFF2-40B4-BE49-F238E27FC236}">
                <a16:creationId xmlns:a16="http://schemas.microsoft.com/office/drawing/2014/main" id="{ACC37B35-56DA-45B0-BB35-81EA9CB7D510}"/>
              </a:ext>
            </a:extLst>
          </p:cNvPr>
          <p:cNvSpPr txBox="1">
            <a:spLocks/>
          </p:cNvSpPr>
          <p:nvPr/>
        </p:nvSpPr>
        <p:spPr>
          <a:xfrm>
            <a:off x="1965692" y="2164708"/>
            <a:ext cx="1986592"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sym typeface="Arial"/>
              </a:rPr>
              <a:t>Второе заседание </a:t>
            </a:r>
            <a:r>
              <a:rPr kumimoji="0" lang="en-US" sz="1200" b="1" i="0" u="none" strike="noStrike" kern="0" cap="none" spc="0" normalizeH="0" baseline="0" noProof="0" dirty="0">
                <a:ln>
                  <a:noFill/>
                </a:ln>
                <a:solidFill>
                  <a:srgbClr val="FFFFFF"/>
                </a:solidFill>
                <a:effectLst/>
                <a:uLnTx/>
                <a:uFillTx/>
                <a:latin typeface="Arial"/>
                <a:ea typeface="+mn-ea"/>
                <a:cs typeface="Arial" panose="020B0604020202020204" pitchFamily="34" charset="0"/>
                <a:sym typeface="Arial"/>
              </a:rPr>
              <a:t>INB (INB2)</a:t>
            </a: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1" u="none" strike="noStrike" kern="0" cap="none" spc="0" normalizeH="0" baseline="0" noProof="0" dirty="0">
                <a:ln>
                  <a:noFill/>
                </a:ln>
                <a:solidFill>
                  <a:srgbClr val="FFFFFF"/>
                </a:solidFill>
                <a:effectLst/>
                <a:uLnTx/>
                <a:uFillTx/>
                <a:latin typeface="Arial"/>
                <a:ea typeface="+mn-ea"/>
                <a:cs typeface="Arial" panose="020B0604020202020204" pitchFamily="34" charset="0"/>
                <a:sym typeface="Arial"/>
              </a:rPr>
              <a:t>18</a:t>
            </a:r>
            <a:r>
              <a:rPr kumimoji="0" lang="en-US" sz="1200" b="0" i="1"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Arial"/>
              </a:rPr>
              <a:t>–</a:t>
            </a:r>
            <a:r>
              <a:rPr kumimoji="0" lang="en-US" sz="1200" b="0" i="1" u="none" strike="noStrike" kern="0" cap="none" spc="0" normalizeH="0" baseline="0" noProof="0" dirty="0">
                <a:ln>
                  <a:noFill/>
                </a:ln>
                <a:solidFill>
                  <a:srgbClr val="FFFFFF"/>
                </a:solidFill>
                <a:effectLst/>
                <a:uLnTx/>
                <a:uFillTx/>
                <a:latin typeface="Arial"/>
                <a:ea typeface="+mn-ea"/>
                <a:cs typeface="Arial" panose="020B0604020202020204" pitchFamily="34" charset="0"/>
                <a:sym typeface="Arial"/>
              </a:rPr>
              <a:t>22 </a:t>
            </a:r>
            <a:r>
              <a:rPr kumimoji="0" lang="ru-RU" sz="1200" b="0" i="1" u="none" strike="noStrike" kern="0" cap="none" spc="0" normalizeH="0" baseline="0" noProof="0" dirty="0">
                <a:ln>
                  <a:noFill/>
                </a:ln>
                <a:solidFill>
                  <a:srgbClr val="FFFFFF"/>
                </a:solidFill>
                <a:effectLst/>
                <a:uLnTx/>
                <a:uFillTx/>
                <a:latin typeface="Arial"/>
                <a:ea typeface="+mn-ea"/>
                <a:cs typeface="Arial" panose="020B0604020202020204" pitchFamily="34" charset="0"/>
                <a:sym typeface="Arial"/>
              </a:rPr>
              <a:t>июля</a:t>
            </a:r>
            <a:r>
              <a:rPr kumimoji="0" lang="en-US" sz="1200" b="0" i="1" u="none" strike="noStrike" kern="0" cap="none" spc="0" normalizeH="0" baseline="0" noProof="0" dirty="0">
                <a:ln>
                  <a:noFill/>
                </a:ln>
                <a:solidFill>
                  <a:srgbClr val="FFFFFF"/>
                </a:solidFill>
                <a:effectLst/>
                <a:uLnTx/>
                <a:uFillTx/>
                <a:latin typeface="Arial"/>
                <a:ea typeface="+mn-ea"/>
                <a:cs typeface="Arial" panose="020B0604020202020204" pitchFamily="34" charset="0"/>
                <a:sym typeface="Arial"/>
              </a:rPr>
              <a:t> 2022</a:t>
            </a:r>
            <a:endParaRPr kumimoji="0" lang="en-US" sz="1200" b="1" i="1" u="none" strike="noStrike" kern="0" cap="none" spc="0" normalizeH="0" baseline="0" noProof="0" dirty="0">
              <a:ln>
                <a:noFill/>
              </a:ln>
              <a:solidFill>
                <a:srgbClr val="FFFFFF"/>
              </a:solidFill>
              <a:effectLst/>
              <a:uLnTx/>
              <a:uFillTx/>
              <a:latin typeface="Arial"/>
              <a:ea typeface="+mn-ea"/>
              <a:cs typeface="Arial" panose="020B0604020202020204" pitchFamily="34" charset="0"/>
              <a:sym typeface="Arial"/>
            </a:endParaRPr>
          </a:p>
        </p:txBody>
      </p:sp>
      <p:sp>
        <p:nvSpPr>
          <p:cNvPr id="39" name="TextBox 38">
            <a:extLst>
              <a:ext uri="{FF2B5EF4-FFF2-40B4-BE49-F238E27FC236}">
                <a16:creationId xmlns:a16="http://schemas.microsoft.com/office/drawing/2014/main" id="{EF9296CF-A5B3-40DE-9A4F-9BA696DE014B}"/>
              </a:ext>
            </a:extLst>
          </p:cNvPr>
          <p:cNvSpPr txBox="1"/>
          <p:nvPr/>
        </p:nvSpPr>
        <p:spPr>
          <a:xfrm>
            <a:off x="4566245" y="3055782"/>
            <a:ext cx="2439269" cy="461665"/>
          </a:xfrm>
          <a:prstGeom prst="rect">
            <a:avLst/>
          </a:prstGeom>
          <a:noFill/>
        </p:spPr>
        <p:txBody>
          <a:bodyPr wrap="square">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12946"/>
              </a:solidFill>
              <a:effectLst/>
              <a:uLnTx/>
              <a:uFillTx/>
              <a:latin typeface="Arial"/>
              <a:ea typeface="+mn-ea"/>
              <a:cs typeface="Arial" panose="020B0604020202020204" pitchFamily="34" charset="0"/>
              <a:sym typeface="Theinhardt Pan Medium" panose="020B0604020101020102" pitchFamily="34" charset="0"/>
            </a:endParaRPr>
          </a:p>
          <a:p>
            <a:pPr marL="0" marR="0" lvl="0" indent="0" algn="l" defTabSz="91435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12946"/>
              </a:solidFill>
              <a:effectLst/>
              <a:uLnTx/>
              <a:uFillTx/>
              <a:latin typeface="Arial"/>
              <a:ea typeface="+mn-ea"/>
              <a:cs typeface="Arial" panose="020B0604020202020204" pitchFamily="34" charset="0"/>
              <a:sym typeface="Theinhardt Pan Medium" panose="020B0604020101020102" pitchFamily="34" charset="0"/>
            </a:endParaRPr>
          </a:p>
        </p:txBody>
      </p:sp>
      <p:sp>
        <p:nvSpPr>
          <p:cNvPr id="40" name="TextBox 39">
            <a:extLst>
              <a:ext uri="{FF2B5EF4-FFF2-40B4-BE49-F238E27FC236}">
                <a16:creationId xmlns:a16="http://schemas.microsoft.com/office/drawing/2014/main" id="{F36E8AB5-A343-4063-9B81-15AF40FE2AF3}"/>
              </a:ext>
            </a:extLst>
          </p:cNvPr>
          <p:cNvSpPr txBox="1"/>
          <p:nvPr/>
        </p:nvSpPr>
        <p:spPr>
          <a:xfrm>
            <a:off x="4892554" y="2935432"/>
            <a:ext cx="2187214" cy="646331"/>
          </a:xfrm>
          <a:prstGeom prst="rect">
            <a:avLst/>
          </a:prstGeom>
          <a:noFill/>
        </p:spPr>
        <p:txBody>
          <a:bodyPr wrap="square">
            <a:spAutoFit/>
          </a:bodyPr>
          <a:lstStyle/>
          <a:p>
            <a:pPr marL="0" marR="0" lvl="0" indent="0" algn="l" defTabSz="914358" rtl="0" eaLnBrk="1" fontAlgn="auto" latinLnBrk="0" hangingPunct="1">
              <a:lnSpc>
                <a:spcPct val="100000"/>
              </a:lnSpc>
              <a:spcBef>
                <a:spcPts val="0"/>
              </a:spcBef>
              <a:spcAft>
                <a:spcPts val="0"/>
              </a:spcAft>
              <a:buClrTx/>
              <a:buSzTx/>
              <a:buFontTx/>
              <a:buNone/>
              <a:tabLst/>
              <a:defRPr/>
            </a:pPr>
            <a:r>
              <a:rPr lang="ru-RU" sz="1200" b="1" dirty="0">
                <a:solidFill>
                  <a:srgbClr val="112946"/>
                </a:solidFill>
                <a:latin typeface="Arial"/>
                <a:cs typeface="Arial" panose="020B0604020202020204" pitchFamily="34" charset="0"/>
                <a:sym typeface="Theinhardt Pan Medium" panose="020B0604020101020102" pitchFamily="34" charset="0"/>
              </a:rPr>
              <a:t>Первое заседание</a:t>
            </a:r>
            <a:r>
              <a:rPr kumimoji="0" lang="en-US" sz="1200" b="1"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Theinhardt Pan Medium" panose="020B0604020101020102" pitchFamily="34" charset="0"/>
              </a:rPr>
              <a:t> WGIHR (WGIHR1)</a:t>
            </a:r>
            <a:br>
              <a:rPr kumimoji="0" lang="en-US" sz="1200" b="1"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Theinhardt Pan Medium" panose="020B0604020101020102" pitchFamily="34" charset="0"/>
              </a:rPr>
            </a:br>
            <a:r>
              <a:rPr kumimoji="0" lang="en-US" sz="1200" b="0" i="1"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Theinhardt Pan Medium" panose="020B0604020101020102" pitchFamily="34" charset="0"/>
              </a:rPr>
              <a:t>14-15 </a:t>
            </a:r>
            <a:r>
              <a:rPr kumimoji="0" lang="ru-RU" sz="1200" b="0" i="1"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Theinhardt Pan Medium" panose="020B0604020101020102" pitchFamily="34" charset="0"/>
              </a:rPr>
              <a:t>ноября</a:t>
            </a:r>
            <a:r>
              <a:rPr kumimoji="0" lang="en-US" sz="1200" b="0" i="1"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Theinhardt Pan Medium" panose="020B0604020101020102" pitchFamily="34" charset="0"/>
              </a:rPr>
              <a:t> 2022</a:t>
            </a:r>
          </a:p>
        </p:txBody>
      </p:sp>
      <p:sp>
        <p:nvSpPr>
          <p:cNvPr id="41" name="TextBox 40">
            <a:extLst>
              <a:ext uri="{FF2B5EF4-FFF2-40B4-BE49-F238E27FC236}">
                <a16:creationId xmlns:a16="http://schemas.microsoft.com/office/drawing/2014/main" id="{B47B9DDA-A2A1-4825-B9D4-33F7AAAA2240}"/>
              </a:ext>
            </a:extLst>
          </p:cNvPr>
          <p:cNvSpPr txBox="1">
            <a:spLocks/>
          </p:cNvSpPr>
          <p:nvPr/>
        </p:nvSpPr>
        <p:spPr>
          <a:xfrm>
            <a:off x="9187436" y="2824205"/>
            <a:ext cx="1463514" cy="95410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ru-RU" sz="1400" b="1"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ВАЗ </a:t>
            </a:r>
            <a:r>
              <a:rPr kumimoji="0" lang="en-US" sz="1400" b="1"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76</a:t>
            </a: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pl-PL" sz="1200" b="0"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 </a:t>
            </a:r>
            <a:r>
              <a:rPr kumimoji="0" lang="en-US" sz="1200" b="0"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INB </a:t>
            </a:r>
            <a:r>
              <a:rPr kumimoji="0" lang="ru-RU" sz="1200" b="0"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подает свой отчет о проделанной работе</a:t>
            </a:r>
            <a:endParaRPr kumimoji="0" lang="en-US" sz="1200" b="0"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endParaRP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ru-RU" sz="1200" b="0" i="1" u="none" strike="noStrike" kern="1200" cap="none" spc="0" normalizeH="0" baseline="0" noProof="0" dirty="0">
                <a:ln>
                  <a:noFill/>
                </a:ln>
                <a:solidFill>
                  <a:srgbClr val="132330"/>
                </a:solidFill>
                <a:effectLst/>
                <a:uLnTx/>
                <a:uFillTx/>
                <a:latin typeface="Arial"/>
                <a:ea typeface="+mn-ea"/>
                <a:cs typeface="Arial" panose="020B0604020202020204" pitchFamily="34" charset="0"/>
                <a:sym typeface="Arial"/>
              </a:rPr>
              <a:t>май</a:t>
            </a:r>
            <a:r>
              <a:rPr kumimoji="0" lang="en-US" sz="1200" b="0" i="1" u="none" strike="noStrike" kern="1200" cap="none" spc="0" normalizeH="0" baseline="0" noProof="0" dirty="0">
                <a:ln>
                  <a:noFill/>
                </a:ln>
                <a:solidFill>
                  <a:srgbClr val="132330"/>
                </a:solidFill>
                <a:effectLst/>
                <a:uLnTx/>
                <a:uFillTx/>
                <a:latin typeface="Arial"/>
                <a:ea typeface="+mn-ea"/>
                <a:cs typeface="Arial" panose="020B0604020202020204" pitchFamily="34" charset="0"/>
                <a:sym typeface="Arial"/>
              </a:rPr>
              <a:t> 2023</a:t>
            </a:r>
          </a:p>
        </p:txBody>
      </p:sp>
      <p:sp>
        <p:nvSpPr>
          <p:cNvPr id="42" name="TextBox 41">
            <a:extLst>
              <a:ext uri="{FF2B5EF4-FFF2-40B4-BE49-F238E27FC236}">
                <a16:creationId xmlns:a16="http://schemas.microsoft.com/office/drawing/2014/main" id="{492D4CC9-B2C2-4592-9745-B992EDD6E6D8}"/>
              </a:ext>
            </a:extLst>
          </p:cNvPr>
          <p:cNvSpPr txBox="1">
            <a:spLocks/>
          </p:cNvSpPr>
          <p:nvPr/>
        </p:nvSpPr>
        <p:spPr>
          <a:xfrm>
            <a:off x="8351520" y="904739"/>
            <a:ext cx="2305336" cy="584775"/>
          </a:xfrm>
          <a:prstGeom prst="rect">
            <a:avLst/>
          </a:prstGeom>
          <a:noFill/>
          <a:ln w="9525" cap="flat" cmpd="sng" algn="ctr">
            <a:noFill/>
            <a:prstDash val="solid"/>
            <a:round/>
            <a:headEnd type="none" w="med" len="med"/>
            <a:tailEnd type="none" w="med" len="med"/>
          </a:ln>
          <a:effectLst/>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4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  </a:t>
            </a:r>
            <a:r>
              <a:rPr kumimoji="0" lang="ru-RU" sz="14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ВАЗ </a:t>
            </a:r>
            <a:r>
              <a:rPr kumimoji="0" lang="en-US" sz="14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77</a:t>
            </a:r>
            <a:br>
              <a:rPr kumimoji="0" lang="en-US" sz="12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br>
            <a:r>
              <a:rPr kumimoji="0" lang="en-US" sz="12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 </a:t>
            </a:r>
            <a:r>
              <a:rPr kumimoji="0" lang="en-US" sz="1200" b="0"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INB </a:t>
            </a:r>
            <a:r>
              <a:rPr kumimoji="0" lang="ru-RU" sz="1200" b="0"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и</a:t>
            </a:r>
            <a:r>
              <a:rPr kumimoji="0" lang="en-US" sz="1200" b="0"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 WGIHR </a:t>
            </a:r>
            <a:r>
              <a:rPr kumimoji="0" lang="ru-RU" sz="1200" b="0"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подают свои конечные результаты за</a:t>
            </a:r>
            <a:r>
              <a:rPr kumimoji="0" lang="en-US" sz="1200" b="0"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 </a:t>
            </a:r>
            <a:r>
              <a:rPr kumimoji="0" lang="en-US" sz="1200" b="0"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2024</a:t>
            </a:r>
          </a:p>
        </p:txBody>
      </p:sp>
      <p:sp>
        <p:nvSpPr>
          <p:cNvPr id="43" name="Freeform: Shape 42">
            <a:extLst>
              <a:ext uri="{FF2B5EF4-FFF2-40B4-BE49-F238E27FC236}">
                <a16:creationId xmlns:a16="http://schemas.microsoft.com/office/drawing/2014/main" id="{111C3E06-D6B6-4001-87F1-2E6FD8E915BE}"/>
              </a:ext>
            </a:extLst>
          </p:cNvPr>
          <p:cNvSpPr/>
          <p:nvPr/>
        </p:nvSpPr>
        <p:spPr>
          <a:xfrm rot="10800000">
            <a:off x="9104537" y="2818061"/>
            <a:ext cx="1366543" cy="1014574"/>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286008BB-DA11-4BFF-B36B-A3DC15D370F5}"/>
              </a:ext>
            </a:extLst>
          </p:cNvPr>
          <p:cNvSpPr txBox="1">
            <a:spLocks/>
          </p:cNvSpPr>
          <p:nvPr/>
        </p:nvSpPr>
        <p:spPr>
          <a:xfrm>
            <a:off x="4084806" y="1638063"/>
            <a:ext cx="1700285"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72</a:t>
            </a:r>
            <a:r>
              <a:rPr lang="ru-RU" sz="1200" b="1" kern="0" dirty="0">
                <a:solidFill>
                  <a:srgbClr val="112946"/>
                </a:solidFill>
                <a:latin typeface="Arial"/>
                <a:sym typeface="Arial"/>
              </a:rPr>
              <a:t>й региональный комитет для Европы</a:t>
            </a:r>
            <a:endParaRPr kumimoji="0" lang="en-US" sz="12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endParaRP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12</a:t>
            </a:r>
            <a:r>
              <a:rPr kumimoji="0" lang="en-US" sz="1200" b="0" i="1" u="none" strike="noStrike" kern="0" cap="none" spc="0" normalizeH="0" baseline="0" noProof="0" dirty="0">
                <a:ln>
                  <a:noFill/>
                </a:ln>
                <a:solidFill>
                  <a:srgbClr val="112946"/>
                </a:solidFill>
                <a:effectLst/>
                <a:uLnTx/>
                <a:uFillTx/>
                <a:latin typeface="Calibri" panose="020F0502020204030204" pitchFamily="34" charset="0"/>
                <a:ea typeface="+mn-ea"/>
                <a:cs typeface="Calibri" panose="020F0502020204030204" pitchFamily="34" charset="0"/>
                <a:sym typeface="Arial"/>
              </a:rPr>
              <a:t>–</a:t>
            </a:r>
            <a:r>
              <a:rPr kumimoji="0" lang="en-US" sz="1200" b="0"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14 </a:t>
            </a:r>
            <a:r>
              <a:rPr kumimoji="0" lang="ru-RU" sz="1200" b="0"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сентября</a:t>
            </a:r>
            <a:r>
              <a:rPr kumimoji="0" lang="en-US" sz="1200" b="0"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 2022</a:t>
            </a:r>
            <a:endParaRPr kumimoji="0" lang="en-US" sz="1200" b="1"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endParaRPr>
          </a:p>
        </p:txBody>
      </p:sp>
      <p:sp>
        <p:nvSpPr>
          <p:cNvPr id="45" name="TextBox 44">
            <a:extLst>
              <a:ext uri="{FF2B5EF4-FFF2-40B4-BE49-F238E27FC236}">
                <a16:creationId xmlns:a16="http://schemas.microsoft.com/office/drawing/2014/main" id="{7424A964-6B25-41A0-9FE4-C189255FCB6D}"/>
              </a:ext>
            </a:extLst>
          </p:cNvPr>
          <p:cNvSpPr txBox="1">
            <a:spLocks/>
          </p:cNvSpPr>
          <p:nvPr/>
        </p:nvSpPr>
        <p:spPr>
          <a:xfrm>
            <a:off x="6088585" y="996343"/>
            <a:ext cx="1851968"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73</a:t>
            </a:r>
            <a:r>
              <a:rPr kumimoji="0" lang="ru-RU" sz="12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й региональный комитет для Европы</a:t>
            </a:r>
            <a:endParaRPr kumimoji="0" lang="en-US" sz="1200" b="1" i="0"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endParaRP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lang="ru-RU" sz="1200" i="1" kern="0" dirty="0">
                <a:solidFill>
                  <a:srgbClr val="112946"/>
                </a:solidFill>
                <a:latin typeface="Arial"/>
                <a:sym typeface="Arial"/>
              </a:rPr>
              <a:t>октябрь</a:t>
            </a:r>
            <a:r>
              <a:rPr kumimoji="0" lang="en-US" sz="1200" b="0"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rPr>
              <a:t> 2023</a:t>
            </a:r>
            <a:endParaRPr kumimoji="0" lang="en-US" sz="1200" b="1" i="1" u="none" strike="noStrike" kern="0" cap="none" spc="0" normalizeH="0" baseline="0" noProof="0" dirty="0">
              <a:ln>
                <a:noFill/>
              </a:ln>
              <a:solidFill>
                <a:srgbClr val="112946"/>
              </a:solidFill>
              <a:effectLst/>
              <a:uLnTx/>
              <a:uFillTx/>
              <a:latin typeface="Arial"/>
              <a:ea typeface="+mn-ea"/>
              <a:cs typeface="Arial" panose="020B0604020202020204" pitchFamily="34" charset="0"/>
              <a:sym typeface="Arial"/>
            </a:endParaRPr>
          </a:p>
        </p:txBody>
      </p:sp>
      <p:sp>
        <p:nvSpPr>
          <p:cNvPr id="46" name="Freeform: Shape 45">
            <a:extLst>
              <a:ext uri="{FF2B5EF4-FFF2-40B4-BE49-F238E27FC236}">
                <a16:creationId xmlns:a16="http://schemas.microsoft.com/office/drawing/2014/main" id="{290FA5C1-A278-4CD4-80E0-9B9DB0CFF12A}"/>
              </a:ext>
            </a:extLst>
          </p:cNvPr>
          <p:cNvSpPr/>
          <p:nvPr/>
        </p:nvSpPr>
        <p:spPr>
          <a:xfrm>
            <a:off x="6166310" y="2371417"/>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E6E6E6"/>
                </a:solidFill>
                <a:effectLst/>
                <a:uLnTx/>
                <a:uFillTx/>
                <a:latin typeface="Arial"/>
                <a:ea typeface="+mn-ea"/>
                <a:cs typeface="+mn-cs"/>
              </a:rPr>
              <a:t>5</a:t>
            </a:r>
          </a:p>
        </p:txBody>
      </p:sp>
      <p:sp>
        <p:nvSpPr>
          <p:cNvPr id="47" name="Freeform: Shape 46">
            <a:extLst>
              <a:ext uri="{FF2B5EF4-FFF2-40B4-BE49-F238E27FC236}">
                <a16:creationId xmlns:a16="http://schemas.microsoft.com/office/drawing/2014/main" id="{EA2A724E-17FE-4A32-8B41-741848C0B587}"/>
              </a:ext>
            </a:extLst>
          </p:cNvPr>
          <p:cNvSpPr/>
          <p:nvPr/>
        </p:nvSpPr>
        <p:spPr>
          <a:xfrm>
            <a:off x="3601887" y="3426332"/>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B3B3B3"/>
                </a:solidFill>
                <a:effectLst/>
                <a:uLnTx/>
                <a:uFillTx/>
                <a:latin typeface="Arial"/>
                <a:ea typeface="+mn-ea"/>
                <a:cs typeface="+mn-cs"/>
              </a:rPr>
              <a:t>3</a:t>
            </a:r>
          </a:p>
        </p:txBody>
      </p:sp>
      <p:sp>
        <p:nvSpPr>
          <p:cNvPr id="48" name="Freeform: Shape 47">
            <a:extLst>
              <a:ext uri="{FF2B5EF4-FFF2-40B4-BE49-F238E27FC236}">
                <a16:creationId xmlns:a16="http://schemas.microsoft.com/office/drawing/2014/main" id="{590B32B5-BB6D-4983-BEEF-938A5CC332E9}"/>
              </a:ext>
            </a:extLst>
          </p:cNvPr>
          <p:cNvSpPr/>
          <p:nvPr/>
        </p:nvSpPr>
        <p:spPr>
          <a:xfrm flipV="1">
            <a:off x="2126218" y="3892908"/>
            <a:ext cx="1645512" cy="118952"/>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443FCE3F-ABC9-4B14-ABD3-3C370E2A0EDE}"/>
              </a:ext>
            </a:extLst>
          </p:cNvPr>
          <p:cNvSpPr/>
          <p:nvPr/>
        </p:nvSpPr>
        <p:spPr>
          <a:xfrm>
            <a:off x="7300383" y="2446687"/>
            <a:ext cx="352597" cy="466577"/>
          </a:xfrm>
          <a:custGeom>
            <a:avLst/>
            <a:gdLst>
              <a:gd name="connsiteX0" fmla="*/ 258618 w 517236"/>
              <a:gd name="connsiteY0" fmla="*/ 0 h 750450"/>
              <a:gd name="connsiteX1" fmla="*/ 517236 w 517236"/>
              <a:gd name="connsiteY1" fmla="*/ 258618 h 750450"/>
              <a:gd name="connsiteX2" fmla="*/ 496913 w 517236"/>
              <a:gd name="connsiteY2" fmla="*/ 359284 h 750450"/>
              <a:gd name="connsiteX3" fmla="*/ 480197 w 517236"/>
              <a:gd name="connsiteY3" fmla="*/ 390080 h 750450"/>
              <a:gd name="connsiteX4" fmla="*/ 480291 w 517236"/>
              <a:gd name="connsiteY4" fmla="*/ 390232 h 750450"/>
              <a:gd name="connsiteX5" fmla="*/ 478795 w 517236"/>
              <a:gd name="connsiteY5" fmla="*/ 392663 h 750450"/>
              <a:gd name="connsiteX6" fmla="*/ 473068 w 517236"/>
              <a:gd name="connsiteY6" fmla="*/ 403214 h 750450"/>
              <a:gd name="connsiteX7" fmla="*/ 470054 w 517236"/>
              <a:gd name="connsiteY7" fmla="*/ 406867 h 750450"/>
              <a:gd name="connsiteX8" fmla="*/ 258618 w 517236"/>
              <a:gd name="connsiteY8" fmla="*/ 750450 h 750450"/>
              <a:gd name="connsiteX9" fmla="*/ 47182 w 517236"/>
              <a:gd name="connsiteY9" fmla="*/ 406867 h 750450"/>
              <a:gd name="connsiteX10" fmla="*/ 44168 w 517236"/>
              <a:gd name="connsiteY10" fmla="*/ 403214 h 750450"/>
              <a:gd name="connsiteX11" fmla="*/ 38441 w 517236"/>
              <a:gd name="connsiteY11" fmla="*/ 392663 h 750450"/>
              <a:gd name="connsiteX12" fmla="*/ 36945 w 517236"/>
              <a:gd name="connsiteY12" fmla="*/ 390232 h 750450"/>
              <a:gd name="connsiteX13" fmla="*/ 37039 w 517236"/>
              <a:gd name="connsiteY13" fmla="*/ 390080 h 750450"/>
              <a:gd name="connsiteX14" fmla="*/ 20324 w 517236"/>
              <a:gd name="connsiteY14" fmla="*/ 359284 h 750450"/>
              <a:gd name="connsiteX15" fmla="*/ 0 w 517236"/>
              <a:gd name="connsiteY15" fmla="*/ 258618 h 750450"/>
              <a:gd name="connsiteX16" fmla="*/ 258618 w 517236"/>
              <a:gd name="connsiteY16" fmla="*/ 0 h 75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236" h="750450">
                <a:moveTo>
                  <a:pt x="258618" y="0"/>
                </a:moveTo>
                <a:cubicBezTo>
                  <a:pt x="401449" y="0"/>
                  <a:pt x="517236" y="115787"/>
                  <a:pt x="517236" y="258618"/>
                </a:cubicBezTo>
                <a:cubicBezTo>
                  <a:pt x="517236" y="294326"/>
                  <a:pt x="510000" y="328343"/>
                  <a:pt x="496913" y="359284"/>
                </a:cubicBezTo>
                <a:lnTo>
                  <a:pt x="480197" y="390080"/>
                </a:lnTo>
                <a:lnTo>
                  <a:pt x="480291" y="390232"/>
                </a:lnTo>
                <a:lnTo>
                  <a:pt x="478795" y="392663"/>
                </a:lnTo>
                <a:lnTo>
                  <a:pt x="473068" y="403214"/>
                </a:lnTo>
                <a:lnTo>
                  <a:pt x="470054" y="406867"/>
                </a:lnTo>
                <a:lnTo>
                  <a:pt x="258618" y="750450"/>
                </a:lnTo>
                <a:lnTo>
                  <a:pt x="47182" y="406867"/>
                </a:lnTo>
                <a:lnTo>
                  <a:pt x="44168" y="403214"/>
                </a:lnTo>
                <a:lnTo>
                  <a:pt x="38441" y="392663"/>
                </a:lnTo>
                <a:lnTo>
                  <a:pt x="36945" y="390232"/>
                </a:lnTo>
                <a:lnTo>
                  <a:pt x="37039" y="390080"/>
                </a:lnTo>
                <a:lnTo>
                  <a:pt x="20324" y="359284"/>
                </a:lnTo>
                <a:cubicBezTo>
                  <a:pt x="7237" y="328343"/>
                  <a:pt x="0" y="294326"/>
                  <a:pt x="0" y="258618"/>
                </a:cubicBezTo>
                <a:cubicBezTo>
                  <a:pt x="0" y="115787"/>
                  <a:pt x="115787" y="0"/>
                  <a:pt x="258618" y="0"/>
                </a:cubicBezTo>
                <a:close/>
              </a:path>
            </a:pathLst>
          </a:custGeom>
          <a:solidFill>
            <a:srgbClr val="3092D3"/>
          </a:solidFill>
          <a:ln w="19050" cap="flat" cmpd="sng" algn="ctr">
            <a:solidFill>
              <a:srgbClr val="112946"/>
            </a:solidFill>
            <a:prstDash val="solid"/>
          </a:ln>
          <a:effectLst/>
        </p:spPr>
        <p:txBody>
          <a:bodyPr tIns="36000" bIns="72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E6E6E6"/>
                </a:solidFill>
                <a:effectLst/>
                <a:uLnTx/>
                <a:uFillTx/>
                <a:latin typeface="Arial"/>
                <a:ea typeface="+mn-ea"/>
                <a:cs typeface="+mn-cs"/>
              </a:rPr>
              <a:t>7</a:t>
            </a:r>
          </a:p>
        </p:txBody>
      </p:sp>
      <p:sp>
        <p:nvSpPr>
          <p:cNvPr id="52" name="TextBox 51">
            <a:extLst>
              <a:ext uri="{FF2B5EF4-FFF2-40B4-BE49-F238E27FC236}">
                <a16:creationId xmlns:a16="http://schemas.microsoft.com/office/drawing/2014/main" id="{2CC98DC5-0D7C-43AE-976A-4F94E1E34C25}"/>
              </a:ext>
            </a:extLst>
          </p:cNvPr>
          <p:cNvSpPr txBox="1">
            <a:spLocks/>
          </p:cNvSpPr>
          <p:nvPr/>
        </p:nvSpPr>
        <p:spPr>
          <a:xfrm>
            <a:off x="7517596" y="3057365"/>
            <a:ext cx="1986592"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ru-RU" sz="1200" b="1"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Третье заседание</a:t>
            </a:r>
            <a:r>
              <a:rPr kumimoji="0" lang="en-US" sz="1200" b="1"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 </a:t>
            </a:r>
            <a:endParaRPr kumimoji="0" lang="ru-RU" sz="1200" b="1"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endParaRP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1" i="0"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INB (INB3)</a:t>
            </a:r>
          </a:p>
          <a:p>
            <a:pPr marL="0" marR="0" lvl="0" indent="0" algn="l" defTabSz="4572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en-US" sz="1200" b="0" i="1"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5</a:t>
            </a:r>
            <a:r>
              <a:rPr kumimoji="0" lang="en-US" sz="1200" b="0" i="1" u="none" strike="noStrike" kern="1200" cap="none" spc="0" normalizeH="0" baseline="0" noProof="0" dirty="0">
                <a:ln>
                  <a:noFill/>
                </a:ln>
                <a:solidFill>
                  <a:srgbClr val="112946"/>
                </a:solidFill>
                <a:effectLst/>
                <a:uLnTx/>
                <a:uFillTx/>
                <a:latin typeface="Calibri" panose="020F0502020204030204" pitchFamily="34" charset="0"/>
                <a:ea typeface="+mn-ea"/>
                <a:cs typeface="Calibri" panose="020F0502020204030204" pitchFamily="34" charset="0"/>
                <a:sym typeface="Arial"/>
              </a:rPr>
              <a:t>–</a:t>
            </a:r>
            <a:r>
              <a:rPr kumimoji="0" lang="en-US" sz="1200" b="0" i="1"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7 </a:t>
            </a:r>
            <a:r>
              <a:rPr kumimoji="0" lang="ru-RU" sz="1200" b="0" i="1"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декабря</a:t>
            </a:r>
            <a:r>
              <a:rPr kumimoji="0" lang="en-US" sz="1200" b="0" i="1" u="none" strike="noStrike" kern="1200" cap="none" spc="0" normalizeH="0" baseline="0" noProof="0" dirty="0">
                <a:ln>
                  <a:noFill/>
                </a:ln>
                <a:solidFill>
                  <a:srgbClr val="112946"/>
                </a:solidFill>
                <a:effectLst/>
                <a:uLnTx/>
                <a:uFillTx/>
                <a:latin typeface="Arial"/>
                <a:ea typeface="+mn-ea"/>
                <a:cs typeface="Arial" panose="020B0604020202020204" pitchFamily="34" charset="0"/>
                <a:sym typeface="Arial"/>
              </a:rPr>
              <a:t> 2022</a:t>
            </a:r>
          </a:p>
        </p:txBody>
      </p:sp>
      <p:sp>
        <p:nvSpPr>
          <p:cNvPr id="53" name="Freeform: Shape 52">
            <a:extLst>
              <a:ext uri="{FF2B5EF4-FFF2-40B4-BE49-F238E27FC236}">
                <a16:creationId xmlns:a16="http://schemas.microsoft.com/office/drawing/2014/main" id="{0958ABEC-1040-467D-B20D-721ED8F2011A}"/>
              </a:ext>
            </a:extLst>
          </p:cNvPr>
          <p:cNvSpPr/>
          <p:nvPr/>
        </p:nvSpPr>
        <p:spPr>
          <a:xfrm rot="10800000">
            <a:off x="7476682" y="2977896"/>
            <a:ext cx="1366545" cy="633467"/>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6DC78E4F-A961-4717-9A9C-555A548B9FD5}"/>
              </a:ext>
            </a:extLst>
          </p:cNvPr>
          <p:cNvSpPr/>
          <p:nvPr/>
        </p:nvSpPr>
        <p:spPr>
          <a:xfrm>
            <a:off x="3937285" y="2237941"/>
            <a:ext cx="2359431" cy="103471"/>
          </a:xfrm>
          <a:custGeom>
            <a:avLst/>
            <a:gdLst>
              <a:gd name="connsiteX0" fmla="*/ 0 w 1346662"/>
              <a:gd name="connsiteY0" fmla="*/ 0 h 415637"/>
              <a:gd name="connsiteX1" fmla="*/ 1296785 w 1346662"/>
              <a:gd name="connsiteY1" fmla="*/ 0 h 415637"/>
              <a:gd name="connsiteX2" fmla="*/ 1296785 w 1346662"/>
              <a:gd name="connsiteY2" fmla="*/ 382386 h 415637"/>
              <a:gd name="connsiteX3" fmla="*/ 1296785 w 1346662"/>
              <a:gd name="connsiteY3" fmla="*/ 382386 h 415637"/>
              <a:gd name="connsiteX4" fmla="*/ 1346662 w 1346662"/>
              <a:gd name="connsiteY4" fmla="*/ 415637 h 415637"/>
              <a:gd name="connsiteX0" fmla="*/ 0 w 1296785"/>
              <a:gd name="connsiteY0" fmla="*/ 0 h 382386"/>
              <a:gd name="connsiteX1" fmla="*/ 1296785 w 1296785"/>
              <a:gd name="connsiteY1" fmla="*/ 0 h 382386"/>
              <a:gd name="connsiteX2" fmla="*/ 1296785 w 1296785"/>
              <a:gd name="connsiteY2" fmla="*/ 382386 h 382386"/>
              <a:gd name="connsiteX3" fmla="*/ 1296785 w 1296785"/>
              <a:gd name="connsiteY3" fmla="*/ 382386 h 382386"/>
            </a:gdLst>
            <a:ahLst/>
            <a:cxnLst>
              <a:cxn ang="0">
                <a:pos x="connsiteX0" y="connsiteY0"/>
              </a:cxn>
              <a:cxn ang="0">
                <a:pos x="connsiteX1" y="connsiteY1"/>
              </a:cxn>
              <a:cxn ang="0">
                <a:pos x="connsiteX2" y="connsiteY2"/>
              </a:cxn>
              <a:cxn ang="0">
                <a:pos x="connsiteX3" y="connsiteY3"/>
              </a:cxn>
            </a:cxnLst>
            <a:rect l="l" t="t" r="r" b="b"/>
            <a:pathLst>
              <a:path w="1296785" h="382386">
                <a:moveTo>
                  <a:pt x="0" y="0"/>
                </a:moveTo>
                <a:lnTo>
                  <a:pt x="1296785" y="0"/>
                </a:lnTo>
                <a:lnTo>
                  <a:pt x="1296785" y="382386"/>
                </a:lnTo>
                <a:lnTo>
                  <a:pt x="1296785" y="382386"/>
                </a:lnTo>
              </a:path>
            </a:pathLst>
          </a:custGeom>
          <a:noFill/>
          <a:ln w="28575" cap="flat" cmpd="sng" algn="ctr">
            <a:solidFill>
              <a:srgbClr val="FFFFFF"/>
            </a:solidFill>
            <a:prstDash val="solid"/>
            <a:tailEnd type="oval"/>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FFFFFF"/>
              </a:solidFill>
              <a:effectLst/>
              <a:uLnTx/>
              <a:uFillTx/>
              <a:latin typeface="Arial"/>
              <a:ea typeface="+mn-ea"/>
              <a:cs typeface="+mn-cs"/>
            </a:endParaRPr>
          </a:p>
        </p:txBody>
      </p:sp>
      <p:pic>
        <p:nvPicPr>
          <p:cNvPr id="72" name="Picture 2" descr="EURO_blue_H RGB.eps">
            <a:extLst>
              <a:ext uri="{FF2B5EF4-FFF2-40B4-BE49-F238E27FC236}">
                <a16:creationId xmlns:a16="http://schemas.microsoft.com/office/drawing/2014/main" id="{9E2D0764-C533-44CA-8A09-84EC7FAF7E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897" y="5809025"/>
            <a:ext cx="1928699" cy="935127"/>
          </a:xfrm>
          <a:prstGeom prst="rect">
            <a:avLst/>
          </a:prstGeom>
          <a:noFill/>
          <a:extLst>
            <a:ext uri="{909E8E84-426E-40DD-AFC4-6F175D3DCCD1}">
              <a14:hiddenFill xmlns:a14="http://schemas.microsoft.com/office/drawing/2010/main">
                <a:solidFill>
                  <a:srgbClr val="FFFFFF"/>
                </a:solidFill>
              </a14:hiddenFill>
            </a:ext>
          </a:extLst>
        </p:spPr>
      </p:pic>
      <p:sp>
        <p:nvSpPr>
          <p:cNvPr id="58" name="Title 1">
            <a:extLst>
              <a:ext uri="{FF2B5EF4-FFF2-40B4-BE49-F238E27FC236}">
                <a16:creationId xmlns:a16="http://schemas.microsoft.com/office/drawing/2014/main" id="{C70C5DA0-7BCA-40E0-811D-B8CBB795665C}"/>
              </a:ext>
            </a:extLst>
          </p:cNvPr>
          <p:cNvSpPr txBox="1">
            <a:spLocks/>
          </p:cNvSpPr>
          <p:nvPr/>
        </p:nvSpPr>
        <p:spPr>
          <a:xfrm>
            <a:off x="948762" y="265207"/>
            <a:ext cx="11277600" cy="1004888"/>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200" b="0" i="0" kern="1200">
                <a:solidFill>
                  <a:srgbClr val="00205C"/>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ru-RU" sz="3200" b="0" i="0" u="none" strike="noStrike" kern="1200" cap="none" spc="0" normalizeH="0" baseline="0" noProof="0" dirty="0">
                <a:ln>
                  <a:noFill/>
                </a:ln>
                <a:solidFill>
                  <a:srgbClr val="00205C"/>
                </a:solidFill>
                <a:effectLst/>
                <a:uLnTx/>
                <a:uFillTx/>
                <a:latin typeface="Calibri" panose="020F0502020204030204"/>
                <a:ea typeface="+mj-ea"/>
                <a:cs typeface="+mj-cs"/>
              </a:rPr>
              <a:t>На пути к сильной глобальной архитектур</a:t>
            </a:r>
            <a:r>
              <a:rPr kumimoji="0" lang="ru-RU" sz="3200" b="0" i="0" u="none" strike="noStrike" kern="1200" cap="none" spc="0" normalizeH="0" baseline="0" noProof="0" dirty="0">
                <a:ln>
                  <a:noFill/>
                </a:ln>
                <a:solidFill>
                  <a:schemeClr val="tx2"/>
                </a:solidFill>
                <a:effectLst/>
                <a:uLnTx/>
                <a:uFillTx/>
                <a:latin typeface="Calibri" panose="020F0502020204030204"/>
                <a:ea typeface="+mj-ea"/>
                <a:cs typeface="+mj-cs"/>
              </a:rPr>
              <a:t>е охраны здоровья</a:t>
            </a:r>
            <a:endParaRPr kumimoji="0" lang="en-US" sz="3200" b="0" i="0" u="none" strike="noStrike" kern="1200" cap="none" spc="0" normalizeH="0" baseline="0" noProof="0" dirty="0">
              <a:ln>
                <a:noFill/>
              </a:ln>
              <a:solidFill>
                <a:srgbClr val="00205C"/>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2575368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F4B16-6AAB-441C-B73E-6B560B749BD1}"/>
              </a:ext>
            </a:extLst>
          </p:cNvPr>
          <p:cNvSpPr>
            <a:spLocks noGrp="1"/>
          </p:cNvSpPr>
          <p:nvPr>
            <p:ph type="title"/>
          </p:nvPr>
        </p:nvSpPr>
        <p:spPr/>
        <p:txBody>
          <a:bodyPr/>
          <a:lstStyle/>
          <a:p>
            <a:r>
              <a:rPr lang="ru-RU" dirty="0"/>
              <a:t>Инструмент ежегодной отчетности государства-участника по самооценке (SPAR)</a:t>
            </a:r>
            <a:endParaRPr lang="en-US" dirty="0"/>
          </a:p>
        </p:txBody>
      </p:sp>
      <p:sp>
        <p:nvSpPr>
          <p:cNvPr id="3" name="Content Placeholder 2">
            <a:extLst>
              <a:ext uri="{FF2B5EF4-FFF2-40B4-BE49-F238E27FC236}">
                <a16:creationId xmlns:a16="http://schemas.microsoft.com/office/drawing/2014/main" id="{5F4637F9-ADE2-4DB1-A414-D89A88823685}"/>
              </a:ext>
            </a:extLst>
          </p:cNvPr>
          <p:cNvSpPr>
            <a:spLocks noGrp="1"/>
          </p:cNvSpPr>
          <p:nvPr>
            <p:ph idx="1"/>
          </p:nvPr>
        </p:nvSpPr>
        <p:spPr>
          <a:xfrm>
            <a:off x="457200" y="1690687"/>
            <a:ext cx="5742972" cy="3816977"/>
          </a:xfrm>
        </p:spPr>
        <p:txBody>
          <a:bodyPr>
            <a:normAutofit fontScale="92500" lnSpcReduction="10000"/>
          </a:bodyPr>
          <a:lstStyle/>
          <a:p>
            <a:pPr marL="285750" indent="-285750">
              <a:lnSpc>
                <a:spcPct val="120000"/>
              </a:lnSpc>
              <a:buFont typeface="Arial" panose="020B0604020202020204" pitchFamily="34" charset="0"/>
              <a:buChar char="•"/>
            </a:pPr>
            <a:r>
              <a:rPr lang="ru-RU" sz="2300" dirty="0"/>
              <a:t>Способствует выполнению обязательства в соответствии со ст. 54 ММСП для государств-участников, чтобы сообщить о прогрессе и ВОЗ</a:t>
            </a:r>
            <a:endParaRPr lang="en-US" sz="2300" dirty="0"/>
          </a:p>
          <a:p>
            <a:pPr marL="285750" indent="-285750">
              <a:lnSpc>
                <a:spcPct val="120000"/>
              </a:lnSpc>
              <a:buFont typeface="Arial" panose="020B0604020202020204" pitchFamily="34" charset="0"/>
              <a:buChar char="•"/>
            </a:pPr>
            <a:r>
              <a:rPr lang="ru-RU" sz="2300" dirty="0"/>
              <a:t>Первое издание выпущено в 2018 г. (заменило предыдущий вопросник, использовавшийся в период с 2010 по 2017 гг.), второе издание в 2021 г.</a:t>
            </a:r>
            <a:endParaRPr lang="en-US" sz="2300" dirty="0"/>
          </a:p>
          <a:p>
            <a:pPr>
              <a:lnSpc>
                <a:spcPct val="120000"/>
              </a:lnSpc>
            </a:pPr>
            <a:r>
              <a:rPr lang="ru-RU" sz="2300" dirty="0"/>
              <a:t>Данные SPAR используются для составления Ежегодного отчета Генерального директора ВОЗ перед ВАЗ о выполнении ММСП.</a:t>
            </a:r>
            <a:endParaRPr lang="en-US" sz="2000" dirty="0"/>
          </a:p>
        </p:txBody>
      </p:sp>
      <p:sp>
        <p:nvSpPr>
          <p:cNvPr id="5" name="Slide Number Placeholder 4">
            <a:extLst>
              <a:ext uri="{FF2B5EF4-FFF2-40B4-BE49-F238E27FC236}">
                <a16:creationId xmlns:a16="http://schemas.microsoft.com/office/drawing/2014/main" id="{F4CE970C-DD7F-4B1F-A31D-2147FB4FA738}"/>
              </a:ext>
            </a:extLst>
          </p:cNvPr>
          <p:cNvSpPr>
            <a:spLocks noGrp="1"/>
          </p:cNvSpPr>
          <p:nvPr>
            <p:ph type="sldNum" sz="quarter" idx="12"/>
          </p:nvPr>
        </p:nvSpPr>
        <p:spPr/>
        <p:txBody>
          <a:bodyPr/>
          <a:lstStyle/>
          <a:p>
            <a:fld id="{714BF2E0-EE3B-6A4E-9FB9-82DE86E1F02F}" type="slidenum">
              <a:rPr lang="en-US" smtClean="0"/>
              <a:pPr/>
              <a:t>3</a:t>
            </a:fld>
            <a:endParaRPr lang="en-US"/>
          </a:p>
        </p:txBody>
      </p:sp>
      <p:pic>
        <p:nvPicPr>
          <p:cNvPr id="6" name="Picture 5">
            <a:extLst>
              <a:ext uri="{FF2B5EF4-FFF2-40B4-BE49-F238E27FC236}">
                <a16:creationId xmlns:a16="http://schemas.microsoft.com/office/drawing/2014/main" id="{2E8A59E7-5D64-4068-8FD7-C5B0B051ECF1}"/>
              </a:ext>
            </a:extLst>
          </p:cNvPr>
          <p:cNvPicPr>
            <a:picLocks noChangeAspect="1"/>
          </p:cNvPicPr>
          <p:nvPr/>
        </p:nvPicPr>
        <p:blipFill>
          <a:blip r:embed="rId3"/>
          <a:stretch>
            <a:fillRect/>
          </a:stretch>
        </p:blipFill>
        <p:spPr>
          <a:xfrm>
            <a:off x="8287245" y="1305203"/>
            <a:ext cx="3374402" cy="47822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TextBox 6">
            <a:extLst>
              <a:ext uri="{FF2B5EF4-FFF2-40B4-BE49-F238E27FC236}">
                <a16:creationId xmlns:a16="http://schemas.microsoft.com/office/drawing/2014/main" id="{1ADD24FE-9088-4D0D-857D-ABCD84371E8F}"/>
              </a:ext>
            </a:extLst>
          </p:cNvPr>
          <p:cNvSpPr txBox="1"/>
          <p:nvPr/>
        </p:nvSpPr>
        <p:spPr>
          <a:xfrm>
            <a:off x="6200172" y="3028177"/>
            <a:ext cx="1711794" cy="1938992"/>
          </a:xfrm>
          <a:prstGeom prst="rect">
            <a:avLst/>
          </a:prstGeom>
          <a:noFill/>
        </p:spPr>
        <p:txBody>
          <a:bodyPr wrap="square" rtlCol="0">
            <a:spAutoFit/>
          </a:bodyPr>
          <a:lstStyle/>
          <a:p>
            <a:pPr algn="ctr"/>
            <a:r>
              <a:rPr lang="ru-RU" sz="2000" b="1" i="1" dirty="0">
                <a:solidFill>
                  <a:schemeClr val="tx2"/>
                </a:solidFill>
              </a:rPr>
              <a:t>51 из 55 государств-участников ЕРБ ВОЗ сообщили в 2021 г.</a:t>
            </a:r>
            <a:endParaRPr lang="en-US" sz="2000" b="1" i="1" dirty="0">
              <a:solidFill>
                <a:schemeClr val="tx2"/>
              </a:solidFill>
            </a:endParaRPr>
          </a:p>
        </p:txBody>
      </p:sp>
      <p:grpSp>
        <p:nvGrpSpPr>
          <p:cNvPr id="8" name="Group 7">
            <a:extLst>
              <a:ext uri="{FF2B5EF4-FFF2-40B4-BE49-F238E27FC236}">
                <a16:creationId xmlns:a16="http://schemas.microsoft.com/office/drawing/2014/main" id="{A2A0AE87-09C1-4167-9936-E686317A470A}"/>
              </a:ext>
            </a:extLst>
          </p:cNvPr>
          <p:cNvGrpSpPr/>
          <p:nvPr/>
        </p:nvGrpSpPr>
        <p:grpSpPr>
          <a:xfrm>
            <a:off x="5918675" y="1528056"/>
            <a:ext cx="2075161" cy="1074800"/>
            <a:chOff x="6720362" y="396645"/>
            <a:chExt cx="2360275" cy="1074800"/>
          </a:xfrm>
        </p:grpSpPr>
        <p:sp>
          <p:nvSpPr>
            <p:cNvPr id="9" name="TextBox 8">
              <a:extLst>
                <a:ext uri="{FF2B5EF4-FFF2-40B4-BE49-F238E27FC236}">
                  <a16:creationId xmlns:a16="http://schemas.microsoft.com/office/drawing/2014/main" id="{12D515EA-564A-4F95-B11C-594B4C2F8721}"/>
                </a:ext>
              </a:extLst>
            </p:cNvPr>
            <p:cNvSpPr txBox="1"/>
            <p:nvPr/>
          </p:nvSpPr>
          <p:spPr>
            <a:xfrm>
              <a:off x="6720362" y="396645"/>
              <a:ext cx="2360275" cy="830997"/>
            </a:xfrm>
            <a:prstGeom prst="rect">
              <a:avLst/>
            </a:prstGeom>
            <a:noFill/>
          </p:spPr>
          <p:txBody>
            <a:bodyPr wrap="square" rtlCol="0">
              <a:spAutoFit/>
            </a:bodyPr>
            <a:lstStyle/>
            <a:p>
              <a:pPr algn="ctr"/>
              <a:r>
                <a:rPr lang="ru-RU" sz="1600" i="1" dirty="0"/>
                <a:t>Обязателен в соответствии со статьей 54 ММСП</a:t>
              </a:r>
              <a:endParaRPr lang="en-US" sz="1600" i="1" dirty="0"/>
            </a:p>
          </p:txBody>
        </p:sp>
        <p:cxnSp>
          <p:nvCxnSpPr>
            <p:cNvPr id="10" name="Straight Connector 9">
              <a:extLst>
                <a:ext uri="{FF2B5EF4-FFF2-40B4-BE49-F238E27FC236}">
                  <a16:creationId xmlns:a16="http://schemas.microsoft.com/office/drawing/2014/main" id="{0F0FDA0B-775E-4D70-A514-429FB9930749}"/>
                </a:ext>
              </a:extLst>
            </p:cNvPr>
            <p:cNvCxnSpPr/>
            <p:nvPr/>
          </p:nvCxnSpPr>
          <p:spPr>
            <a:xfrm>
              <a:off x="7237996" y="396645"/>
              <a:ext cx="135122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BF5148D-4DD0-47D4-99C3-74AE163FA41C}"/>
                </a:ext>
              </a:extLst>
            </p:cNvPr>
            <p:cNvCxnSpPr/>
            <p:nvPr/>
          </p:nvCxnSpPr>
          <p:spPr>
            <a:xfrm>
              <a:off x="7237996" y="1471445"/>
              <a:ext cx="1351224"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BC08D0C1-674E-40C1-9EED-5C8798036019}"/>
              </a:ext>
            </a:extLst>
          </p:cNvPr>
          <p:cNvSpPr txBox="1"/>
          <p:nvPr/>
        </p:nvSpPr>
        <p:spPr>
          <a:xfrm>
            <a:off x="2394162" y="5555635"/>
            <a:ext cx="5742972" cy="1169551"/>
          </a:xfrm>
          <a:prstGeom prst="rect">
            <a:avLst/>
          </a:prstGeom>
          <a:noFill/>
          <a:ln w="38100">
            <a:solidFill>
              <a:schemeClr val="tx1"/>
            </a:solidFill>
          </a:ln>
        </p:spPr>
        <p:txBody>
          <a:bodyPr wrap="square">
            <a:spAutoFit/>
          </a:bodyPr>
          <a:lstStyle/>
          <a:p>
            <a:pPr marL="402418" indent="-396466"/>
            <a:r>
              <a:rPr lang="en-GB" sz="1400" dirty="0"/>
              <a:t>“</a:t>
            </a:r>
            <a:r>
              <a:rPr lang="ru-RU" sz="1400" dirty="0"/>
              <a:t>Государства-участники и Генеральный директор продолжают отчитываться ежегодно Всемирной ассамблее здравоохранения о реализации</a:t>
            </a:r>
            <a:r>
              <a:rPr lang="en-US" sz="1400" dirty="0"/>
              <a:t> </a:t>
            </a:r>
            <a:r>
              <a:rPr lang="ru-RU" sz="1400" dirty="0"/>
              <a:t>Международных медико-санитарных правил (2005 г.) с </a:t>
            </a:r>
            <a:r>
              <a:rPr lang="ru-RU" sz="1400" b="1" dirty="0"/>
              <a:t>использованием инструмента ежегодной отчетности по самооценке</a:t>
            </a:r>
            <a:r>
              <a:rPr lang="en-GB" sz="1400" b="1" i="1" dirty="0"/>
              <a:t>.</a:t>
            </a:r>
            <a:r>
              <a:rPr lang="en-GB" sz="1400" b="1" dirty="0"/>
              <a:t>”</a:t>
            </a:r>
            <a:r>
              <a:rPr lang="en-GB" sz="1400" i="1" dirty="0"/>
              <a:t> </a:t>
            </a:r>
            <a:r>
              <a:rPr lang="en-GB" sz="1200" i="1" dirty="0"/>
              <a:t>(</a:t>
            </a:r>
            <a:r>
              <a:rPr lang="ru-RU" sz="1200" i="1" dirty="0">
                <a:hlinkClick r:id="rId4"/>
              </a:rPr>
              <a:t>Решение</a:t>
            </a:r>
            <a:r>
              <a:rPr lang="en-GB" sz="1200" i="1" dirty="0">
                <a:hlinkClick r:id="rId4"/>
              </a:rPr>
              <a:t> </a:t>
            </a:r>
            <a:r>
              <a:rPr lang="ru-RU" sz="1200" i="1" dirty="0">
                <a:hlinkClick r:id="rId4"/>
              </a:rPr>
              <a:t>ВАЗ </a:t>
            </a:r>
            <a:r>
              <a:rPr lang="en-GB" sz="1200" i="1" dirty="0">
                <a:hlinkClick r:id="rId4"/>
              </a:rPr>
              <a:t>(15), 2018</a:t>
            </a:r>
            <a:r>
              <a:rPr lang="en-GB" sz="1200" i="1" dirty="0"/>
              <a:t>)</a:t>
            </a:r>
            <a:endParaRPr lang="en-GB" sz="1600" dirty="0"/>
          </a:p>
        </p:txBody>
      </p:sp>
    </p:spTree>
    <p:extLst>
      <p:ext uri="{BB962C8B-B14F-4D97-AF65-F5344CB8AC3E}">
        <p14:creationId xmlns:p14="http://schemas.microsoft.com/office/powerpoint/2010/main" val="3824258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Diagram 8">
            <a:extLst>
              <a:ext uri="{FF2B5EF4-FFF2-40B4-BE49-F238E27FC236}">
                <a16:creationId xmlns:a16="http://schemas.microsoft.com/office/drawing/2014/main" id="{4C5179AA-8959-40A9-A619-1940917DB744}"/>
              </a:ext>
            </a:extLst>
          </p:cNvPr>
          <p:cNvGraphicFramePr/>
          <p:nvPr>
            <p:extLst>
              <p:ext uri="{D42A27DB-BD31-4B8C-83A1-F6EECF244321}">
                <p14:modId xmlns:p14="http://schemas.microsoft.com/office/powerpoint/2010/main" val="4258254279"/>
              </p:ext>
            </p:extLst>
          </p:nvPr>
        </p:nvGraphicFramePr>
        <p:xfrm>
          <a:off x="3366004" y="3216770"/>
          <a:ext cx="8521285" cy="391678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4051D6AC-1BAE-40AA-9108-317DE478A224}"/>
              </a:ext>
            </a:extLst>
          </p:cNvPr>
          <p:cNvSpPr>
            <a:spLocks noGrp="1"/>
          </p:cNvSpPr>
          <p:nvPr>
            <p:ph type="title"/>
          </p:nvPr>
        </p:nvSpPr>
        <p:spPr>
          <a:xfrm>
            <a:off x="457200" y="612509"/>
            <a:ext cx="11277600" cy="1004888"/>
          </a:xfrm>
        </p:spPr>
        <p:txBody>
          <a:bodyPr/>
          <a:lstStyle/>
          <a:p>
            <a:r>
              <a:rPr lang="ru-RU" dirty="0"/>
              <a:t>Обзор </a:t>
            </a:r>
            <a:r>
              <a:rPr lang="en-US" dirty="0"/>
              <a:t>SPAR </a:t>
            </a:r>
            <a:r>
              <a:rPr lang="ru-RU" dirty="0"/>
              <a:t>ВОЗ по Европейскому региону 2021</a:t>
            </a:r>
            <a:br>
              <a:rPr lang="en-US" dirty="0"/>
            </a:br>
            <a:endParaRPr lang="en-US" dirty="0"/>
          </a:p>
        </p:txBody>
      </p:sp>
      <p:sp>
        <p:nvSpPr>
          <p:cNvPr id="4" name="Footer Placeholder 3">
            <a:extLst>
              <a:ext uri="{FF2B5EF4-FFF2-40B4-BE49-F238E27FC236}">
                <a16:creationId xmlns:a16="http://schemas.microsoft.com/office/drawing/2014/main" id="{E7F8E7E4-6A69-4E29-9368-02FF619FFA03}"/>
              </a:ext>
            </a:extLst>
          </p:cNvPr>
          <p:cNvSpPr>
            <a:spLocks noGrp="1"/>
          </p:cNvSpPr>
          <p:nvPr>
            <p:ph type="ftr" sz="quarter" idx="11"/>
          </p:nvPr>
        </p:nvSpPr>
        <p:spPr/>
        <p:txBody>
          <a:bodyPr/>
          <a:lstStyle/>
          <a:p>
            <a:r>
              <a:rPr lang="en-US"/>
              <a:t>All data on this slide was extracted from e-SPAR on 13 June 2022</a:t>
            </a:r>
          </a:p>
        </p:txBody>
      </p:sp>
      <p:sp>
        <p:nvSpPr>
          <p:cNvPr id="5" name="Slide Number Placeholder 4">
            <a:extLst>
              <a:ext uri="{FF2B5EF4-FFF2-40B4-BE49-F238E27FC236}">
                <a16:creationId xmlns:a16="http://schemas.microsoft.com/office/drawing/2014/main" id="{C6DBEA63-5654-4F3F-83CB-157AE14A46C5}"/>
              </a:ext>
            </a:extLst>
          </p:cNvPr>
          <p:cNvSpPr>
            <a:spLocks noGrp="1"/>
          </p:cNvSpPr>
          <p:nvPr>
            <p:ph type="sldNum" sz="quarter" idx="12"/>
          </p:nvPr>
        </p:nvSpPr>
        <p:spPr/>
        <p:txBody>
          <a:bodyPr/>
          <a:lstStyle/>
          <a:p>
            <a:fld id="{714BF2E0-EE3B-6A4E-9FB9-82DE86E1F02F}" type="slidenum">
              <a:rPr lang="en-US" smtClean="0"/>
              <a:pPr/>
              <a:t>4</a:t>
            </a:fld>
            <a:endParaRPr lang="en-US"/>
          </a:p>
        </p:txBody>
      </p:sp>
      <p:sp>
        <p:nvSpPr>
          <p:cNvPr id="27" name="Slide Number Placeholder 5">
            <a:extLst>
              <a:ext uri="{FF2B5EF4-FFF2-40B4-BE49-F238E27FC236}">
                <a16:creationId xmlns:a16="http://schemas.microsoft.com/office/drawing/2014/main" id="{BDBF5D9B-E31E-4BA5-B351-96B51B81B3D9}"/>
              </a:ext>
            </a:extLst>
          </p:cNvPr>
          <p:cNvSpPr txBox="1">
            <a:spLocks/>
          </p:cNvSpPr>
          <p:nvPr/>
        </p:nvSpPr>
        <p:spPr bwMode="invGray">
          <a:xfrm>
            <a:off x="11416433" y="6580588"/>
            <a:ext cx="289931" cy="180000"/>
          </a:xfrm>
          <a:prstGeom prst="rect">
            <a:avLst/>
          </a:prstGeom>
        </p:spPr>
        <p:txBody>
          <a:bodyPr vert="horz" lIns="0" tIns="0" rIns="0" bIns="0" rtlCol="0" anchor="t"/>
          <a:lstStyle>
            <a:defPPr>
              <a:defRPr lang="en-US"/>
            </a:defPPr>
            <a:lvl1pPr marL="0" algn="r" defTabSz="914400" rtl="0" eaLnBrk="1" latinLnBrk="0" hangingPunct="1">
              <a:defRPr sz="800" b="0" kern="1200">
                <a:solidFill>
                  <a:schemeClr val="tx1"/>
                </a:solidFill>
                <a:latin typeface="+mn-lt"/>
                <a:ea typeface="+mn-ea"/>
                <a:cs typeface="Times New Roman" panose="0202060305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fld id="{A74CE0EA-F3B5-4684-BA10-C594598FDB9C}" type="slidenum">
              <a:rPr lang="en-GB" smtClean="0">
                <a:solidFill>
                  <a:prstClr val="black"/>
                </a:solidFill>
                <a:latin typeface="Arial"/>
              </a:rPr>
              <a:pPr defTabSz="457200">
                <a:defRPr/>
              </a:pPr>
              <a:t>4</a:t>
            </a:fld>
            <a:endParaRPr lang="en-GB">
              <a:solidFill>
                <a:prstClr val="black"/>
              </a:solidFill>
              <a:latin typeface="Arial"/>
            </a:endParaRPr>
          </a:p>
        </p:txBody>
      </p:sp>
      <p:graphicFrame>
        <p:nvGraphicFramePr>
          <p:cNvPr id="29" name="Diagram 9">
            <a:extLst>
              <a:ext uri="{FF2B5EF4-FFF2-40B4-BE49-F238E27FC236}">
                <a16:creationId xmlns:a16="http://schemas.microsoft.com/office/drawing/2014/main" id="{BD867813-85C5-4EEA-808B-E4FFAA341BE8}"/>
              </a:ext>
            </a:extLst>
          </p:cNvPr>
          <p:cNvGraphicFramePr/>
          <p:nvPr>
            <p:extLst>
              <p:ext uri="{D42A27DB-BD31-4B8C-83A1-F6EECF244321}">
                <p14:modId xmlns:p14="http://schemas.microsoft.com/office/powerpoint/2010/main" val="1381520115"/>
              </p:ext>
            </p:extLst>
          </p:nvPr>
        </p:nvGraphicFramePr>
        <p:xfrm>
          <a:off x="4774814" y="1787012"/>
          <a:ext cx="3058266" cy="15153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Diagram 15">
            <a:extLst>
              <a:ext uri="{FF2B5EF4-FFF2-40B4-BE49-F238E27FC236}">
                <a16:creationId xmlns:a16="http://schemas.microsoft.com/office/drawing/2014/main" id="{19FB572A-155B-420D-AD95-7355CF031FEB}"/>
              </a:ext>
            </a:extLst>
          </p:cNvPr>
          <p:cNvGraphicFramePr/>
          <p:nvPr>
            <p:extLst>
              <p:ext uri="{D42A27DB-BD31-4B8C-83A1-F6EECF244321}">
                <p14:modId xmlns:p14="http://schemas.microsoft.com/office/powerpoint/2010/main" val="1806369099"/>
              </p:ext>
            </p:extLst>
          </p:nvPr>
        </p:nvGraphicFramePr>
        <p:xfrm>
          <a:off x="5754086" y="1037362"/>
          <a:ext cx="3570384" cy="215375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1" name="Diagram 16">
            <a:extLst>
              <a:ext uri="{FF2B5EF4-FFF2-40B4-BE49-F238E27FC236}">
                <a16:creationId xmlns:a16="http://schemas.microsoft.com/office/drawing/2014/main" id="{60F91792-60D1-425F-9507-9F60FEA741D5}"/>
              </a:ext>
            </a:extLst>
          </p:cNvPr>
          <p:cNvGraphicFramePr/>
          <p:nvPr>
            <p:extLst>
              <p:ext uri="{D42A27DB-BD31-4B8C-83A1-F6EECF244321}">
                <p14:modId xmlns:p14="http://schemas.microsoft.com/office/powerpoint/2010/main" val="2685632934"/>
              </p:ext>
            </p:extLst>
          </p:nvPr>
        </p:nvGraphicFramePr>
        <p:xfrm>
          <a:off x="3573352" y="997066"/>
          <a:ext cx="3461369" cy="20541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3" name="Chart 32">
            <a:extLst>
              <a:ext uri="{FF2B5EF4-FFF2-40B4-BE49-F238E27FC236}">
                <a16:creationId xmlns:a16="http://schemas.microsoft.com/office/drawing/2014/main" id="{7D5DEC34-19F4-49C7-85D4-B3DB418266E4}"/>
              </a:ext>
            </a:extLst>
          </p:cNvPr>
          <p:cNvGraphicFramePr/>
          <p:nvPr>
            <p:extLst>
              <p:ext uri="{D42A27DB-BD31-4B8C-83A1-F6EECF244321}">
                <p14:modId xmlns:p14="http://schemas.microsoft.com/office/powerpoint/2010/main" val="1627606340"/>
              </p:ext>
            </p:extLst>
          </p:nvPr>
        </p:nvGraphicFramePr>
        <p:xfrm>
          <a:off x="477281" y="1249089"/>
          <a:ext cx="3355953" cy="224552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7" name="Table 37">
            <a:extLst>
              <a:ext uri="{FF2B5EF4-FFF2-40B4-BE49-F238E27FC236}">
                <a16:creationId xmlns:a16="http://schemas.microsoft.com/office/drawing/2014/main" id="{7D3A1C28-4169-4A58-B0C4-082AB3E5D6DB}"/>
              </a:ext>
            </a:extLst>
          </p:cNvPr>
          <p:cNvGraphicFramePr>
            <a:graphicFrameLocks noGrp="1"/>
          </p:cNvGraphicFramePr>
          <p:nvPr>
            <p:extLst>
              <p:ext uri="{D42A27DB-BD31-4B8C-83A1-F6EECF244321}">
                <p14:modId xmlns:p14="http://schemas.microsoft.com/office/powerpoint/2010/main" val="3817018197"/>
              </p:ext>
            </p:extLst>
          </p:nvPr>
        </p:nvGraphicFramePr>
        <p:xfrm>
          <a:off x="8938827" y="843189"/>
          <a:ext cx="3058266" cy="2682240"/>
        </p:xfrm>
        <a:graphic>
          <a:graphicData uri="http://schemas.openxmlformats.org/drawingml/2006/table">
            <a:tbl>
              <a:tblPr firstRow="1" bandRow="1">
                <a:tableStyleId>{5C22544A-7EE6-4342-B048-85BDC9FD1C3A}</a:tableStyleId>
              </a:tblPr>
              <a:tblGrid>
                <a:gridCol w="2420926">
                  <a:extLst>
                    <a:ext uri="{9D8B030D-6E8A-4147-A177-3AD203B41FA5}">
                      <a16:colId xmlns:a16="http://schemas.microsoft.com/office/drawing/2014/main" val="1225966723"/>
                    </a:ext>
                  </a:extLst>
                </a:gridCol>
                <a:gridCol w="637340">
                  <a:extLst>
                    <a:ext uri="{9D8B030D-6E8A-4147-A177-3AD203B41FA5}">
                      <a16:colId xmlns:a16="http://schemas.microsoft.com/office/drawing/2014/main" val="4056744616"/>
                    </a:ext>
                  </a:extLst>
                </a:gridCol>
              </a:tblGrid>
              <a:tr h="327239">
                <a:tc gridSpan="2">
                  <a:txBody>
                    <a:bodyPr/>
                    <a:lstStyle/>
                    <a:p>
                      <a:r>
                        <a:rPr lang="ru-RU" sz="1400" dirty="0"/>
                        <a:t>Пункты въезда, определенные ММСП</a:t>
                      </a:r>
                      <a:endParaRPr lang="en-US" sz="1400" dirty="0"/>
                    </a:p>
                  </a:txBody>
                  <a:tcPr/>
                </a:tc>
                <a:tc hMerge="1">
                  <a:txBody>
                    <a:bodyPr/>
                    <a:lstStyle/>
                    <a:p>
                      <a:endParaRPr lang="en-US"/>
                    </a:p>
                  </a:txBody>
                  <a:tcPr/>
                </a:tc>
                <a:extLst>
                  <a:ext uri="{0D108BD9-81ED-4DB2-BD59-A6C34878D82A}">
                    <a16:rowId xmlns:a16="http://schemas.microsoft.com/office/drawing/2014/main" val="928447134"/>
                  </a:ext>
                </a:extLst>
              </a:tr>
              <a:tr h="327239">
                <a:tc>
                  <a:txBody>
                    <a:bodyPr/>
                    <a:lstStyle/>
                    <a:p>
                      <a:r>
                        <a:rPr lang="ru-RU" sz="1400" dirty="0"/>
                        <a:t>Порты</a:t>
                      </a:r>
                      <a:endParaRPr lang="en-US" sz="1400" dirty="0"/>
                    </a:p>
                  </a:txBody>
                  <a:tcPr/>
                </a:tc>
                <a:tc>
                  <a:txBody>
                    <a:bodyPr/>
                    <a:lstStyle/>
                    <a:p>
                      <a:r>
                        <a:rPr lang="en-US" sz="1600" dirty="0"/>
                        <a:t>226</a:t>
                      </a:r>
                    </a:p>
                  </a:txBody>
                  <a:tcPr/>
                </a:tc>
                <a:extLst>
                  <a:ext uri="{0D108BD9-81ED-4DB2-BD59-A6C34878D82A}">
                    <a16:rowId xmlns:a16="http://schemas.microsoft.com/office/drawing/2014/main" val="3620707211"/>
                  </a:ext>
                </a:extLst>
              </a:tr>
              <a:tr h="327239">
                <a:tc>
                  <a:txBody>
                    <a:bodyPr/>
                    <a:lstStyle/>
                    <a:p>
                      <a:r>
                        <a:rPr lang="ru-RU" sz="1400" dirty="0"/>
                        <a:t>Аэропорты</a:t>
                      </a:r>
                      <a:endParaRPr lang="en-US" sz="1400" dirty="0"/>
                    </a:p>
                  </a:txBody>
                  <a:tcPr/>
                </a:tc>
                <a:tc>
                  <a:txBody>
                    <a:bodyPr/>
                    <a:lstStyle/>
                    <a:p>
                      <a:r>
                        <a:rPr lang="en-US" sz="1600"/>
                        <a:t>206</a:t>
                      </a:r>
                    </a:p>
                  </a:txBody>
                  <a:tcPr/>
                </a:tc>
                <a:extLst>
                  <a:ext uri="{0D108BD9-81ED-4DB2-BD59-A6C34878D82A}">
                    <a16:rowId xmlns:a16="http://schemas.microsoft.com/office/drawing/2014/main" val="1540976418"/>
                  </a:ext>
                </a:extLst>
              </a:tr>
              <a:tr h="327239">
                <a:tc>
                  <a:txBody>
                    <a:bodyPr/>
                    <a:lstStyle/>
                    <a:p>
                      <a:r>
                        <a:rPr lang="ru-RU" sz="1400" dirty="0"/>
                        <a:t>Наземные переходы</a:t>
                      </a:r>
                      <a:endParaRPr lang="en-US" sz="1400" dirty="0"/>
                    </a:p>
                  </a:txBody>
                  <a:tcPr/>
                </a:tc>
                <a:tc>
                  <a:txBody>
                    <a:bodyPr/>
                    <a:lstStyle/>
                    <a:p>
                      <a:r>
                        <a:rPr lang="en-US" sz="1600"/>
                        <a:t>214</a:t>
                      </a:r>
                    </a:p>
                  </a:txBody>
                  <a:tcPr/>
                </a:tc>
                <a:extLst>
                  <a:ext uri="{0D108BD9-81ED-4DB2-BD59-A6C34878D82A}">
                    <a16:rowId xmlns:a16="http://schemas.microsoft.com/office/drawing/2014/main" val="3372214510"/>
                  </a:ext>
                </a:extLst>
              </a:tr>
              <a:tr h="806890">
                <a:tc>
                  <a:txBody>
                    <a:bodyPr/>
                    <a:lstStyle/>
                    <a:p>
                      <a:r>
                        <a:rPr lang="ru-RU" sz="1400" dirty="0"/>
                        <a:t>Количество государств-участников, сообщивших об уполномоченных портах для выдачи судовых санитарных сертификатов (SSC)</a:t>
                      </a:r>
                      <a:endParaRPr lang="en-US" sz="1400" dirty="0"/>
                    </a:p>
                  </a:txBody>
                  <a:tcPr/>
                </a:tc>
                <a:tc>
                  <a:txBody>
                    <a:bodyPr/>
                    <a:lstStyle/>
                    <a:p>
                      <a:r>
                        <a:rPr lang="en-US" sz="1600" dirty="0"/>
                        <a:t>33</a:t>
                      </a:r>
                    </a:p>
                  </a:txBody>
                  <a:tcPr/>
                </a:tc>
                <a:extLst>
                  <a:ext uri="{0D108BD9-81ED-4DB2-BD59-A6C34878D82A}">
                    <a16:rowId xmlns:a16="http://schemas.microsoft.com/office/drawing/2014/main" val="712922593"/>
                  </a:ext>
                </a:extLst>
              </a:tr>
            </a:tbl>
          </a:graphicData>
        </a:graphic>
      </p:graphicFrame>
      <p:graphicFrame>
        <p:nvGraphicFramePr>
          <p:cNvPr id="7" name="Chart 31">
            <a:extLst>
              <a:ext uri="{FF2B5EF4-FFF2-40B4-BE49-F238E27FC236}">
                <a16:creationId xmlns:a16="http://schemas.microsoft.com/office/drawing/2014/main" id="{EFE03210-F91A-6905-2F23-4ACA53B2717C}"/>
              </a:ext>
            </a:extLst>
          </p:cNvPr>
          <p:cNvGraphicFramePr/>
          <p:nvPr>
            <p:extLst>
              <p:ext uri="{D42A27DB-BD31-4B8C-83A1-F6EECF244321}">
                <p14:modId xmlns:p14="http://schemas.microsoft.com/office/powerpoint/2010/main" val="288521926"/>
              </p:ext>
            </p:extLst>
          </p:nvPr>
        </p:nvGraphicFramePr>
        <p:xfrm>
          <a:off x="477281" y="3592628"/>
          <a:ext cx="3355953" cy="211584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199788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A3FD7-21F8-40BC-90B9-61BD38E82920}"/>
              </a:ext>
            </a:extLst>
          </p:cNvPr>
          <p:cNvSpPr>
            <a:spLocks noGrp="1"/>
          </p:cNvSpPr>
          <p:nvPr>
            <p:ph type="title"/>
          </p:nvPr>
        </p:nvSpPr>
        <p:spPr/>
        <p:txBody>
          <a:bodyPr/>
          <a:lstStyle/>
          <a:p>
            <a:r>
              <a:rPr lang="ru-RU" dirty="0"/>
              <a:t>Совместная внешняя оценка (СВО</a:t>
            </a:r>
            <a:r>
              <a:rPr lang="en-US" dirty="0"/>
              <a:t>)</a:t>
            </a:r>
          </a:p>
        </p:txBody>
      </p:sp>
      <p:sp>
        <p:nvSpPr>
          <p:cNvPr id="3" name="Content Placeholder 2">
            <a:extLst>
              <a:ext uri="{FF2B5EF4-FFF2-40B4-BE49-F238E27FC236}">
                <a16:creationId xmlns:a16="http://schemas.microsoft.com/office/drawing/2014/main" id="{A3C55E09-ECD5-4E9A-A2D4-9CAF0FD8FEEF}"/>
              </a:ext>
            </a:extLst>
          </p:cNvPr>
          <p:cNvSpPr>
            <a:spLocks noGrp="1"/>
          </p:cNvSpPr>
          <p:nvPr>
            <p:ph idx="1"/>
          </p:nvPr>
        </p:nvSpPr>
        <p:spPr>
          <a:xfrm>
            <a:off x="457200" y="1663337"/>
            <a:ext cx="7048123" cy="3884295"/>
          </a:xfrm>
        </p:spPr>
        <p:txBody>
          <a:bodyPr>
            <a:normAutofit fontScale="70000" lnSpcReduction="20000"/>
          </a:bodyPr>
          <a:lstStyle/>
          <a:p>
            <a:pPr marL="0" indent="0">
              <a:buNone/>
            </a:pPr>
            <a:r>
              <a:rPr lang="ru-RU" sz="2400" b="1" dirty="0"/>
              <a:t>Цель</a:t>
            </a:r>
            <a:r>
              <a:rPr lang="en-US" sz="2400" dirty="0"/>
              <a:t> </a:t>
            </a:r>
          </a:p>
          <a:p>
            <a:r>
              <a:rPr lang="ru-RU" sz="2400" dirty="0"/>
              <a:t>Оценить текущий потенциал страны по предотвращению, обнаружению и быстрому реагированию на угрозы общественному здравоохранению.</a:t>
            </a:r>
          </a:p>
          <a:p>
            <a:r>
              <a:rPr lang="ru-RU" sz="2400" dirty="0"/>
              <a:t>Выявить сильные и слабые стороны в системе готовности к чрезвычайным ситуациям в области здравоохранения.</a:t>
            </a:r>
          </a:p>
          <a:p>
            <a:r>
              <a:rPr lang="ru-RU" sz="2400" dirty="0"/>
              <a:t>Определить наиболее неотложные потребности и приоритеты стратегических действий для повышения готовности к чрезвычайным ситуациям в области здравоохранения.</a:t>
            </a:r>
          </a:p>
          <a:p>
            <a:pPr marL="0" indent="0">
              <a:buNone/>
            </a:pPr>
            <a:endParaRPr lang="en-US" sz="2400" dirty="0"/>
          </a:p>
          <a:p>
            <a:pPr marL="0" indent="0">
              <a:buNone/>
            </a:pPr>
            <a:r>
              <a:rPr lang="ru-RU" sz="2400" b="1" dirty="0"/>
              <a:t>Результат</a:t>
            </a:r>
            <a:endParaRPr lang="en-US" sz="2400" b="1" dirty="0"/>
          </a:p>
          <a:p>
            <a:pPr>
              <a:lnSpc>
                <a:spcPct val="150000"/>
              </a:lnSpc>
            </a:pPr>
            <a:r>
              <a:rPr lang="en-US" sz="2400" dirty="0"/>
              <a:t> </a:t>
            </a:r>
            <a:r>
              <a:rPr lang="ru-RU" sz="2400" dirty="0"/>
              <a:t>Отчет СВО с окончательной оценкой и рекомендациями по приоритетным действиям для устранения пробелов в потенциале</a:t>
            </a:r>
            <a:endParaRPr lang="en-US" sz="2400" dirty="0"/>
          </a:p>
          <a:p>
            <a:endParaRPr lang="en-US" dirty="0"/>
          </a:p>
        </p:txBody>
      </p:sp>
      <p:sp>
        <p:nvSpPr>
          <p:cNvPr id="4" name="Footer Placeholder 3">
            <a:extLst>
              <a:ext uri="{FF2B5EF4-FFF2-40B4-BE49-F238E27FC236}">
                <a16:creationId xmlns:a16="http://schemas.microsoft.com/office/drawing/2014/main" id="{11DA279A-6D0D-4465-B85A-11024D963B3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3AA0277-27D8-4C52-9D5A-E45555350284}"/>
              </a:ext>
            </a:extLst>
          </p:cNvPr>
          <p:cNvSpPr>
            <a:spLocks noGrp="1"/>
          </p:cNvSpPr>
          <p:nvPr>
            <p:ph type="sldNum" sz="quarter" idx="12"/>
          </p:nvPr>
        </p:nvSpPr>
        <p:spPr/>
        <p:txBody>
          <a:bodyPr/>
          <a:lstStyle/>
          <a:p>
            <a:fld id="{714BF2E0-EE3B-6A4E-9FB9-82DE86E1F02F}" type="slidenum">
              <a:rPr lang="en-US" smtClean="0"/>
              <a:pPr/>
              <a:t>5</a:t>
            </a:fld>
            <a:endParaRPr lang="en-US"/>
          </a:p>
        </p:txBody>
      </p:sp>
      <p:pic>
        <p:nvPicPr>
          <p:cNvPr id="9" name="Picture 8" descr="https://extranet.who.int/sph/sites/default/files/styles/large/public/document-library/thumbnail/JEE2.PNG?itok=rqsaZbkI">
            <a:extLst>
              <a:ext uri="{FF2B5EF4-FFF2-40B4-BE49-F238E27FC236}">
                <a16:creationId xmlns:a16="http://schemas.microsoft.com/office/drawing/2014/main" id="{0C0B2077-DAF4-4A33-A4AF-2A7E5ACFCA6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062967" y="1224264"/>
            <a:ext cx="3114188" cy="440947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09818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Map&#10;&#10;Description automatically generated">
            <a:extLst>
              <a:ext uri="{FF2B5EF4-FFF2-40B4-BE49-F238E27FC236}">
                <a16:creationId xmlns:a16="http://schemas.microsoft.com/office/drawing/2014/main" id="{3C5442E3-1B22-433F-8137-96155BD65571}"/>
              </a:ext>
            </a:extLst>
          </p:cNvPr>
          <p:cNvPicPr>
            <a:picLocks noGrp="1" noChangeAspect="1"/>
          </p:cNvPicPr>
          <p:nvPr>
            <p:ph idx="1"/>
          </p:nvPr>
        </p:nvPicPr>
        <p:blipFill>
          <a:blip r:embed="rId3"/>
          <a:stretch>
            <a:fillRect/>
          </a:stretch>
        </p:blipFill>
        <p:spPr>
          <a:xfrm>
            <a:off x="8304979" y="1327942"/>
            <a:ext cx="3278240" cy="46335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Slide Number Placeholder 4">
            <a:extLst>
              <a:ext uri="{FF2B5EF4-FFF2-40B4-BE49-F238E27FC236}">
                <a16:creationId xmlns:a16="http://schemas.microsoft.com/office/drawing/2014/main" id="{B1C5FA2F-8011-4F94-AB79-E817D10B7ECD}"/>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714BF2E0-EE3B-6A4E-9FB9-82DE86E1F02F}" type="slidenum">
              <a:rPr lang="en-US" sz="1200" smtClean="0">
                <a:solidFill>
                  <a:schemeClr val="tx1">
                    <a:tint val="75000"/>
                  </a:schemeClr>
                </a:solidFill>
              </a:rPr>
              <a:pPr>
                <a:spcAft>
                  <a:spcPts val="600"/>
                </a:spcAft>
              </a:pPr>
              <a:t>6</a:t>
            </a:fld>
            <a:endParaRPr lang="en-US" sz="1200">
              <a:solidFill>
                <a:schemeClr val="tx1">
                  <a:tint val="75000"/>
                </a:schemeClr>
              </a:solidFill>
            </a:endParaRPr>
          </a:p>
        </p:txBody>
      </p:sp>
      <p:graphicFrame>
        <p:nvGraphicFramePr>
          <p:cNvPr id="8" name="Google Shape;261;gf359c45cf6_0_644">
            <a:extLst>
              <a:ext uri="{FF2B5EF4-FFF2-40B4-BE49-F238E27FC236}">
                <a16:creationId xmlns:a16="http://schemas.microsoft.com/office/drawing/2014/main" id="{ED79B3B9-0CCC-4082-997C-293D8608D832}"/>
              </a:ext>
            </a:extLst>
          </p:cNvPr>
          <p:cNvGraphicFramePr/>
          <p:nvPr>
            <p:extLst>
              <p:ext uri="{D42A27DB-BD31-4B8C-83A1-F6EECF244321}">
                <p14:modId xmlns:p14="http://schemas.microsoft.com/office/powerpoint/2010/main" val="2297028195"/>
              </p:ext>
            </p:extLst>
          </p:nvPr>
        </p:nvGraphicFramePr>
        <p:xfrm>
          <a:off x="221381" y="1265253"/>
          <a:ext cx="7932018" cy="3398520"/>
        </p:xfrm>
        <a:graphic>
          <a:graphicData uri="http://schemas.openxmlformats.org/drawingml/2006/table">
            <a:tbl>
              <a:tblPr firstRow="1" firstCol="1" bandRow="1">
                <a:noFill/>
              </a:tblPr>
              <a:tblGrid>
                <a:gridCol w="2387443">
                  <a:extLst>
                    <a:ext uri="{9D8B030D-6E8A-4147-A177-3AD203B41FA5}">
                      <a16:colId xmlns:a16="http://schemas.microsoft.com/office/drawing/2014/main" val="20001"/>
                    </a:ext>
                  </a:extLst>
                </a:gridCol>
                <a:gridCol w="1709800">
                  <a:extLst>
                    <a:ext uri="{9D8B030D-6E8A-4147-A177-3AD203B41FA5}">
                      <a16:colId xmlns:a16="http://schemas.microsoft.com/office/drawing/2014/main" val="20002"/>
                    </a:ext>
                  </a:extLst>
                </a:gridCol>
                <a:gridCol w="2052080">
                  <a:extLst>
                    <a:ext uri="{9D8B030D-6E8A-4147-A177-3AD203B41FA5}">
                      <a16:colId xmlns:a16="http://schemas.microsoft.com/office/drawing/2014/main" val="20003"/>
                    </a:ext>
                  </a:extLst>
                </a:gridCol>
                <a:gridCol w="1782695">
                  <a:extLst>
                    <a:ext uri="{9D8B030D-6E8A-4147-A177-3AD203B41FA5}">
                      <a16:colId xmlns:a16="http://schemas.microsoft.com/office/drawing/2014/main" val="20004"/>
                    </a:ext>
                  </a:extLst>
                </a:gridCol>
              </a:tblGrid>
              <a:tr h="407946">
                <a:tc>
                  <a:txBody>
                    <a:bodyPr/>
                    <a:lstStyle/>
                    <a:p>
                      <a:pPr marL="0" marR="0" lvl="0" indent="0" algn="ctr" rtl="0">
                        <a:lnSpc>
                          <a:spcPct val="100000"/>
                        </a:lnSpc>
                        <a:spcBef>
                          <a:spcPts val="0"/>
                        </a:spcBef>
                        <a:spcAft>
                          <a:spcPts val="0"/>
                        </a:spcAft>
                        <a:buClr>
                          <a:srgbClr val="000000"/>
                        </a:buClr>
                        <a:buSzPts val="1800"/>
                        <a:buFont typeface="Calibri"/>
                        <a:buNone/>
                      </a:pPr>
                      <a:r>
                        <a:rPr lang="ru-RU" sz="1400" b="1" u="none" strike="noStrike" cap="none" dirty="0">
                          <a:solidFill>
                            <a:schemeClr val="accent2">
                              <a:lumMod val="75000"/>
                            </a:schemeClr>
                          </a:solidFill>
                          <a:latin typeface="Calibri"/>
                          <a:ea typeface="Calibri"/>
                          <a:cs typeface="Calibri"/>
                          <a:sym typeface="Calibri"/>
                        </a:rPr>
                        <a:t>Профилактика</a:t>
                      </a:r>
                      <a:endParaRPr sz="1000" u="none" strike="noStrike" cap="none" dirty="0">
                        <a:solidFill>
                          <a:schemeClr val="accent2">
                            <a:lumMod val="75000"/>
                          </a:schemeClr>
                        </a:solidFill>
                      </a:endParaRPr>
                    </a:p>
                  </a:txBody>
                  <a:tcPr marL="56152" marR="56152" marT="0" marB="0" anchor="ctr">
                    <a:solidFill>
                      <a:srgbClr val="BBD6EE"/>
                    </a:solidFill>
                  </a:tcPr>
                </a:tc>
                <a:tc>
                  <a:txBody>
                    <a:bodyPr/>
                    <a:lstStyle/>
                    <a:p>
                      <a:pPr marL="0" marR="0" lvl="0" indent="0" algn="ctr" rtl="0">
                        <a:lnSpc>
                          <a:spcPct val="100000"/>
                        </a:lnSpc>
                        <a:spcBef>
                          <a:spcPts val="0"/>
                        </a:spcBef>
                        <a:spcAft>
                          <a:spcPts val="0"/>
                        </a:spcAft>
                        <a:buClr>
                          <a:srgbClr val="000000"/>
                        </a:buClr>
                        <a:buSzPts val="1800"/>
                        <a:buFont typeface="Arial"/>
                        <a:buNone/>
                      </a:pPr>
                      <a:r>
                        <a:rPr lang="ru-RU" sz="1400" b="1" u="none" strike="noStrike" cap="none" dirty="0">
                          <a:solidFill>
                            <a:srgbClr val="002060"/>
                          </a:solidFill>
                        </a:rPr>
                        <a:t>Выявление</a:t>
                      </a:r>
                      <a:endParaRPr sz="1400" b="1" u="none" strike="noStrike" cap="none" dirty="0">
                        <a:solidFill>
                          <a:srgbClr val="002060"/>
                        </a:solidFill>
                        <a:latin typeface="Calibri"/>
                        <a:ea typeface="Calibri"/>
                        <a:cs typeface="Calibri"/>
                        <a:sym typeface="Calibri"/>
                      </a:endParaRPr>
                    </a:p>
                  </a:txBody>
                  <a:tcPr marL="56152" marR="56152" marT="0" marB="0" anchor="ctr">
                    <a:solidFill>
                      <a:srgbClr val="BBD6EE"/>
                    </a:solidFill>
                  </a:tcPr>
                </a:tc>
                <a:tc>
                  <a:txBody>
                    <a:bodyPr/>
                    <a:lstStyle/>
                    <a:p>
                      <a:pPr marL="0" marR="0" lvl="0" indent="0" algn="ctr" rtl="0">
                        <a:lnSpc>
                          <a:spcPct val="100000"/>
                        </a:lnSpc>
                        <a:spcBef>
                          <a:spcPts val="0"/>
                        </a:spcBef>
                        <a:spcAft>
                          <a:spcPts val="0"/>
                        </a:spcAft>
                        <a:buClr>
                          <a:srgbClr val="000000"/>
                        </a:buClr>
                        <a:buSzPts val="1800"/>
                        <a:buFont typeface="Arial"/>
                        <a:buNone/>
                      </a:pPr>
                      <a:r>
                        <a:rPr lang="ru-RU" sz="1400" b="1" u="none" strike="noStrike" cap="none" dirty="0">
                          <a:solidFill>
                            <a:srgbClr val="0070C0"/>
                          </a:solidFill>
                        </a:rPr>
                        <a:t>Реагирование</a:t>
                      </a:r>
                      <a:endParaRPr sz="1400" b="1" u="none" strike="noStrike" cap="none" dirty="0">
                        <a:solidFill>
                          <a:srgbClr val="0070C0"/>
                        </a:solidFill>
                        <a:latin typeface="Calibri"/>
                        <a:ea typeface="Calibri"/>
                        <a:cs typeface="Calibri"/>
                        <a:sym typeface="Calibri"/>
                      </a:endParaRPr>
                    </a:p>
                  </a:txBody>
                  <a:tcPr marL="56152" marR="56152" marT="0" marB="0" anchor="ctr">
                    <a:solidFill>
                      <a:srgbClr val="BBD6EE"/>
                    </a:solidFill>
                  </a:tcPr>
                </a:tc>
                <a:tc>
                  <a:txBody>
                    <a:bodyPr/>
                    <a:lstStyle/>
                    <a:p>
                      <a:pPr marL="0" marR="0" lvl="0" indent="0" algn="ctr" rtl="0">
                        <a:lnSpc>
                          <a:spcPct val="100000"/>
                        </a:lnSpc>
                        <a:spcBef>
                          <a:spcPts val="0"/>
                        </a:spcBef>
                        <a:spcAft>
                          <a:spcPts val="0"/>
                        </a:spcAft>
                        <a:buClr>
                          <a:srgbClr val="000000"/>
                        </a:buClr>
                        <a:buSzPts val="1800"/>
                        <a:buFont typeface="Arial"/>
                        <a:buNone/>
                      </a:pPr>
                      <a:r>
                        <a:rPr lang="ru-RU" sz="1400" b="1" u="none" strike="noStrike" cap="none" dirty="0">
                          <a:solidFill>
                            <a:srgbClr val="009999"/>
                          </a:solidFill>
                        </a:rPr>
                        <a:t>ММСП и точки въезда</a:t>
                      </a:r>
                      <a:endParaRPr sz="1400" b="1" u="none" strike="noStrike" cap="none" dirty="0">
                        <a:solidFill>
                          <a:srgbClr val="009999"/>
                        </a:solidFill>
                        <a:latin typeface="Calibri"/>
                        <a:ea typeface="Calibri"/>
                        <a:cs typeface="Calibri"/>
                        <a:sym typeface="Calibri"/>
                      </a:endParaRPr>
                    </a:p>
                  </a:txBody>
                  <a:tcPr marL="56152" marR="56152" marT="0" marB="0" anchor="ctr">
                    <a:solidFill>
                      <a:srgbClr val="BBD6EE"/>
                    </a:solidFill>
                  </a:tcPr>
                </a:tc>
                <a:extLst>
                  <a:ext uri="{0D108BD9-81ED-4DB2-BD59-A6C34878D82A}">
                    <a16:rowId xmlns:a16="http://schemas.microsoft.com/office/drawing/2014/main" val="10000"/>
                  </a:ext>
                </a:extLst>
              </a:tr>
              <a:tr h="2841049">
                <a:tc>
                  <a:txBody>
                    <a:bodyPr/>
                    <a:lstStyle/>
                    <a:p>
                      <a:pPr marL="0" marR="0" lvl="0" indent="0" algn="l" defTabSz="914400" rtl="0" eaLnBrk="1" fontAlgn="auto" latinLnBrk="0" hangingPunct="1">
                        <a:lnSpc>
                          <a:spcPct val="100000"/>
                        </a:lnSpc>
                        <a:spcBef>
                          <a:spcPts val="0"/>
                        </a:spcBef>
                        <a:spcAft>
                          <a:spcPts val="0"/>
                        </a:spcAft>
                        <a:buClrTx/>
                        <a:buSzPts val="1800"/>
                        <a:buFont typeface="Calibri"/>
                        <a:buNone/>
                        <a:tabLst/>
                        <a:defRPr/>
                      </a:pPr>
                      <a:r>
                        <a:rPr lang="en-PH" sz="1500" b="0" dirty="0">
                          <a:solidFill>
                            <a:schemeClr val="accent2">
                              <a:lumMod val="75000"/>
                            </a:schemeClr>
                          </a:solidFill>
                          <a:latin typeface="Calibri" panose="020F0502020204030204" pitchFamily="34" charset="0"/>
                          <a:cs typeface="Calibri" panose="020F0502020204030204" pitchFamily="34" charset="0"/>
                        </a:rPr>
                        <a:t>P1. </a:t>
                      </a:r>
                      <a:r>
                        <a:rPr lang="ru-RU" sz="1500" b="0" dirty="0">
                          <a:solidFill>
                            <a:schemeClr val="accent2">
                              <a:lumMod val="75000"/>
                            </a:schemeClr>
                          </a:solidFill>
                          <a:latin typeface="Calibri" panose="020F0502020204030204" pitchFamily="34" charset="0"/>
                          <a:cs typeface="Calibri" panose="020F0502020204030204" pitchFamily="34" charset="0"/>
                        </a:rPr>
                        <a:t>Правовые инструменты</a:t>
                      </a:r>
                      <a:endParaRPr lang="en-PH" sz="1500" b="0" u="none" strike="noStrike" cap="none" dirty="0">
                        <a:solidFill>
                          <a:schemeClr val="accent2">
                            <a:lumMod val="75000"/>
                          </a:schemeClr>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1800"/>
                        <a:buFont typeface="Calibri"/>
                        <a:buNone/>
                        <a:tabLst/>
                        <a:defRPr/>
                      </a:pPr>
                      <a:r>
                        <a:rPr lang="en-PH" sz="1500" b="0" u="none" strike="noStrike" cap="none" dirty="0">
                          <a:solidFill>
                            <a:schemeClr val="accent2">
                              <a:lumMod val="75000"/>
                            </a:schemeClr>
                          </a:solidFill>
                          <a:latin typeface="Calibri" panose="020F0502020204030204" pitchFamily="34" charset="0"/>
                          <a:cs typeface="Calibri" panose="020F0502020204030204" pitchFamily="34" charset="0"/>
                        </a:rPr>
                        <a:t>P2. </a:t>
                      </a:r>
                      <a:r>
                        <a:rPr lang="ru-RU" sz="1500" b="0" u="none" strike="noStrike" cap="none" dirty="0">
                          <a:solidFill>
                            <a:schemeClr val="accent2">
                              <a:lumMod val="75000"/>
                            </a:schemeClr>
                          </a:solidFill>
                          <a:latin typeface="Calibri" panose="020F0502020204030204" pitchFamily="34" charset="0"/>
                          <a:cs typeface="Calibri" panose="020F0502020204030204" pitchFamily="34" charset="0"/>
                        </a:rPr>
                        <a:t>Финансирование</a:t>
                      </a:r>
                      <a:endParaRPr lang="en-PH" sz="1500" b="0" u="none" strike="noStrike" cap="none" dirty="0">
                        <a:solidFill>
                          <a:schemeClr val="accent2">
                            <a:lumMod val="75000"/>
                          </a:schemeClr>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1800"/>
                        <a:buFont typeface="Calibri"/>
                        <a:buNone/>
                        <a:tabLst/>
                        <a:defRPr/>
                      </a:pPr>
                      <a:r>
                        <a:rPr lang="en-PH" sz="1500" b="0" u="none" strike="noStrike" cap="none" dirty="0">
                          <a:solidFill>
                            <a:schemeClr val="accent2">
                              <a:lumMod val="75000"/>
                            </a:schemeClr>
                          </a:solidFill>
                          <a:latin typeface="Calibri" panose="020F0502020204030204" pitchFamily="34" charset="0"/>
                          <a:cs typeface="Calibri" panose="020F0502020204030204" pitchFamily="34" charset="0"/>
                        </a:rPr>
                        <a:t>P3. </a:t>
                      </a:r>
                      <a:r>
                        <a:rPr lang="ru-RU" sz="1500" b="0" u="none" strike="noStrike" cap="none" dirty="0">
                          <a:solidFill>
                            <a:schemeClr val="accent2">
                              <a:lumMod val="75000"/>
                            </a:schemeClr>
                          </a:solidFill>
                          <a:latin typeface="Calibri" panose="020F0502020204030204" pitchFamily="34" charset="0"/>
                          <a:cs typeface="Calibri" panose="020F0502020204030204" pitchFamily="34" charset="0"/>
                        </a:rPr>
                        <a:t>Координация ММСП</a:t>
                      </a:r>
                      <a:r>
                        <a:rPr lang="en-PH" sz="1500" b="0" u="none" strike="noStrike" cap="none" dirty="0">
                          <a:solidFill>
                            <a:schemeClr val="accent2">
                              <a:lumMod val="75000"/>
                            </a:schemeClr>
                          </a:solidFill>
                          <a:latin typeface="Calibri" panose="020F0502020204030204" pitchFamily="34" charset="0"/>
                          <a:cs typeface="Calibri" panose="020F0502020204030204" pitchFamily="34" charset="0"/>
                        </a:rPr>
                        <a:t>,</a:t>
                      </a:r>
                      <a:r>
                        <a:rPr lang="ru-RU" sz="1500" b="0" u="none" strike="noStrike" cap="none" dirty="0">
                          <a:solidFill>
                            <a:schemeClr val="accent2">
                              <a:lumMod val="75000"/>
                            </a:schemeClr>
                          </a:solidFill>
                          <a:latin typeface="Calibri" panose="020F0502020204030204" pitchFamily="34" charset="0"/>
                          <a:cs typeface="Calibri" panose="020F0502020204030204" pitchFamily="34" charset="0"/>
                        </a:rPr>
                        <a:t>  функции и </a:t>
                      </a:r>
                      <a:r>
                        <a:rPr lang="ru-RU" sz="1500" b="0" u="none" strike="noStrike" cap="none" dirty="0" err="1">
                          <a:solidFill>
                            <a:schemeClr val="accent2">
                              <a:lumMod val="75000"/>
                            </a:schemeClr>
                          </a:solidFill>
                          <a:latin typeface="Calibri" panose="020F0502020204030204" pitchFamily="34" charset="0"/>
                          <a:cs typeface="Calibri" panose="020F0502020204030204" pitchFamily="34" charset="0"/>
                        </a:rPr>
                        <a:t>адвокация</a:t>
                      </a:r>
                      <a:r>
                        <a:rPr lang="ru-RU" sz="1500" b="0" u="none" strike="noStrike" cap="none" dirty="0">
                          <a:solidFill>
                            <a:schemeClr val="accent2">
                              <a:lumMod val="75000"/>
                            </a:schemeClr>
                          </a:solidFill>
                          <a:latin typeface="Calibri" panose="020F0502020204030204" pitchFamily="34" charset="0"/>
                          <a:cs typeface="Calibri" panose="020F0502020204030204" pitchFamily="34" charset="0"/>
                        </a:rPr>
                        <a:t> НК</a:t>
                      </a:r>
                    </a:p>
                    <a:p>
                      <a:pPr marL="0" marR="0" lvl="0" indent="0" algn="l" defTabSz="914400" rtl="0" eaLnBrk="1" fontAlgn="auto" latinLnBrk="0" hangingPunct="1">
                        <a:lnSpc>
                          <a:spcPct val="100000"/>
                        </a:lnSpc>
                        <a:spcBef>
                          <a:spcPts val="0"/>
                        </a:spcBef>
                        <a:spcAft>
                          <a:spcPts val="0"/>
                        </a:spcAft>
                        <a:buClrTx/>
                        <a:buSzPts val="1800"/>
                        <a:buFont typeface="Calibri"/>
                        <a:buNone/>
                        <a:tabLst/>
                        <a:defRPr/>
                      </a:pPr>
                      <a:r>
                        <a:rPr lang="en-PH" sz="1500" b="0" u="none" strike="noStrike" cap="none" dirty="0">
                          <a:solidFill>
                            <a:schemeClr val="accent2">
                              <a:lumMod val="75000"/>
                            </a:schemeClr>
                          </a:solidFill>
                          <a:latin typeface="Calibri" panose="020F0502020204030204" pitchFamily="34" charset="0"/>
                          <a:cs typeface="Calibri" panose="020F0502020204030204" pitchFamily="34" charset="0"/>
                        </a:rPr>
                        <a:t>P4. </a:t>
                      </a:r>
                      <a:r>
                        <a:rPr lang="ru-RU" sz="1500" b="0" u="none" strike="noStrike" cap="none" dirty="0">
                          <a:solidFill>
                            <a:schemeClr val="accent2">
                              <a:lumMod val="75000"/>
                            </a:schemeClr>
                          </a:solidFill>
                          <a:latin typeface="Calibri" panose="020F0502020204030204" pitchFamily="34" charset="0"/>
                          <a:cs typeface="Calibri" panose="020F0502020204030204" pitchFamily="34" charset="0"/>
                        </a:rPr>
                        <a:t>АМР</a:t>
                      </a:r>
                      <a:endParaRPr lang="en-PH" sz="1500" b="0" u="none" strike="noStrike" cap="none" dirty="0">
                        <a:solidFill>
                          <a:schemeClr val="accent2">
                            <a:lumMod val="75000"/>
                          </a:schemeClr>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1800"/>
                        <a:buFont typeface="Calibri"/>
                        <a:buNone/>
                        <a:tabLst/>
                        <a:defRPr/>
                      </a:pPr>
                      <a:r>
                        <a:rPr lang="en-PH" sz="1500" b="0" u="none" strike="noStrike" cap="none" dirty="0">
                          <a:solidFill>
                            <a:schemeClr val="accent2">
                              <a:lumMod val="75000"/>
                            </a:schemeClr>
                          </a:solidFill>
                          <a:latin typeface="Calibri" panose="020F0502020204030204" pitchFamily="34" charset="0"/>
                          <a:cs typeface="Calibri" panose="020F0502020204030204" pitchFamily="34" charset="0"/>
                        </a:rPr>
                        <a:t>P5. </a:t>
                      </a:r>
                      <a:r>
                        <a:rPr lang="ru-RU" sz="1500" b="0" u="none" strike="noStrike" cap="none" dirty="0">
                          <a:solidFill>
                            <a:schemeClr val="accent2">
                              <a:lumMod val="75000"/>
                            </a:schemeClr>
                          </a:solidFill>
                          <a:latin typeface="Calibri" panose="020F0502020204030204" pitchFamily="34" charset="0"/>
                          <a:cs typeface="Calibri" panose="020F0502020204030204" pitchFamily="34" charset="0"/>
                        </a:rPr>
                        <a:t>Зоонозное заболевание</a:t>
                      </a:r>
                      <a:endParaRPr lang="en-PH" sz="1500" b="0" u="none" strike="noStrike" cap="none" dirty="0">
                        <a:solidFill>
                          <a:schemeClr val="accent2">
                            <a:lumMod val="75000"/>
                          </a:schemeClr>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1800"/>
                        <a:buFont typeface="Calibri"/>
                        <a:buNone/>
                        <a:tabLst/>
                        <a:defRPr/>
                      </a:pPr>
                      <a:r>
                        <a:rPr lang="en-PH" sz="1500" b="0" u="none" strike="noStrike" cap="none" dirty="0">
                          <a:solidFill>
                            <a:schemeClr val="accent2">
                              <a:lumMod val="75000"/>
                            </a:schemeClr>
                          </a:solidFill>
                          <a:latin typeface="Calibri" panose="020F0502020204030204" pitchFamily="34" charset="0"/>
                          <a:cs typeface="Calibri" panose="020F0502020204030204" pitchFamily="34" charset="0"/>
                        </a:rPr>
                        <a:t>P6. </a:t>
                      </a:r>
                      <a:r>
                        <a:rPr lang="ru-RU" sz="1500" b="0" u="none" strike="noStrike" cap="none" dirty="0">
                          <a:solidFill>
                            <a:schemeClr val="accent2">
                              <a:lumMod val="75000"/>
                            </a:schemeClr>
                          </a:solidFill>
                          <a:latin typeface="Calibri" panose="020F0502020204030204" pitchFamily="34" charset="0"/>
                          <a:cs typeface="Calibri" panose="020F0502020204030204" pitchFamily="34" charset="0"/>
                        </a:rPr>
                        <a:t>Безопасность пищевых продуктов</a:t>
                      </a:r>
                      <a:endParaRPr lang="en-PH" sz="1500" b="0" u="none" strike="noStrike" cap="none" dirty="0">
                        <a:solidFill>
                          <a:schemeClr val="accent2">
                            <a:lumMod val="75000"/>
                          </a:schemeClr>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1800"/>
                        <a:buFont typeface="Calibri"/>
                        <a:buNone/>
                        <a:tabLst/>
                        <a:defRPr/>
                      </a:pPr>
                      <a:r>
                        <a:rPr lang="en-PH" sz="1500" b="0" u="none" strike="noStrike" cap="none" dirty="0">
                          <a:solidFill>
                            <a:schemeClr val="accent2">
                              <a:lumMod val="75000"/>
                            </a:schemeClr>
                          </a:solidFill>
                          <a:latin typeface="Calibri" panose="020F0502020204030204" pitchFamily="34" charset="0"/>
                          <a:cs typeface="Calibri" panose="020F0502020204030204" pitchFamily="34" charset="0"/>
                        </a:rPr>
                        <a:t>P7. </a:t>
                      </a:r>
                      <a:r>
                        <a:rPr lang="ru-RU" sz="1500" b="0" u="none" strike="noStrike" cap="none" dirty="0">
                          <a:solidFill>
                            <a:schemeClr val="accent2">
                              <a:lumMod val="75000"/>
                            </a:schemeClr>
                          </a:solidFill>
                          <a:latin typeface="Calibri" panose="020F0502020204030204" pitchFamily="34" charset="0"/>
                          <a:cs typeface="Calibri" panose="020F0502020204030204" pitchFamily="34" charset="0"/>
                        </a:rPr>
                        <a:t> Биобезопасность и биозащита</a:t>
                      </a:r>
                      <a:endParaRPr lang="en-PH" sz="1500" b="0" u="none" strike="noStrike" cap="none" dirty="0">
                        <a:solidFill>
                          <a:schemeClr val="accent2">
                            <a:lumMod val="75000"/>
                          </a:schemeClr>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1800"/>
                        <a:buFont typeface="Calibri"/>
                        <a:buNone/>
                        <a:tabLst/>
                        <a:defRPr/>
                      </a:pPr>
                      <a:r>
                        <a:rPr lang="en-PH" sz="1500" b="0" u="none" strike="noStrike" cap="none" dirty="0">
                          <a:solidFill>
                            <a:schemeClr val="accent2">
                              <a:lumMod val="75000"/>
                            </a:schemeClr>
                          </a:solidFill>
                          <a:latin typeface="Calibri" panose="020F0502020204030204" pitchFamily="34" charset="0"/>
                          <a:cs typeface="Calibri" panose="020F0502020204030204" pitchFamily="34" charset="0"/>
                        </a:rPr>
                        <a:t>P8. </a:t>
                      </a:r>
                      <a:r>
                        <a:rPr lang="ru-RU" sz="1500" b="0" u="none" strike="noStrike" cap="none" dirty="0">
                          <a:solidFill>
                            <a:schemeClr val="accent2">
                              <a:lumMod val="75000"/>
                            </a:schemeClr>
                          </a:solidFill>
                          <a:latin typeface="Calibri" panose="020F0502020204030204" pitchFamily="34" charset="0"/>
                          <a:cs typeface="Calibri" panose="020F0502020204030204" pitchFamily="34" charset="0"/>
                        </a:rPr>
                        <a:t>Иммунизация</a:t>
                      </a:r>
                      <a:endParaRPr sz="1500" b="0" u="none" strike="noStrike" cap="none" dirty="0">
                        <a:solidFill>
                          <a:schemeClr val="accent2">
                            <a:lumMod val="75000"/>
                          </a:schemeClr>
                        </a:solidFill>
                        <a:latin typeface="Calibri" panose="020F0502020204030204" pitchFamily="34" charset="0"/>
                        <a:cs typeface="Calibri" panose="020F0502020204030204" pitchFamily="34" charset="0"/>
                      </a:endParaRPr>
                    </a:p>
                  </a:txBody>
                  <a:tcPr marL="56152" marR="56152" marT="0" marB="0"/>
                </a:tc>
                <a:tc>
                  <a:txBody>
                    <a:bodyPr/>
                    <a:lstStyle/>
                    <a:p>
                      <a:pPr marL="0" marR="0" lvl="0" indent="0" algn="l" rtl="0">
                        <a:lnSpc>
                          <a:spcPct val="100000"/>
                        </a:lnSpc>
                        <a:spcBef>
                          <a:spcPts val="0"/>
                        </a:spcBef>
                        <a:spcAft>
                          <a:spcPts val="0"/>
                        </a:spcAft>
                        <a:buClr>
                          <a:srgbClr val="008000"/>
                        </a:buClr>
                        <a:buSzPts val="1800"/>
                        <a:buFont typeface="Calibri"/>
                        <a:buNone/>
                      </a:pPr>
                      <a:r>
                        <a:rPr lang="en-PH" sz="1500" b="0" u="none" strike="noStrike" cap="none" dirty="0">
                          <a:solidFill>
                            <a:srgbClr val="002060"/>
                          </a:solidFill>
                          <a:latin typeface="Calibri" panose="020F0502020204030204" pitchFamily="34" charset="0"/>
                          <a:cs typeface="Calibri" panose="020F0502020204030204" pitchFamily="34" charset="0"/>
                        </a:rPr>
                        <a:t>D1. </a:t>
                      </a:r>
                      <a:r>
                        <a:rPr lang="ru-RU" sz="1500" b="0" u="none" strike="noStrike" cap="none" dirty="0">
                          <a:solidFill>
                            <a:srgbClr val="002060"/>
                          </a:solidFill>
                          <a:latin typeface="Calibri" panose="020F0502020204030204" pitchFamily="34" charset="0"/>
                          <a:cs typeface="Calibri" panose="020F0502020204030204" pitchFamily="34" charset="0"/>
                        </a:rPr>
                        <a:t>Национальные лабораторные системы</a:t>
                      </a:r>
                      <a:endParaRPr lang="en-PH" sz="1500" b="0" u="none" strike="noStrike" cap="none" dirty="0">
                        <a:solidFill>
                          <a:srgbClr val="002060"/>
                        </a:solidFill>
                        <a:latin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008000"/>
                        </a:buClr>
                        <a:buSzPts val="1800"/>
                        <a:buFont typeface="Calibri"/>
                        <a:buNone/>
                      </a:pPr>
                      <a:r>
                        <a:rPr lang="en-PH" sz="1500" b="0" u="none" strike="noStrike" cap="none" dirty="0">
                          <a:solidFill>
                            <a:srgbClr val="002060"/>
                          </a:solidFill>
                          <a:latin typeface="Calibri" panose="020F0502020204030204" pitchFamily="34" charset="0"/>
                          <a:cs typeface="Calibri" panose="020F0502020204030204" pitchFamily="34" charset="0"/>
                        </a:rPr>
                        <a:t>D2. </a:t>
                      </a:r>
                      <a:r>
                        <a:rPr lang="ru-RU" sz="1500" b="0" u="none" strike="noStrike" cap="none" dirty="0" err="1">
                          <a:solidFill>
                            <a:srgbClr val="002060"/>
                          </a:solidFill>
                          <a:latin typeface="Calibri" panose="020F0502020204030204" pitchFamily="34" charset="0"/>
                          <a:cs typeface="Calibri" panose="020F0502020204030204" pitchFamily="34" charset="0"/>
                        </a:rPr>
                        <a:t>Эпиднадзор</a:t>
                      </a:r>
                      <a:endParaRPr lang="en-PH" sz="1500" b="0" u="none" strike="noStrike" cap="none" dirty="0">
                        <a:solidFill>
                          <a:srgbClr val="002060"/>
                        </a:solidFill>
                        <a:latin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008000"/>
                        </a:buClr>
                        <a:buSzPts val="1800"/>
                        <a:buFont typeface="Calibri"/>
                        <a:buNone/>
                      </a:pPr>
                      <a:r>
                        <a:rPr lang="en-PH" sz="1500" b="0" u="none" strike="noStrike" cap="none" dirty="0">
                          <a:solidFill>
                            <a:srgbClr val="002060"/>
                          </a:solidFill>
                          <a:latin typeface="Calibri" panose="020F0502020204030204" pitchFamily="34" charset="0"/>
                          <a:cs typeface="Calibri" panose="020F0502020204030204" pitchFamily="34" charset="0"/>
                        </a:rPr>
                        <a:t>D3. </a:t>
                      </a:r>
                      <a:r>
                        <a:rPr lang="ru-RU" sz="1500" b="0" u="none" strike="noStrike" cap="none" dirty="0">
                          <a:solidFill>
                            <a:srgbClr val="002060"/>
                          </a:solidFill>
                          <a:latin typeface="Calibri" panose="020F0502020204030204" pitchFamily="34" charset="0"/>
                          <a:cs typeface="Calibri" panose="020F0502020204030204" pitchFamily="34" charset="0"/>
                        </a:rPr>
                        <a:t>Человеческие ресурсы</a:t>
                      </a:r>
                      <a:endParaRPr lang="en-PH" sz="1500" b="0" u="none" strike="noStrike" cap="none" dirty="0">
                        <a:solidFill>
                          <a:srgbClr val="002060"/>
                        </a:solidFill>
                        <a:latin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008000"/>
                        </a:buClr>
                        <a:buSzPts val="1800"/>
                        <a:buFont typeface="Calibri"/>
                        <a:buNone/>
                      </a:pPr>
                      <a:endParaRPr sz="1500" b="0" u="none" strike="noStrike" cap="none" dirty="0">
                        <a:solidFill>
                          <a:srgbClr val="002060"/>
                        </a:solidFill>
                        <a:latin typeface="Calibri" panose="020F0502020204030204" pitchFamily="34" charset="0"/>
                        <a:cs typeface="Calibri" panose="020F0502020204030204" pitchFamily="34" charset="0"/>
                      </a:endParaRPr>
                    </a:p>
                  </a:txBody>
                  <a:tcPr marL="56152" marR="56152" marT="0" marB="0"/>
                </a:tc>
                <a:tc>
                  <a:txBody>
                    <a:bodyPr/>
                    <a:lstStyle/>
                    <a:p>
                      <a:pPr marL="0" marR="0" lvl="0" indent="0" algn="l" rtl="0">
                        <a:lnSpc>
                          <a:spcPct val="100000"/>
                        </a:lnSpc>
                        <a:spcBef>
                          <a:spcPts val="0"/>
                        </a:spcBef>
                        <a:spcAft>
                          <a:spcPts val="0"/>
                        </a:spcAft>
                        <a:buClr>
                          <a:srgbClr val="FF0000"/>
                        </a:buClr>
                        <a:buSzPts val="1800"/>
                        <a:buFont typeface="Calibri"/>
                        <a:buNone/>
                      </a:pPr>
                      <a:r>
                        <a:rPr lang="en-PH" sz="1500" u="none" strike="noStrike" cap="none" dirty="0">
                          <a:solidFill>
                            <a:srgbClr val="0070C0"/>
                          </a:solidFill>
                          <a:latin typeface="Calibri" panose="020F0502020204030204" pitchFamily="34" charset="0"/>
                          <a:cs typeface="Calibri" panose="020F0502020204030204" pitchFamily="34" charset="0"/>
                        </a:rPr>
                        <a:t>R1. </a:t>
                      </a:r>
                      <a:r>
                        <a:rPr lang="ru-RU" sz="1500" u="none" strike="noStrike" cap="none" dirty="0">
                          <a:solidFill>
                            <a:srgbClr val="0070C0"/>
                          </a:solidFill>
                          <a:latin typeface="Calibri" panose="020F0502020204030204" pitchFamily="34" charset="0"/>
                          <a:cs typeface="Calibri" panose="020F0502020204030204" pitchFamily="34" charset="0"/>
                        </a:rPr>
                        <a:t>Управление ЧС в области здравоохранения</a:t>
                      </a:r>
                      <a:endParaRPr lang="en-PH" sz="1500" u="none" strike="noStrike" cap="none" dirty="0">
                        <a:solidFill>
                          <a:srgbClr val="0070C0"/>
                        </a:solidFill>
                        <a:latin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FF0000"/>
                        </a:buClr>
                        <a:buSzPts val="1800"/>
                        <a:buFont typeface="Calibri"/>
                        <a:buNone/>
                      </a:pPr>
                      <a:r>
                        <a:rPr lang="en-PH" sz="1500" u="none" strike="noStrike" cap="none" dirty="0">
                          <a:solidFill>
                            <a:srgbClr val="0070C0"/>
                          </a:solidFill>
                          <a:latin typeface="Calibri" panose="020F0502020204030204" pitchFamily="34" charset="0"/>
                          <a:cs typeface="Calibri" panose="020F0502020204030204" pitchFamily="34" charset="0"/>
                        </a:rPr>
                        <a:t>R2. </a:t>
                      </a:r>
                      <a:r>
                        <a:rPr lang="ru-RU" sz="1500" u="none" strike="noStrike" cap="none" dirty="0">
                          <a:solidFill>
                            <a:srgbClr val="0070C0"/>
                          </a:solidFill>
                          <a:latin typeface="Calibri" panose="020F0502020204030204" pitchFamily="34" charset="0"/>
                          <a:cs typeface="Calibri" panose="020F0502020204030204" pitchFamily="34" charset="0"/>
                        </a:rPr>
                        <a:t>Связь органов здравоохранения и безопасности</a:t>
                      </a:r>
                      <a:endParaRPr lang="en-PH" sz="1500" u="none" strike="noStrike" cap="none" dirty="0">
                        <a:solidFill>
                          <a:srgbClr val="0070C0"/>
                        </a:solidFill>
                        <a:latin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FF0000"/>
                        </a:buClr>
                        <a:buSzPts val="1800"/>
                        <a:buFont typeface="Calibri"/>
                        <a:buNone/>
                      </a:pPr>
                      <a:r>
                        <a:rPr lang="en-PH" sz="1500" u="none" strike="noStrike" cap="none" dirty="0">
                          <a:solidFill>
                            <a:srgbClr val="0070C0"/>
                          </a:solidFill>
                          <a:latin typeface="Calibri" panose="020F0502020204030204" pitchFamily="34" charset="0"/>
                          <a:cs typeface="Calibri" panose="020F0502020204030204" pitchFamily="34" charset="0"/>
                        </a:rPr>
                        <a:t>R3. </a:t>
                      </a:r>
                      <a:r>
                        <a:rPr lang="ru-RU" sz="1500" u="none" strike="noStrike" cap="none" dirty="0">
                          <a:solidFill>
                            <a:srgbClr val="0070C0"/>
                          </a:solidFill>
                          <a:latin typeface="Calibri" panose="020F0502020204030204" pitchFamily="34" charset="0"/>
                          <a:cs typeface="Calibri" panose="020F0502020204030204" pitchFamily="34" charset="0"/>
                        </a:rPr>
                        <a:t>Предоставление медицинских услуг</a:t>
                      </a:r>
                      <a:endParaRPr lang="en-PH" sz="1500" u="none" strike="noStrike" cap="none" dirty="0">
                        <a:solidFill>
                          <a:srgbClr val="0070C0"/>
                        </a:solidFill>
                        <a:latin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FF0000"/>
                        </a:buClr>
                        <a:buSzPts val="1800"/>
                        <a:buFont typeface="Calibri"/>
                        <a:buNone/>
                      </a:pPr>
                      <a:r>
                        <a:rPr lang="en-PH" sz="1500" u="none" strike="noStrike" cap="none" dirty="0">
                          <a:solidFill>
                            <a:srgbClr val="0070C0"/>
                          </a:solidFill>
                          <a:latin typeface="Calibri" panose="020F0502020204030204" pitchFamily="34" charset="0"/>
                          <a:cs typeface="Calibri" panose="020F0502020204030204" pitchFamily="34" charset="0"/>
                        </a:rPr>
                        <a:t>R4. </a:t>
                      </a:r>
                      <a:r>
                        <a:rPr lang="ru-RU" sz="1500" u="none" strike="noStrike" cap="none" dirty="0">
                          <a:solidFill>
                            <a:srgbClr val="0070C0"/>
                          </a:solidFill>
                          <a:latin typeface="Calibri" panose="020F0502020204030204" pitchFamily="34" charset="0"/>
                          <a:cs typeface="Calibri" panose="020F0502020204030204" pitchFamily="34" charset="0"/>
                        </a:rPr>
                        <a:t>КПИ</a:t>
                      </a:r>
                      <a:endParaRPr lang="en-PH" sz="1500" u="none" strike="noStrike" cap="none" dirty="0">
                        <a:solidFill>
                          <a:srgbClr val="0070C0"/>
                        </a:solidFill>
                        <a:latin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FF0000"/>
                        </a:buClr>
                        <a:buSzPts val="1800"/>
                        <a:buFont typeface="Calibri"/>
                        <a:buNone/>
                      </a:pPr>
                      <a:r>
                        <a:rPr lang="en-PH" sz="1500" u="none" strike="noStrike" cap="none" dirty="0">
                          <a:solidFill>
                            <a:srgbClr val="0070C0"/>
                          </a:solidFill>
                          <a:latin typeface="Calibri" panose="020F0502020204030204" pitchFamily="34" charset="0"/>
                          <a:cs typeface="Calibri" panose="020F0502020204030204" pitchFamily="34" charset="0"/>
                        </a:rPr>
                        <a:t>R5. </a:t>
                      </a:r>
                      <a:r>
                        <a:rPr lang="ru-RU" sz="1500" u="none" strike="noStrike" cap="none" dirty="0">
                          <a:solidFill>
                            <a:srgbClr val="0070C0"/>
                          </a:solidFill>
                          <a:latin typeface="Calibri" panose="020F0502020204030204" pitchFamily="34" charset="0"/>
                          <a:cs typeface="Calibri" panose="020F0502020204030204" pitchFamily="34" charset="0"/>
                        </a:rPr>
                        <a:t>Информирование о рисках и вовлечение сообщества</a:t>
                      </a:r>
                      <a:endParaRPr lang="en-PH" sz="1500" u="none" strike="noStrike" cap="none" dirty="0">
                        <a:solidFill>
                          <a:srgbClr val="0070C0"/>
                        </a:solidFill>
                        <a:latin typeface="Calibri" panose="020F0502020204030204" pitchFamily="34" charset="0"/>
                        <a:cs typeface="Calibri" panose="020F0502020204030204" pitchFamily="34" charset="0"/>
                      </a:endParaRPr>
                    </a:p>
                    <a:p>
                      <a:pPr marL="0" marR="0" lvl="0" indent="0" algn="l" rtl="0">
                        <a:lnSpc>
                          <a:spcPct val="100000"/>
                        </a:lnSpc>
                        <a:spcBef>
                          <a:spcPts val="0"/>
                        </a:spcBef>
                        <a:spcAft>
                          <a:spcPts val="0"/>
                        </a:spcAft>
                        <a:buClr>
                          <a:srgbClr val="FF0000"/>
                        </a:buClr>
                        <a:buSzPts val="1800"/>
                        <a:buFont typeface="Calibri"/>
                        <a:buNone/>
                      </a:pPr>
                      <a:endParaRPr sz="1500" u="none" strike="noStrike" cap="none" dirty="0">
                        <a:solidFill>
                          <a:srgbClr val="0070C0"/>
                        </a:solidFill>
                        <a:latin typeface="Calibri" panose="020F0502020204030204" pitchFamily="34" charset="0"/>
                        <a:cs typeface="Calibri" panose="020F0502020204030204" pitchFamily="34" charset="0"/>
                      </a:endParaRPr>
                    </a:p>
                  </a:txBody>
                  <a:tcPr marL="56152" marR="56152" marT="0" marB="0"/>
                </a:tc>
                <a:tc>
                  <a:txBody>
                    <a:bodyPr/>
                    <a:lstStyle/>
                    <a:p>
                      <a:pPr marL="0" marR="0" lvl="0" indent="0" algn="l" rtl="0">
                        <a:lnSpc>
                          <a:spcPct val="100000"/>
                        </a:lnSpc>
                        <a:spcBef>
                          <a:spcPts val="0"/>
                        </a:spcBef>
                        <a:spcAft>
                          <a:spcPts val="0"/>
                        </a:spcAft>
                        <a:buClr>
                          <a:srgbClr val="008000"/>
                        </a:buClr>
                        <a:buSzPts val="1800"/>
                        <a:buFont typeface="Arial"/>
                        <a:buNone/>
                      </a:pPr>
                      <a:r>
                        <a:rPr lang="en-PH" sz="1500" b="0" u="none" strike="noStrike" cap="none" dirty="0">
                          <a:solidFill>
                            <a:srgbClr val="009999"/>
                          </a:solidFill>
                          <a:latin typeface="Calibri" panose="020F0502020204030204" pitchFamily="34" charset="0"/>
                          <a:ea typeface="Calibri"/>
                          <a:cs typeface="Calibri" panose="020F0502020204030204" pitchFamily="34" charset="0"/>
                          <a:sym typeface="Calibri"/>
                        </a:rPr>
                        <a:t>PoE. </a:t>
                      </a:r>
                      <a:r>
                        <a:rPr lang="ru-RU" sz="1500" b="0" u="none" strike="noStrike" cap="none" dirty="0">
                          <a:solidFill>
                            <a:srgbClr val="009999"/>
                          </a:solidFill>
                          <a:latin typeface="Calibri" panose="020F0502020204030204" pitchFamily="34" charset="0"/>
                          <a:ea typeface="Calibri"/>
                          <a:cs typeface="Calibri" panose="020F0502020204030204" pitchFamily="34" charset="0"/>
                          <a:sym typeface="Calibri"/>
                        </a:rPr>
                        <a:t>Точки въезда, состояние границ</a:t>
                      </a:r>
                    </a:p>
                    <a:p>
                      <a:pPr marL="0" marR="0" lvl="0" indent="0" algn="l" rtl="0">
                        <a:lnSpc>
                          <a:spcPct val="100000"/>
                        </a:lnSpc>
                        <a:spcBef>
                          <a:spcPts val="0"/>
                        </a:spcBef>
                        <a:spcAft>
                          <a:spcPts val="0"/>
                        </a:spcAft>
                        <a:buClr>
                          <a:srgbClr val="008000"/>
                        </a:buClr>
                        <a:buSzPts val="1800"/>
                        <a:buFont typeface="Arial"/>
                        <a:buNone/>
                      </a:pPr>
                      <a:r>
                        <a:rPr lang="ru-RU" sz="1500" b="0" u="none" strike="noStrike" cap="none" dirty="0">
                          <a:solidFill>
                            <a:srgbClr val="009999"/>
                          </a:solidFill>
                          <a:latin typeface="Calibri" panose="020F0502020204030204" pitchFamily="34" charset="0"/>
                          <a:ea typeface="Calibri"/>
                          <a:cs typeface="Calibri" panose="020F0502020204030204" pitchFamily="34" charset="0"/>
                          <a:sym typeface="Calibri"/>
                        </a:rPr>
                        <a:t>СЕ. Химические события</a:t>
                      </a:r>
                    </a:p>
                    <a:p>
                      <a:pPr marL="0" marR="0" lvl="0" indent="0" algn="l" rtl="0">
                        <a:lnSpc>
                          <a:spcPct val="100000"/>
                        </a:lnSpc>
                        <a:spcBef>
                          <a:spcPts val="0"/>
                        </a:spcBef>
                        <a:spcAft>
                          <a:spcPts val="0"/>
                        </a:spcAft>
                        <a:buClr>
                          <a:srgbClr val="008000"/>
                        </a:buClr>
                        <a:buSzPts val="1800"/>
                        <a:buFont typeface="Arial"/>
                        <a:buNone/>
                      </a:pPr>
                      <a:r>
                        <a:rPr lang="ru-RU" sz="1500" b="0" u="none" strike="noStrike" cap="none" dirty="0">
                          <a:solidFill>
                            <a:srgbClr val="009999"/>
                          </a:solidFill>
                          <a:latin typeface="Calibri" panose="020F0502020204030204" pitchFamily="34" charset="0"/>
                          <a:ea typeface="Calibri"/>
                          <a:cs typeface="Calibri" panose="020F0502020204030204" pitchFamily="34" charset="0"/>
                          <a:sym typeface="Calibri"/>
                        </a:rPr>
                        <a:t>РЕ. Радиационные аварийные ситуации</a:t>
                      </a:r>
                      <a:endParaRPr sz="1500" b="0" u="none" strike="noStrike" cap="none" dirty="0">
                        <a:solidFill>
                          <a:srgbClr val="009999"/>
                        </a:solidFill>
                        <a:latin typeface="Calibri" panose="020F0502020204030204" pitchFamily="34" charset="0"/>
                        <a:ea typeface="Calibri"/>
                        <a:cs typeface="Calibri" panose="020F0502020204030204" pitchFamily="34" charset="0"/>
                        <a:sym typeface="Calibri"/>
                      </a:endParaRPr>
                    </a:p>
                  </a:txBody>
                  <a:tcPr marL="56152" marR="56152" marT="0" marB="0"/>
                </a:tc>
                <a:extLst>
                  <a:ext uri="{0D108BD9-81ED-4DB2-BD59-A6C34878D82A}">
                    <a16:rowId xmlns:a16="http://schemas.microsoft.com/office/drawing/2014/main" val="10001"/>
                  </a:ext>
                </a:extLst>
              </a:tr>
            </a:tbl>
          </a:graphicData>
        </a:graphic>
      </p:graphicFrame>
      <p:sp>
        <p:nvSpPr>
          <p:cNvPr id="9" name="TextBox 8">
            <a:extLst>
              <a:ext uri="{FF2B5EF4-FFF2-40B4-BE49-F238E27FC236}">
                <a16:creationId xmlns:a16="http://schemas.microsoft.com/office/drawing/2014/main" id="{7031BA3D-02AD-48A0-B6EA-4C1D104F1170}"/>
              </a:ext>
            </a:extLst>
          </p:cNvPr>
          <p:cNvSpPr txBox="1"/>
          <p:nvPr/>
        </p:nvSpPr>
        <p:spPr>
          <a:xfrm>
            <a:off x="297171" y="4644867"/>
            <a:ext cx="7932018" cy="1223412"/>
          </a:xfrm>
          <a:prstGeom prst="rect">
            <a:avLst/>
          </a:prstGeom>
          <a:noFill/>
        </p:spPr>
        <p:txBody>
          <a:bodyPr wrap="square">
            <a:spAutoFit/>
          </a:bodyPr>
          <a:lstStyle/>
          <a:p>
            <a:pPr defTabSz="685768">
              <a:buClr>
                <a:srgbClr val="000000"/>
              </a:buClr>
            </a:pPr>
            <a:r>
              <a:rPr lang="ru-RU" sz="1050" i="1" kern="0" dirty="0">
                <a:solidFill>
                  <a:srgbClr val="000000"/>
                </a:solidFill>
                <a:latin typeface="Arial"/>
                <a:cs typeface="Arial"/>
                <a:sym typeface="Arial"/>
              </a:rPr>
              <a:t>Основные изменения в третьей редакции инструмента  СВО</a:t>
            </a:r>
            <a:endParaRPr lang="en-PH" sz="1050" i="1" kern="0" dirty="0">
              <a:solidFill>
                <a:srgbClr val="000000"/>
              </a:solidFill>
              <a:latin typeface="Arial"/>
              <a:cs typeface="Arial"/>
              <a:sym typeface="Arial"/>
            </a:endParaRPr>
          </a:p>
          <a:p>
            <a:pPr marL="214303" indent="-214303" defTabSz="685768">
              <a:buClr>
                <a:srgbClr val="000000"/>
              </a:buClr>
              <a:buFont typeface="Arial" panose="020B0604020202020204" pitchFamily="34" charset="0"/>
              <a:buChar char="•"/>
            </a:pPr>
            <a:r>
              <a:rPr lang="ru-RU" sz="1050" i="1" kern="0" dirty="0">
                <a:solidFill>
                  <a:srgbClr val="000000"/>
                </a:solidFill>
                <a:latin typeface="Arial"/>
                <a:cs typeface="Arial"/>
                <a:sym typeface="Arial"/>
              </a:rPr>
              <a:t>Разделение технической зоны P1. Национальное законодательство, политика и финансирование на две технические области (P1. Правовые инструменты и P2. Финансирование) </a:t>
            </a:r>
          </a:p>
          <a:p>
            <a:pPr marL="214303" indent="-214303" defTabSz="685768">
              <a:buClr>
                <a:srgbClr val="000000"/>
              </a:buClr>
              <a:buFont typeface="Arial" panose="020B0604020202020204" pitchFamily="34" charset="0"/>
              <a:buChar char="•"/>
            </a:pPr>
            <a:r>
              <a:rPr lang="ru-RU" sz="1050" i="1" kern="0" dirty="0">
                <a:solidFill>
                  <a:srgbClr val="000000"/>
                </a:solidFill>
                <a:latin typeface="Arial"/>
                <a:cs typeface="Arial"/>
                <a:sym typeface="Arial"/>
              </a:rPr>
              <a:t>Удаление технической зоны, ранее называвшейся D3. Отчетность и перенос показателей в техническую зону Р3. координация по ММСП, национальный координатор по ММСП и </a:t>
            </a:r>
            <a:r>
              <a:rPr lang="ru-RU" sz="1050" i="1" kern="0" dirty="0" err="1">
                <a:solidFill>
                  <a:srgbClr val="000000"/>
                </a:solidFill>
                <a:latin typeface="Arial"/>
                <a:cs typeface="Arial"/>
                <a:sym typeface="Arial"/>
              </a:rPr>
              <a:t>адвокация</a:t>
            </a:r>
            <a:r>
              <a:rPr lang="ru-RU" sz="1050" i="1" kern="0" dirty="0">
                <a:solidFill>
                  <a:srgbClr val="000000"/>
                </a:solidFill>
                <a:latin typeface="Arial"/>
                <a:cs typeface="Arial"/>
                <a:sym typeface="Arial"/>
              </a:rPr>
              <a:t>;</a:t>
            </a:r>
          </a:p>
          <a:p>
            <a:pPr marL="214303" indent="-214303" defTabSz="685768">
              <a:buClr>
                <a:srgbClr val="000000"/>
              </a:buClr>
              <a:buFont typeface="Arial" panose="020B0604020202020204" pitchFamily="34" charset="0"/>
              <a:buChar char="•"/>
            </a:pPr>
            <a:r>
              <a:rPr lang="ru-RU" sz="1050" i="1" kern="0" dirty="0">
                <a:solidFill>
                  <a:srgbClr val="000000"/>
                </a:solidFill>
                <a:latin typeface="Arial"/>
                <a:cs typeface="Arial"/>
                <a:sym typeface="Arial"/>
              </a:rPr>
              <a:t>Объединение двух предыдущих технических областей (R1. Готовность к ЧС и R2. Аварийный оперативный штаб) в одну под названием R1. Управление чрезвычайными ситуациями в области здравоохранения.</a:t>
            </a:r>
            <a:endParaRPr lang="en-PH" sz="1050" i="1" kern="0" dirty="0">
              <a:solidFill>
                <a:srgbClr val="000000"/>
              </a:solidFill>
              <a:latin typeface="Arial"/>
              <a:cs typeface="Arial"/>
              <a:sym typeface="Arial"/>
            </a:endParaRPr>
          </a:p>
        </p:txBody>
      </p:sp>
      <p:sp>
        <p:nvSpPr>
          <p:cNvPr id="15" name="Title 1">
            <a:extLst>
              <a:ext uri="{FF2B5EF4-FFF2-40B4-BE49-F238E27FC236}">
                <a16:creationId xmlns:a16="http://schemas.microsoft.com/office/drawing/2014/main" id="{A9E97594-0C2A-4B8B-8C06-C93158D428F8}"/>
              </a:ext>
            </a:extLst>
          </p:cNvPr>
          <p:cNvSpPr>
            <a:spLocks noGrp="1"/>
          </p:cNvSpPr>
          <p:nvPr>
            <p:ph type="title"/>
          </p:nvPr>
        </p:nvSpPr>
        <p:spPr>
          <a:xfrm>
            <a:off x="457199" y="435151"/>
            <a:ext cx="11277600" cy="1004888"/>
          </a:xfrm>
        </p:spPr>
        <p:txBody>
          <a:bodyPr/>
          <a:lstStyle/>
          <a:p>
            <a:r>
              <a:rPr lang="ru-RU" dirty="0"/>
              <a:t>Совместная внешняя оценка, 3-е издание (19 технических областей,  56 показателей)</a:t>
            </a:r>
            <a:endParaRPr lang="en-US" dirty="0"/>
          </a:p>
        </p:txBody>
      </p:sp>
      <p:sp>
        <p:nvSpPr>
          <p:cNvPr id="2" name="TextBox 1">
            <a:extLst>
              <a:ext uri="{FF2B5EF4-FFF2-40B4-BE49-F238E27FC236}">
                <a16:creationId xmlns:a16="http://schemas.microsoft.com/office/drawing/2014/main" id="{EBA5010F-F0AE-B84A-ACF8-46095E31F0E2}"/>
              </a:ext>
            </a:extLst>
          </p:cNvPr>
          <p:cNvSpPr txBox="1"/>
          <p:nvPr/>
        </p:nvSpPr>
        <p:spPr>
          <a:xfrm>
            <a:off x="3369822" y="5866537"/>
            <a:ext cx="5625609" cy="584775"/>
          </a:xfrm>
          <a:prstGeom prst="rect">
            <a:avLst/>
          </a:prstGeom>
          <a:noFill/>
        </p:spPr>
        <p:txBody>
          <a:bodyPr wrap="square" rtlCol="0">
            <a:spAutoFit/>
          </a:bodyPr>
          <a:lstStyle/>
          <a:p>
            <a:r>
              <a:rPr lang="ru-RU" sz="1600" i="1" dirty="0"/>
              <a:t>Исследование СВО ВОЗ по Европейскому региону</a:t>
            </a:r>
            <a:endParaRPr lang="en-GB" sz="1600" i="1" dirty="0"/>
          </a:p>
          <a:p>
            <a:r>
              <a:rPr lang="en-GB" sz="1600" i="1" dirty="0"/>
              <a:t>https://apps.who.int/iris/handle/10665/345630</a:t>
            </a:r>
            <a:endParaRPr lang="en-FI" sz="1600" i="1" dirty="0"/>
          </a:p>
        </p:txBody>
      </p:sp>
    </p:spTree>
    <p:extLst>
      <p:ext uri="{BB962C8B-B14F-4D97-AF65-F5344CB8AC3E}">
        <p14:creationId xmlns:p14="http://schemas.microsoft.com/office/powerpoint/2010/main" val="4013212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428936-261E-437F-8BA8-C4C2B2B3A8C5}"/>
              </a:ext>
            </a:extLst>
          </p:cNvPr>
          <p:cNvPicPr>
            <a:picLocks noChangeAspect="1"/>
          </p:cNvPicPr>
          <p:nvPr/>
        </p:nvPicPr>
        <p:blipFill>
          <a:blip r:embed="rId3"/>
          <a:stretch>
            <a:fillRect/>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8989111D-73CF-456C-8104-890EBF6D0371}"/>
              </a:ext>
            </a:extLst>
          </p:cNvPr>
          <p:cNvSpPr>
            <a:spLocks noGrp="1"/>
          </p:cNvSpPr>
          <p:nvPr>
            <p:ph type="sldNum" sz="quarter" idx="12"/>
          </p:nvPr>
        </p:nvSpPr>
        <p:spPr/>
        <p:txBody>
          <a:bodyPr/>
          <a:lstStyle/>
          <a:p>
            <a:fld id="{714BF2E0-EE3B-6A4E-9FB9-82DE86E1F02F}" type="slidenum">
              <a:rPr lang="en-US" smtClean="0"/>
              <a:pPr/>
              <a:t>7</a:t>
            </a:fld>
            <a:endParaRPr lang="en-US"/>
          </a:p>
        </p:txBody>
      </p:sp>
      <mc:AlternateContent xmlns:mc="http://schemas.openxmlformats.org/markup-compatibility/2006" xmlns:cx4="http://schemas.microsoft.com/office/drawing/2016/5/10/chartex">
        <mc:Choice Requires="cx4">
          <p:graphicFrame>
            <p:nvGraphicFramePr>
              <p:cNvPr id="6" name="Gráfico 2">
                <a:extLst>
                  <a:ext uri="{FF2B5EF4-FFF2-40B4-BE49-F238E27FC236}">
                    <a16:creationId xmlns:a16="http://schemas.microsoft.com/office/drawing/2014/main" id="{D0D62EA9-0518-C34F-A511-EC387608BDAA}"/>
                  </a:ext>
                </a:extLst>
              </p:cNvPr>
              <p:cNvGraphicFramePr>
                <a:graphicFrameLocks noGrp="1"/>
              </p:cNvGraphicFramePr>
              <p:nvPr>
                <p:ph idx="1"/>
                <p:extLst>
                  <p:ext uri="{D42A27DB-BD31-4B8C-83A1-F6EECF244321}">
                    <p14:modId xmlns:p14="http://schemas.microsoft.com/office/powerpoint/2010/main" val="1788288997"/>
                  </p:ext>
                </p:extLst>
              </p:nvPr>
            </p:nvGraphicFramePr>
            <p:xfrm>
              <a:off x="0" y="0"/>
              <a:ext cx="12192000" cy="685799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Gráfico 2">
                <a:extLst>
                  <a:ext uri="{FF2B5EF4-FFF2-40B4-BE49-F238E27FC236}">
                    <a16:creationId xmlns:a16="http://schemas.microsoft.com/office/drawing/2014/main" id="{D0D62EA9-0518-C34F-A511-EC387608BDAA}"/>
                  </a:ext>
                </a:extLst>
              </p:cNvPr>
              <p:cNvPicPr>
                <a:picLocks noGrp="1" noRot="1" noChangeAspect="1" noMove="1" noResize="1" noEditPoints="1" noAdjustHandles="1" noChangeArrowheads="1" noChangeShapeType="1"/>
              </p:cNvPicPr>
              <p:nvPr/>
            </p:nvPicPr>
            <p:blipFill>
              <a:blip r:embed="rId5"/>
              <a:stretch>
                <a:fillRect/>
              </a:stretch>
            </p:blipFill>
            <p:spPr>
              <a:xfrm>
                <a:off x="0" y="0"/>
                <a:ext cx="12192000" cy="6857999"/>
              </a:xfrm>
              <a:prstGeom prst="rect">
                <a:avLst/>
              </a:prstGeom>
            </p:spPr>
          </p:pic>
        </mc:Fallback>
      </mc:AlternateContent>
      <p:sp>
        <p:nvSpPr>
          <p:cNvPr id="9" name="Title 1">
            <a:extLst>
              <a:ext uri="{FF2B5EF4-FFF2-40B4-BE49-F238E27FC236}">
                <a16:creationId xmlns:a16="http://schemas.microsoft.com/office/drawing/2014/main" id="{95A99C8C-4EBF-4162-9E7B-9C328578B629}"/>
              </a:ext>
            </a:extLst>
          </p:cNvPr>
          <p:cNvSpPr>
            <a:spLocks noGrp="1"/>
          </p:cNvSpPr>
          <p:nvPr>
            <p:ph type="title"/>
          </p:nvPr>
        </p:nvSpPr>
        <p:spPr>
          <a:xfrm>
            <a:off x="457200" y="685800"/>
            <a:ext cx="11277600" cy="1004888"/>
          </a:xfrm>
        </p:spPr>
        <p:txBody>
          <a:bodyPr/>
          <a:lstStyle/>
          <a:p>
            <a:r>
              <a:rPr lang="ru-RU" dirty="0"/>
              <a:t>Совместные внешние оценки в Европейском регионе ВОЗ</a:t>
            </a:r>
            <a:endParaRPr lang="en-US" dirty="0"/>
          </a:p>
        </p:txBody>
      </p:sp>
      <p:sp>
        <p:nvSpPr>
          <p:cNvPr id="10" name="Rounded Rectangle 8">
            <a:extLst>
              <a:ext uri="{FF2B5EF4-FFF2-40B4-BE49-F238E27FC236}">
                <a16:creationId xmlns:a16="http://schemas.microsoft.com/office/drawing/2014/main" id="{70505BCC-C432-43DC-B642-BBCA0278B2C5}"/>
              </a:ext>
            </a:extLst>
          </p:cNvPr>
          <p:cNvSpPr/>
          <p:nvPr/>
        </p:nvSpPr>
        <p:spPr>
          <a:xfrm>
            <a:off x="0" y="2143750"/>
            <a:ext cx="5028806" cy="437725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tLang="en-US" i="1" dirty="0">
              <a:solidFill>
                <a:schemeClr val="tx1"/>
              </a:solidFill>
            </a:endParaRPr>
          </a:p>
          <a:p>
            <a:pPr algn="ctr"/>
            <a:endParaRPr lang="en-US" altLang="en-US" i="1" dirty="0">
              <a:solidFill>
                <a:schemeClr val="tx1"/>
              </a:solidFill>
            </a:endParaRPr>
          </a:p>
          <a:p>
            <a:pPr algn="ctr"/>
            <a:endParaRPr lang="en-US" altLang="en-US" i="1" dirty="0">
              <a:solidFill>
                <a:schemeClr val="tx1"/>
              </a:solidFill>
            </a:endParaRPr>
          </a:p>
          <a:p>
            <a:pPr algn="ctr"/>
            <a:endParaRPr lang="en-US" altLang="en-US" i="1" dirty="0">
              <a:solidFill>
                <a:schemeClr val="tx1"/>
              </a:solidFill>
            </a:endParaRPr>
          </a:p>
          <a:p>
            <a:pPr algn="r"/>
            <a:r>
              <a:rPr lang="en-US" altLang="en-US" i="1" dirty="0">
                <a:solidFill>
                  <a:schemeClr val="tx1"/>
                </a:solidFill>
              </a:rPr>
              <a:t>				</a:t>
            </a:r>
          </a:p>
          <a:p>
            <a:pPr algn="r"/>
            <a:endParaRPr lang="en-US" altLang="en-US" i="1" dirty="0">
              <a:solidFill>
                <a:schemeClr val="tx1"/>
              </a:solidFill>
            </a:endParaRPr>
          </a:p>
          <a:p>
            <a:pPr algn="r"/>
            <a:endParaRPr lang="en-US" altLang="en-US" i="1" dirty="0">
              <a:solidFill>
                <a:schemeClr val="tx1"/>
              </a:solidFill>
            </a:endParaRPr>
          </a:p>
          <a:p>
            <a:pPr algn="r"/>
            <a:endParaRPr lang="en-US" altLang="en-US" i="1" dirty="0">
              <a:solidFill>
                <a:schemeClr val="tx1"/>
              </a:solidFill>
            </a:endParaRPr>
          </a:p>
          <a:p>
            <a:pPr algn="r"/>
            <a:endParaRPr lang="en-US" altLang="en-US" i="1" dirty="0">
              <a:solidFill>
                <a:schemeClr val="tx1"/>
              </a:solidFill>
            </a:endParaRPr>
          </a:p>
          <a:p>
            <a:pPr algn="r"/>
            <a:r>
              <a:rPr lang="en-US" altLang="en-US" i="1" dirty="0">
                <a:solidFill>
                  <a:schemeClr val="tx1"/>
                </a:solidFill>
              </a:rPr>
              <a:t>				</a:t>
            </a:r>
            <a:r>
              <a:rPr lang="ru-RU" altLang="en-US" i="1" dirty="0">
                <a:solidFill>
                  <a:schemeClr val="tx1"/>
                </a:solidFill>
              </a:rPr>
              <a:t>Глобально</a:t>
            </a:r>
            <a:r>
              <a:rPr lang="en-US" altLang="en-US" i="1" dirty="0">
                <a:solidFill>
                  <a:schemeClr val="tx1"/>
                </a:solidFill>
              </a:rPr>
              <a:t>:</a:t>
            </a:r>
          </a:p>
          <a:p>
            <a:pPr algn="r"/>
            <a:r>
              <a:rPr lang="en-US" altLang="en-US" sz="2000" b="1" i="1" dirty="0">
                <a:solidFill>
                  <a:schemeClr val="tx1"/>
                </a:solidFill>
              </a:rPr>
              <a:t>			 116 </a:t>
            </a:r>
            <a:r>
              <a:rPr lang="ru-RU" altLang="en-US" sz="2000" b="1" i="1" dirty="0">
                <a:solidFill>
                  <a:schemeClr val="tx1"/>
                </a:solidFill>
              </a:rPr>
              <a:t>стран</a:t>
            </a:r>
            <a:r>
              <a:rPr lang="en-US" altLang="en-US" sz="2000" b="1" i="1" dirty="0">
                <a:solidFill>
                  <a:schemeClr val="tx1"/>
                </a:solidFill>
              </a:rPr>
              <a:t> </a:t>
            </a:r>
          </a:p>
          <a:p>
            <a:pPr algn="r"/>
            <a:r>
              <a:rPr lang="en-US" altLang="en-US" sz="2000" b="1" i="1" dirty="0">
                <a:solidFill>
                  <a:schemeClr val="tx1"/>
                </a:solidFill>
              </a:rPr>
              <a:t>+11 </a:t>
            </a:r>
            <a:r>
              <a:rPr lang="ru-RU" altLang="en-US" sz="2000" b="1" i="1" dirty="0">
                <a:solidFill>
                  <a:schemeClr val="tx1"/>
                </a:solidFill>
              </a:rPr>
              <a:t>на подходе</a:t>
            </a:r>
            <a:endParaRPr lang="en-US" b="1" dirty="0">
              <a:solidFill>
                <a:schemeClr val="tx1"/>
              </a:solidFill>
            </a:endParaRPr>
          </a:p>
        </p:txBody>
      </p:sp>
      <p:sp>
        <p:nvSpPr>
          <p:cNvPr id="13" name="TextBox 12">
            <a:extLst>
              <a:ext uri="{FF2B5EF4-FFF2-40B4-BE49-F238E27FC236}">
                <a16:creationId xmlns:a16="http://schemas.microsoft.com/office/drawing/2014/main" id="{9C6FAEC0-FE1F-4CCC-91E5-45D2CEC3B14A}"/>
              </a:ext>
            </a:extLst>
          </p:cNvPr>
          <p:cNvSpPr txBox="1"/>
          <p:nvPr/>
        </p:nvSpPr>
        <p:spPr>
          <a:xfrm>
            <a:off x="7193533" y="1107265"/>
            <a:ext cx="3179911" cy="5977265"/>
          </a:xfrm>
          <a:prstGeom prst="roundRect">
            <a:avLst/>
          </a:prstGeom>
          <a:noFill/>
        </p:spPr>
        <p:txBody>
          <a:bodyPr wrap="square">
            <a:spAutoFit/>
          </a:bodyPr>
          <a:lstStyle/>
          <a:p>
            <a:pPr>
              <a:defRPr/>
            </a:pPr>
            <a:r>
              <a:rPr lang="ru-RU" b="1" dirty="0"/>
              <a:t>Завершенные СВО </a:t>
            </a:r>
            <a:r>
              <a:rPr lang="en-US" b="1" dirty="0"/>
              <a:t>(20)</a:t>
            </a:r>
          </a:p>
          <a:p>
            <a:pPr>
              <a:defRPr/>
            </a:pPr>
            <a:endParaRPr lang="en-US" sz="1050" b="1" dirty="0"/>
          </a:p>
          <a:p>
            <a:pPr marL="342900" indent="-342900">
              <a:buFont typeface="+mj-lt"/>
              <a:buAutoNum type="arabicPeriod"/>
              <a:defRPr/>
            </a:pPr>
            <a:r>
              <a:rPr lang="ru-RU" sz="1600" dirty="0"/>
              <a:t>Албания</a:t>
            </a:r>
            <a:r>
              <a:rPr lang="en-US" sz="1600" dirty="0"/>
              <a:t>, 2016</a:t>
            </a:r>
          </a:p>
          <a:p>
            <a:pPr marL="342900" indent="-342900">
              <a:buFont typeface="+mj-lt"/>
              <a:buAutoNum type="arabicPeriod"/>
              <a:defRPr/>
            </a:pPr>
            <a:r>
              <a:rPr lang="ru-RU" sz="1600" dirty="0"/>
              <a:t>Армения</a:t>
            </a:r>
            <a:r>
              <a:rPr lang="en-US" sz="1600" dirty="0"/>
              <a:t>, 2016</a:t>
            </a:r>
          </a:p>
          <a:p>
            <a:pPr marL="342900" indent="-342900">
              <a:buFont typeface="+mj-lt"/>
              <a:buAutoNum type="arabicPeriod"/>
              <a:defRPr/>
            </a:pPr>
            <a:r>
              <a:rPr lang="ru-RU" sz="1600" dirty="0"/>
              <a:t>Бельгия</a:t>
            </a:r>
            <a:r>
              <a:rPr lang="en-US" sz="1600" dirty="0"/>
              <a:t>, 2017</a:t>
            </a:r>
          </a:p>
          <a:p>
            <a:pPr marL="342900" indent="-342900">
              <a:buFont typeface="+mj-lt"/>
              <a:buAutoNum type="arabicPeriod"/>
              <a:defRPr/>
            </a:pPr>
            <a:r>
              <a:rPr lang="ru-RU" sz="1600" dirty="0"/>
              <a:t>Финляндия</a:t>
            </a:r>
            <a:r>
              <a:rPr lang="en-US" sz="1600" dirty="0"/>
              <a:t>, 2017</a:t>
            </a:r>
          </a:p>
          <a:p>
            <a:pPr marL="342900" indent="-342900">
              <a:buFont typeface="+mj-lt"/>
              <a:buAutoNum type="arabicPeriod"/>
              <a:defRPr/>
            </a:pPr>
            <a:r>
              <a:rPr lang="ru-RU" sz="1600" dirty="0"/>
              <a:t>Кыргызстан</a:t>
            </a:r>
            <a:r>
              <a:rPr lang="en-US" sz="1600" dirty="0"/>
              <a:t>, 2016</a:t>
            </a:r>
          </a:p>
          <a:p>
            <a:pPr marL="342900" indent="-342900">
              <a:buFont typeface="+mj-lt"/>
              <a:buAutoNum type="arabicPeriod"/>
              <a:defRPr/>
            </a:pPr>
            <a:r>
              <a:rPr lang="ru-RU" sz="1600" dirty="0"/>
              <a:t>Латвия</a:t>
            </a:r>
            <a:r>
              <a:rPr lang="en-US" sz="1600" dirty="0"/>
              <a:t>, 2017</a:t>
            </a:r>
          </a:p>
          <a:p>
            <a:pPr marL="342900" indent="-342900">
              <a:buFont typeface="+mj-lt"/>
              <a:buAutoNum type="arabicPeriod"/>
              <a:defRPr/>
            </a:pPr>
            <a:r>
              <a:rPr lang="ru-RU" sz="1600" dirty="0"/>
              <a:t>Лихтенштейн</a:t>
            </a:r>
            <a:r>
              <a:rPr lang="en-US" sz="1600" dirty="0"/>
              <a:t>, 2017</a:t>
            </a:r>
          </a:p>
          <a:p>
            <a:pPr marL="342900" indent="-342900">
              <a:buFont typeface="+mj-lt"/>
              <a:buAutoNum type="arabicPeriod"/>
              <a:defRPr/>
            </a:pPr>
            <a:r>
              <a:rPr lang="ru-RU" sz="1600" dirty="0"/>
              <a:t>Словения</a:t>
            </a:r>
            <a:r>
              <a:rPr lang="en-US" sz="1600" dirty="0"/>
              <a:t>, 2017</a:t>
            </a:r>
          </a:p>
          <a:p>
            <a:pPr marL="342900" indent="-342900">
              <a:buFont typeface="+mj-lt"/>
              <a:buAutoNum type="arabicPeriod"/>
              <a:defRPr/>
            </a:pPr>
            <a:r>
              <a:rPr lang="ru-RU" sz="1600" dirty="0"/>
              <a:t>Швейцария</a:t>
            </a:r>
            <a:r>
              <a:rPr lang="en-US" sz="1600" dirty="0"/>
              <a:t>, 2017</a:t>
            </a:r>
          </a:p>
          <a:p>
            <a:pPr marL="342900" indent="-342900">
              <a:buFont typeface="+mj-lt"/>
              <a:buAutoNum type="arabicPeriod"/>
              <a:defRPr/>
            </a:pPr>
            <a:r>
              <a:rPr lang="ru-RU" sz="1600" dirty="0"/>
              <a:t>Туркменистан</a:t>
            </a:r>
            <a:r>
              <a:rPr lang="en-US" sz="1600" dirty="0"/>
              <a:t>, 2016</a:t>
            </a:r>
          </a:p>
          <a:p>
            <a:pPr marL="342900" indent="-342900">
              <a:buFont typeface="+mj-lt"/>
              <a:buAutoNum type="arabicPeriod"/>
              <a:defRPr/>
            </a:pPr>
            <a:r>
              <a:rPr lang="ru-RU" sz="1600" dirty="0"/>
              <a:t>Молдов</a:t>
            </a:r>
            <a:r>
              <a:rPr lang="en-US" sz="1600" dirty="0"/>
              <a:t>, 2018</a:t>
            </a:r>
          </a:p>
          <a:p>
            <a:pPr marL="342900" indent="-342900">
              <a:buFont typeface="+mj-lt"/>
              <a:buAutoNum type="arabicPeriod"/>
              <a:defRPr/>
            </a:pPr>
            <a:r>
              <a:rPr lang="ru-RU" sz="1600" dirty="0"/>
              <a:t>Сербия</a:t>
            </a:r>
            <a:r>
              <a:rPr lang="en-US" sz="1600" dirty="0"/>
              <a:t>, 2018</a:t>
            </a:r>
          </a:p>
          <a:p>
            <a:pPr marL="342900" indent="-342900">
              <a:buFont typeface="+mj-lt"/>
              <a:buAutoNum type="arabicPeriod"/>
              <a:defRPr/>
            </a:pPr>
            <a:r>
              <a:rPr lang="ru-RU" sz="1600" dirty="0"/>
              <a:t>Литва</a:t>
            </a:r>
            <a:r>
              <a:rPr lang="en-US" sz="1600" dirty="0"/>
              <a:t>, 2018</a:t>
            </a:r>
          </a:p>
          <a:p>
            <a:pPr marL="342900" indent="-342900">
              <a:buFont typeface="+mj-lt"/>
              <a:buAutoNum type="arabicPeriod"/>
              <a:defRPr/>
            </a:pPr>
            <a:r>
              <a:rPr lang="ru-RU" sz="1600" dirty="0"/>
              <a:t>Северная Македония</a:t>
            </a:r>
            <a:r>
              <a:rPr lang="en-US" sz="1600" dirty="0"/>
              <a:t> 2019</a:t>
            </a:r>
          </a:p>
          <a:p>
            <a:pPr marL="342900" indent="-342900">
              <a:buFont typeface="+mj-lt"/>
              <a:buAutoNum type="arabicPeriod"/>
              <a:defRPr/>
            </a:pPr>
            <a:r>
              <a:rPr lang="ru-RU" sz="1600" dirty="0"/>
              <a:t>Черногория</a:t>
            </a:r>
            <a:r>
              <a:rPr lang="en-US" sz="1600" dirty="0"/>
              <a:t>, 2019</a:t>
            </a:r>
          </a:p>
          <a:p>
            <a:pPr marL="342900" indent="-342900">
              <a:buFont typeface="+mj-lt"/>
              <a:buAutoNum type="arabicPeriod"/>
              <a:defRPr/>
            </a:pPr>
            <a:r>
              <a:rPr lang="ru-RU" sz="1600" dirty="0"/>
              <a:t>Грузия</a:t>
            </a:r>
            <a:r>
              <a:rPr lang="en-US" sz="1600" dirty="0"/>
              <a:t>, 2019</a:t>
            </a:r>
          </a:p>
          <a:p>
            <a:pPr marL="342900" indent="-342900">
              <a:buFont typeface="+mj-lt"/>
              <a:buAutoNum type="arabicPeriod"/>
              <a:defRPr/>
            </a:pPr>
            <a:r>
              <a:rPr lang="ru-RU" sz="1600" dirty="0"/>
              <a:t>Таджикистан</a:t>
            </a:r>
            <a:r>
              <a:rPr lang="en-US" sz="1600" dirty="0"/>
              <a:t>, 2019</a:t>
            </a:r>
          </a:p>
          <a:p>
            <a:pPr marL="342900" indent="-342900">
              <a:buFont typeface="+mj-lt"/>
              <a:buAutoNum type="arabicPeriod"/>
              <a:defRPr/>
            </a:pPr>
            <a:r>
              <a:rPr lang="ru-RU" sz="1600" dirty="0"/>
              <a:t>Германия</a:t>
            </a:r>
            <a:r>
              <a:rPr lang="en-US" sz="1600" dirty="0"/>
              <a:t>, 2019</a:t>
            </a:r>
          </a:p>
          <a:p>
            <a:pPr marL="342900" indent="-342900">
              <a:buFont typeface="+mj-lt"/>
              <a:buAutoNum type="arabicPeriod"/>
              <a:defRPr/>
            </a:pPr>
            <a:r>
              <a:rPr lang="ru-RU" sz="1600" dirty="0"/>
              <a:t>Украина</a:t>
            </a:r>
            <a:r>
              <a:rPr lang="en-US" sz="1600" dirty="0"/>
              <a:t>, 2021</a:t>
            </a:r>
          </a:p>
          <a:p>
            <a:pPr marL="342900" indent="-342900">
              <a:buFont typeface="+mj-lt"/>
              <a:buAutoNum type="arabicPeriod"/>
              <a:defRPr/>
            </a:pPr>
            <a:r>
              <a:rPr lang="ru-RU" sz="1600" dirty="0"/>
              <a:t>Узбекистан</a:t>
            </a:r>
            <a:r>
              <a:rPr lang="en-US" sz="1600" dirty="0"/>
              <a:t>, 2022</a:t>
            </a:r>
          </a:p>
        </p:txBody>
      </p:sp>
      <p:sp>
        <p:nvSpPr>
          <p:cNvPr id="14" name="TextBox 13">
            <a:extLst>
              <a:ext uri="{FF2B5EF4-FFF2-40B4-BE49-F238E27FC236}">
                <a16:creationId xmlns:a16="http://schemas.microsoft.com/office/drawing/2014/main" id="{7979B546-9D40-477E-8404-6622AA00494F}"/>
              </a:ext>
            </a:extLst>
          </p:cNvPr>
          <p:cNvSpPr txBox="1"/>
          <p:nvPr/>
        </p:nvSpPr>
        <p:spPr>
          <a:xfrm>
            <a:off x="9266103" y="1135876"/>
            <a:ext cx="3289781" cy="2587943"/>
          </a:xfrm>
          <a:prstGeom prst="roundRect">
            <a:avLst/>
          </a:prstGeom>
          <a:noFill/>
        </p:spPr>
        <p:txBody>
          <a:bodyPr wrap="square" lIns="91440" tIns="45720" rIns="91440" bIns="45720" anchor="t">
            <a:spAutoFit/>
          </a:bodyPr>
          <a:lstStyle/>
          <a:p>
            <a:pPr algn="ctr">
              <a:defRPr/>
            </a:pPr>
            <a:r>
              <a:rPr lang="ru-RU" b="1" dirty="0"/>
              <a:t>Ожидаемые СВО</a:t>
            </a:r>
            <a:r>
              <a:rPr lang="en-US" b="1" dirty="0"/>
              <a:t> (4)</a:t>
            </a:r>
          </a:p>
          <a:p>
            <a:pPr algn="r" rtl="1">
              <a:defRPr/>
            </a:pPr>
            <a:endParaRPr lang="en-US" sz="1600" dirty="0"/>
          </a:p>
          <a:p>
            <a:pPr marL="581025" indent="-285750">
              <a:buFont typeface="Arial" panose="020B0604020202020204" pitchFamily="34" charset="0"/>
              <a:buChar char="•"/>
              <a:defRPr/>
            </a:pPr>
            <a:r>
              <a:rPr lang="ru-RU" sz="1600" dirty="0"/>
              <a:t>Азербайджан</a:t>
            </a:r>
            <a:endParaRPr lang="en-US" sz="1600" dirty="0">
              <a:cs typeface="Calibri"/>
            </a:endParaRPr>
          </a:p>
          <a:p>
            <a:pPr marL="581025" indent="-285750">
              <a:buFont typeface="Arial" panose="020B0604020202020204" pitchFamily="34" charset="0"/>
              <a:buChar char="•"/>
              <a:defRPr/>
            </a:pPr>
            <a:r>
              <a:rPr lang="ru-RU" sz="1600" dirty="0"/>
              <a:t>Босния и Герцеговина</a:t>
            </a:r>
            <a:endParaRPr lang="en-US" sz="1600" dirty="0">
              <a:cs typeface="Calibri"/>
            </a:endParaRPr>
          </a:p>
          <a:p>
            <a:pPr marL="581025" indent="-285750">
              <a:buFont typeface="Arial" panose="020B0604020202020204" pitchFamily="34" charset="0"/>
              <a:buChar char="•"/>
              <a:defRPr/>
            </a:pPr>
            <a:r>
              <a:rPr lang="en-US" sz="1600" dirty="0">
                <a:ea typeface="+mn-lt"/>
                <a:cs typeface="+mn-lt"/>
              </a:rPr>
              <a:t>Kyrgyzstan</a:t>
            </a:r>
            <a:endParaRPr lang="en-US" sz="1600" dirty="0"/>
          </a:p>
          <a:p>
            <a:pPr marL="581025" indent="-285750">
              <a:buFont typeface="Arial" panose="020B0604020202020204" pitchFamily="34" charset="0"/>
              <a:buChar char="•"/>
              <a:defRPr/>
            </a:pPr>
            <a:r>
              <a:rPr lang="ru-RU" sz="1600" dirty="0"/>
              <a:t>Нидерланды</a:t>
            </a:r>
            <a:r>
              <a:rPr lang="en-US" sz="1600" dirty="0"/>
              <a:t> </a:t>
            </a:r>
            <a:endParaRPr lang="en-US" sz="1600" dirty="0">
              <a:cs typeface="Calibri" panose="020F0502020204030204"/>
            </a:endParaRPr>
          </a:p>
          <a:p>
            <a:pPr marL="581025" indent="-285750">
              <a:buFont typeface="Arial" panose="020B0604020202020204" pitchFamily="34" charset="0"/>
              <a:buChar char="•"/>
              <a:defRPr/>
            </a:pPr>
            <a:r>
              <a:rPr lang="ru-RU" sz="1600" dirty="0"/>
              <a:t>Швеция</a:t>
            </a:r>
            <a:endParaRPr lang="en-US" sz="1600" dirty="0">
              <a:cs typeface="Calibri" panose="020F0502020204030204"/>
            </a:endParaRPr>
          </a:p>
          <a:p>
            <a:pPr marL="285750" indent="-285750" algn="r" rtl="1">
              <a:buFont typeface="Wingdings" panose="05000000000000000000" pitchFamily="2" charset="2"/>
              <a:buChar char="ü"/>
              <a:defRPr/>
            </a:pPr>
            <a:endParaRPr lang="en-US" sz="1600" dirty="0"/>
          </a:p>
          <a:p>
            <a:pPr marL="285750" indent="-285750" algn="r" rtl="1">
              <a:buFont typeface="Wingdings" panose="05000000000000000000" pitchFamily="2" charset="2"/>
              <a:buChar char="ü"/>
              <a:defRPr/>
            </a:pPr>
            <a:endParaRPr lang="en-US" sz="1600" dirty="0"/>
          </a:p>
        </p:txBody>
      </p:sp>
      <p:sp>
        <p:nvSpPr>
          <p:cNvPr id="16" name="Rounded Rectangle 8">
            <a:extLst>
              <a:ext uri="{FF2B5EF4-FFF2-40B4-BE49-F238E27FC236}">
                <a16:creationId xmlns:a16="http://schemas.microsoft.com/office/drawing/2014/main" id="{07A16D58-FCA7-48BA-85DA-1F9610B9F24C}"/>
              </a:ext>
            </a:extLst>
          </p:cNvPr>
          <p:cNvSpPr/>
          <p:nvPr/>
        </p:nvSpPr>
        <p:spPr>
          <a:xfrm>
            <a:off x="190153" y="3075262"/>
            <a:ext cx="2727708" cy="240403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en-US" i="1" dirty="0">
              <a:solidFill>
                <a:schemeClr val="tx1"/>
              </a:solidFill>
            </a:endParaRPr>
          </a:p>
          <a:p>
            <a:pPr algn="ctr"/>
            <a:endParaRPr lang="en-US" altLang="en-US" i="1" dirty="0">
              <a:solidFill>
                <a:schemeClr val="tx1"/>
              </a:solidFill>
            </a:endParaRPr>
          </a:p>
          <a:p>
            <a:pPr algn="ctr"/>
            <a:endParaRPr lang="en-US" altLang="en-US" dirty="0">
              <a:solidFill>
                <a:schemeClr val="tx1"/>
              </a:solidFill>
            </a:endParaRPr>
          </a:p>
          <a:p>
            <a:pPr algn="ctr"/>
            <a:endParaRPr lang="en-US" altLang="en-US" dirty="0">
              <a:solidFill>
                <a:schemeClr val="tx1"/>
              </a:solidFill>
            </a:endParaRPr>
          </a:p>
          <a:p>
            <a:pPr algn="ctr"/>
            <a:endParaRPr lang="en-US" altLang="en-US" dirty="0">
              <a:solidFill>
                <a:schemeClr val="tx1"/>
              </a:solidFill>
            </a:endParaRPr>
          </a:p>
          <a:p>
            <a:pPr algn="ctr"/>
            <a:endParaRPr lang="en-US" altLang="en-US" dirty="0">
              <a:solidFill>
                <a:schemeClr val="tx1"/>
              </a:solidFill>
            </a:endParaRPr>
          </a:p>
          <a:p>
            <a:pPr algn="ctr"/>
            <a:endParaRPr lang="en-US" altLang="en-US" dirty="0">
              <a:solidFill>
                <a:schemeClr val="tx1"/>
              </a:solidFill>
            </a:endParaRPr>
          </a:p>
          <a:p>
            <a:pPr algn="ctr"/>
            <a:endParaRPr lang="en-US" altLang="en-US" sz="1600" dirty="0">
              <a:solidFill>
                <a:schemeClr val="tx1"/>
              </a:solidFill>
            </a:endParaRPr>
          </a:p>
          <a:p>
            <a:r>
              <a:rPr lang="ru-RU" altLang="en-US" sz="1600" dirty="0">
                <a:solidFill>
                  <a:schemeClr val="tx1"/>
                </a:solidFill>
              </a:rPr>
              <a:t>Недавний анализ выводов и рекомендаций СВО по Европе,  опубликованных в 2021г.: </a:t>
            </a:r>
            <a:r>
              <a:rPr lang="en-US" sz="1600" dirty="0">
                <a:solidFill>
                  <a:schemeClr val="accent1"/>
                </a:solidFill>
                <a:hlinkClick r:id="rId6">
                  <a:extLst>
                    <a:ext uri="{A12FA001-AC4F-418D-AE19-62706E023703}">
                      <ahyp:hlinkClr xmlns:ahyp="http://schemas.microsoft.com/office/drawing/2018/hyperlinkcolor" val="tx"/>
                    </a:ext>
                  </a:extLst>
                </a:hlinkClick>
              </a:rPr>
              <a:t>WER27september2021-specialissue-eng-fre.pdf (who.int)</a:t>
            </a:r>
            <a:r>
              <a:rPr lang="en-US" sz="1600" dirty="0">
                <a:solidFill>
                  <a:schemeClr val="accent1"/>
                </a:solidFill>
              </a:rPr>
              <a:t> </a:t>
            </a:r>
            <a:r>
              <a:rPr lang="en-US" altLang="en-US" i="1" dirty="0">
                <a:solidFill>
                  <a:schemeClr val="tx1"/>
                </a:solidFill>
              </a:rPr>
              <a:t>			</a:t>
            </a:r>
          </a:p>
          <a:p>
            <a:pPr algn="r"/>
            <a:endParaRPr lang="en-US" altLang="en-US" i="1" dirty="0">
              <a:solidFill>
                <a:schemeClr val="tx1"/>
              </a:solidFill>
            </a:endParaRPr>
          </a:p>
          <a:p>
            <a:pPr algn="r"/>
            <a:endParaRPr lang="en-US" altLang="en-US" i="1" dirty="0">
              <a:solidFill>
                <a:schemeClr val="tx1"/>
              </a:solidFill>
            </a:endParaRPr>
          </a:p>
          <a:p>
            <a:pPr algn="r"/>
            <a:endParaRPr lang="en-US" altLang="en-US" i="1" dirty="0">
              <a:solidFill>
                <a:schemeClr val="tx1"/>
              </a:solidFill>
            </a:endParaRPr>
          </a:p>
          <a:p>
            <a:pPr algn="r"/>
            <a:endParaRPr lang="en-US" altLang="en-US" i="1" dirty="0">
              <a:solidFill>
                <a:schemeClr val="tx1"/>
              </a:solidFill>
            </a:endParaRPr>
          </a:p>
          <a:p>
            <a:pPr algn="r"/>
            <a:endParaRPr lang="en-US" altLang="en-US" i="1" dirty="0">
              <a:solidFill>
                <a:schemeClr val="tx1"/>
              </a:solidFill>
            </a:endParaRPr>
          </a:p>
          <a:p>
            <a:pPr algn="r"/>
            <a:r>
              <a:rPr lang="en-US" altLang="en-US" i="1" dirty="0">
                <a:solidFill>
                  <a:schemeClr val="tx1"/>
                </a:solidFill>
              </a:rPr>
              <a:t>				</a:t>
            </a:r>
            <a:endParaRPr lang="en-US" b="1" dirty="0">
              <a:solidFill>
                <a:schemeClr val="tx1"/>
              </a:solidFill>
            </a:endParaRPr>
          </a:p>
        </p:txBody>
      </p:sp>
    </p:spTree>
    <p:extLst>
      <p:ext uri="{BB962C8B-B14F-4D97-AF65-F5344CB8AC3E}">
        <p14:creationId xmlns:p14="http://schemas.microsoft.com/office/powerpoint/2010/main" val="16694988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04D74-0123-4D93-914E-0DE37413194E}"/>
              </a:ext>
            </a:extLst>
          </p:cNvPr>
          <p:cNvSpPr>
            <a:spLocks noGrp="1"/>
          </p:cNvSpPr>
          <p:nvPr>
            <p:ph type="title"/>
          </p:nvPr>
        </p:nvSpPr>
        <p:spPr>
          <a:xfrm>
            <a:off x="267181" y="397192"/>
            <a:ext cx="11277600" cy="1004888"/>
          </a:xfrm>
        </p:spPr>
        <p:txBody>
          <a:bodyPr/>
          <a:lstStyle/>
          <a:p>
            <a:r>
              <a:rPr lang="ru-RU" dirty="0"/>
              <a:t>Национальный план действий по охране здоровья (NAPHS)</a:t>
            </a:r>
            <a:endParaRPr lang="en-US" dirty="0"/>
          </a:p>
        </p:txBody>
      </p:sp>
      <p:sp>
        <p:nvSpPr>
          <p:cNvPr id="3" name="Content Placeholder 2">
            <a:extLst>
              <a:ext uri="{FF2B5EF4-FFF2-40B4-BE49-F238E27FC236}">
                <a16:creationId xmlns:a16="http://schemas.microsoft.com/office/drawing/2014/main" id="{52BC38A8-6256-4ACC-9C93-CA3716232140}"/>
              </a:ext>
            </a:extLst>
          </p:cNvPr>
          <p:cNvSpPr>
            <a:spLocks noGrp="1"/>
          </p:cNvSpPr>
          <p:nvPr>
            <p:ph idx="1"/>
          </p:nvPr>
        </p:nvSpPr>
        <p:spPr>
          <a:xfrm>
            <a:off x="457200" y="1402080"/>
            <a:ext cx="5638800" cy="4172903"/>
          </a:xfrm>
        </p:spPr>
        <p:txBody>
          <a:bodyPr>
            <a:normAutofit fontScale="62500" lnSpcReduction="20000"/>
          </a:bodyPr>
          <a:lstStyle/>
          <a:p>
            <a:pPr marL="0" indent="0" algn="ctr">
              <a:buNone/>
            </a:pPr>
            <a:r>
              <a:rPr lang="ru-RU" sz="2800" b="0" i="0" dirty="0">
                <a:solidFill>
                  <a:srgbClr val="3C4245"/>
                </a:solidFill>
                <a:effectLst/>
                <a:latin typeface="Arial" panose="020B0604020202020204" pitchFamily="34" charset="0"/>
              </a:rPr>
              <a:t>Национальный план действий по охране здоровья (NAPHS):</a:t>
            </a:r>
            <a:endParaRPr lang="en-US" sz="2800" b="0" i="0" dirty="0">
              <a:solidFill>
                <a:srgbClr val="3C4245"/>
              </a:solidFill>
              <a:effectLst/>
              <a:latin typeface="Arial" panose="020B0604020202020204" pitchFamily="34" charset="0"/>
            </a:endParaRPr>
          </a:p>
          <a:p>
            <a:pPr marL="0" indent="0" algn="ctr">
              <a:buNone/>
            </a:pPr>
            <a:endParaRPr lang="en-US" sz="2800" b="0" i="0" dirty="0">
              <a:solidFill>
                <a:srgbClr val="3C4245"/>
              </a:solidFill>
              <a:effectLst/>
              <a:latin typeface="Arial" panose="020B0604020202020204" pitchFamily="34" charset="0"/>
            </a:endParaRPr>
          </a:p>
          <a:p>
            <a:pPr marL="0" indent="0" algn="ctr">
              <a:spcBef>
                <a:spcPts val="0"/>
              </a:spcBef>
              <a:buNone/>
            </a:pPr>
            <a:r>
              <a:rPr lang="en-US" sz="2800" b="1" i="0" dirty="0">
                <a:solidFill>
                  <a:schemeClr val="tx2"/>
                </a:solidFill>
                <a:effectLst/>
                <a:latin typeface="Arial" panose="020B0604020202020204" pitchFamily="34" charset="0"/>
              </a:rPr>
              <a:t> </a:t>
            </a:r>
            <a:r>
              <a:rPr lang="ru-RU" sz="2700" b="1" dirty="0">
                <a:solidFill>
                  <a:schemeClr val="tx2"/>
                </a:solidFill>
                <a:latin typeface="Arial" panose="020B0604020202020204" pitchFamily="34" charset="0"/>
              </a:rPr>
              <a:t>многолетний процесс планирования, осуществляемый самой страной, который может ускорить реализацию основных возможностей ММСП и основан на общегосударственном подходе «Единое здоровье для </a:t>
            </a:r>
            <a:r>
              <a:rPr lang="ru-RU" sz="2700" b="1" u="sng" dirty="0">
                <a:solidFill>
                  <a:schemeClr val="tx2"/>
                </a:solidFill>
                <a:latin typeface="Arial" panose="020B0604020202020204" pitchFamily="34" charset="0"/>
              </a:rPr>
              <a:t>всех опасностей</a:t>
            </a:r>
            <a:r>
              <a:rPr lang="ru-RU" sz="2700" b="1" dirty="0">
                <a:solidFill>
                  <a:schemeClr val="tx2"/>
                </a:solidFill>
                <a:latin typeface="Arial" panose="020B0604020202020204" pitchFamily="34" charset="0"/>
              </a:rPr>
              <a:t>». Он отражает национальные приоритеты в области безопасности здоровья, объединяет секторы, определяет партнеров и выделяет ресурсы для развития потенциала безопасности здоровья. </a:t>
            </a:r>
            <a:endParaRPr lang="en-US" sz="2800" b="1" i="0" dirty="0">
              <a:solidFill>
                <a:schemeClr val="tx2"/>
              </a:solidFill>
              <a:effectLst/>
              <a:latin typeface="Arial" panose="020B0604020202020204" pitchFamily="34" charset="0"/>
            </a:endParaRPr>
          </a:p>
          <a:p>
            <a:pPr marL="0" indent="0" algn="ctr">
              <a:buNone/>
            </a:pPr>
            <a:endParaRPr lang="en-US" sz="2800" dirty="0">
              <a:solidFill>
                <a:srgbClr val="3C4245"/>
              </a:solidFill>
              <a:latin typeface="Arial" panose="020B0604020202020204" pitchFamily="34" charset="0"/>
            </a:endParaRPr>
          </a:p>
          <a:p>
            <a:pPr marL="0" indent="0" algn="ctr">
              <a:buNone/>
            </a:pPr>
            <a:endParaRPr lang="en-US" sz="1100" dirty="0"/>
          </a:p>
          <a:p>
            <a:pPr marL="0" indent="0" algn="ctr">
              <a:buNone/>
            </a:pPr>
            <a:r>
              <a:rPr lang="en-US" sz="1100" dirty="0"/>
              <a:t>Definition extracted from: </a:t>
            </a:r>
          </a:p>
          <a:p>
            <a:pPr marL="0" indent="0" algn="ctr">
              <a:buNone/>
            </a:pPr>
            <a:r>
              <a:rPr lang="en-US" sz="1200" b="1" i="0" dirty="0">
                <a:solidFill>
                  <a:srgbClr val="3C4245"/>
                </a:solidFill>
                <a:effectLst/>
                <a:latin typeface="Arial" panose="020B0604020202020204" pitchFamily="34" charset="0"/>
              </a:rPr>
              <a:t>NAPHS for ALL - A Country Implementation Guide for NAPHS</a:t>
            </a:r>
          </a:p>
          <a:p>
            <a:pPr marL="0" indent="0" algn="ctr">
              <a:buNone/>
            </a:pPr>
            <a:r>
              <a:rPr lang="en-US" sz="1000" dirty="0"/>
              <a:t>https://www.who.int/publications/i/item/naphs-for-all---a-country-implementation-guide-for-naphs</a:t>
            </a:r>
          </a:p>
          <a:p>
            <a:pPr marL="129959" indent="-129959">
              <a:buFont typeface="Arial" panose="020B0604020202020204" pitchFamily="34" charset="0"/>
              <a:buChar char="•"/>
            </a:pPr>
            <a:endParaRPr lang="en-US" sz="1600" dirty="0"/>
          </a:p>
        </p:txBody>
      </p:sp>
      <p:sp>
        <p:nvSpPr>
          <p:cNvPr id="5" name="Slide Number Placeholder 4">
            <a:extLst>
              <a:ext uri="{FF2B5EF4-FFF2-40B4-BE49-F238E27FC236}">
                <a16:creationId xmlns:a16="http://schemas.microsoft.com/office/drawing/2014/main" id="{3E6DCAB4-5AB5-46C8-8321-93A27D5B9B4B}"/>
              </a:ext>
            </a:extLst>
          </p:cNvPr>
          <p:cNvSpPr>
            <a:spLocks noGrp="1"/>
          </p:cNvSpPr>
          <p:nvPr>
            <p:ph type="sldNum" sz="quarter" idx="12"/>
          </p:nvPr>
        </p:nvSpPr>
        <p:spPr/>
        <p:txBody>
          <a:bodyPr/>
          <a:lstStyle/>
          <a:p>
            <a:fld id="{714BF2E0-EE3B-6A4E-9FB9-82DE86E1F02F}" type="slidenum">
              <a:rPr lang="en-US" smtClean="0"/>
              <a:pPr/>
              <a:t>8</a:t>
            </a:fld>
            <a:endParaRPr lang="en-US"/>
          </a:p>
        </p:txBody>
      </p:sp>
      <p:pic>
        <p:nvPicPr>
          <p:cNvPr id="6" name="Picture 2">
            <a:extLst>
              <a:ext uri="{FF2B5EF4-FFF2-40B4-BE49-F238E27FC236}">
                <a16:creationId xmlns:a16="http://schemas.microsoft.com/office/drawing/2014/main" id="{8E4B8084-2958-4678-98CF-3F4024848E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8267" y="2142561"/>
            <a:ext cx="4515239" cy="44833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C87C1C4-564A-4739-87F9-EF357F06C7DA}"/>
              </a:ext>
            </a:extLst>
          </p:cNvPr>
          <p:cNvPicPr>
            <a:picLocks noChangeAspect="1"/>
          </p:cNvPicPr>
          <p:nvPr/>
        </p:nvPicPr>
        <p:blipFill>
          <a:blip r:embed="rId4"/>
          <a:stretch>
            <a:fillRect/>
          </a:stretch>
        </p:blipFill>
        <p:spPr>
          <a:xfrm>
            <a:off x="9970708" y="773423"/>
            <a:ext cx="2010129" cy="25077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763515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14D3E-18B4-452F-83F9-5684426FF2BE}"/>
              </a:ext>
            </a:extLst>
          </p:cNvPr>
          <p:cNvSpPr>
            <a:spLocks noGrp="1"/>
          </p:cNvSpPr>
          <p:nvPr>
            <p:ph type="title"/>
          </p:nvPr>
        </p:nvSpPr>
        <p:spPr>
          <a:xfrm>
            <a:off x="414527" y="-321769"/>
            <a:ext cx="8046721" cy="1033819"/>
          </a:xfrm>
        </p:spPr>
        <p:txBody>
          <a:bodyPr vert="horz" lIns="91440" tIns="45720" rIns="91440" bIns="45720" rtlCol="0" anchor="b">
            <a:normAutofit fontScale="90000"/>
          </a:bodyPr>
          <a:lstStyle/>
          <a:p>
            <a:pPr>
              <a:lnSpc>
                <a:spcPct val="90000"/>
              </a:lnSpc>
            </a:pPr>
            <a:r>
              <a:rPr lang="ru-RU" sz="4000" kern="1200" dirty="0">
                <a:latin typeface="+mj-lt"/>
                <a:ea typeface="+mj-ea"/>
                <a:cs typeface="+mj-cs"/>
              </a:rPr>
              <a:t>Стратегия ВОЗ NAPHS на 2022–2026 гг.</a:t>
            </a:r>
            <a:endParaRPr lang="en-US" sz="4000" kern="1200" dirty="0">
              <a:latin typeface="+mj-lt"/>
              <a:ea typeface="+mj-ea"/>
              <a:cs typeface="+mj-cs"/>
            </a:endParaRPr>
          </a:p>
        </p:txBody>
      </p:sp>
      <p:sp>
        <p:nvSpPr>
          <p:cNvPr id="4" name="Slide Number Placeholder 3">
            <a:extLst>
              <a:ext uri="{FF2B5EF4-FFF2-40B4-BE49-F238E27FC236}">
                <a16:creationId xmlns:a16="http://schemas.microsoft.com/office/drawing/2014/main" id="{63EFA781-F457-448D-B243-3029F6B705B8}"/>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2E375D5-DD51-4DDF-87E6-FA82A457ECD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Content Placeholder 5">
            <a:extLst>
              <a:ext uri="{FF2B5EF4-FFF2-40B4-BE49-F238E27FC236}">
                <a16:creationId xmlns:a16="http://schemas.microsoft.com/office/drawing/2014/main" id="{3C9789FC-51B8-2B14-9DB3-0C9D6C78B202}"/>
              </a:ext>
            </a:extLst>
          </p:cNvPr>
          <p:cNvSpPr>
            <a:spLocks noGrp="1"/>
          </p:cNvSpPr>
          <p:nvPr>
            <p:ph idx="1"/>
          </p:nvPr>
        </p:nvSpPr>
        <p:spPr>
          <a:xfrm>
            <a:off x="381000" y="2096049"/>
            <a:ext cx="10972800" cy="2194597"/>
          </a:xfrm>
        </p:spPr>
        <p:txBody>
          <a:bodyPr>
            <a:normAutofit lnSpcReduction="10000"/>
          </a:bodyPr>
          <a:lstStyle/>
          <a:p>
            <a:pPr marL="0" indent="0" algn="ctr">
              <a:buNone/>
            </a:pPr>
            <a:endParaRPr lang="en-US" dirty="0">
              <a:solidFill>
                <a:srgbClr val="3C4245"/>
              </a:solidFill>
              <a:latin typeface="Arial" panose="020B0604020202020204" pitchFamily="34" charset="0"/>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lang="ru-RU" dirty="0">
                <a:solidFill>
                  <a:srgbClr val="3C4245"/>
                </a:solidFill>
                <a:latin typeface="Arial" panose="020B0604020202020204" pitchFamily="34" charset="0"/>
              </a:rPr>
              <a:t>Стратегия определяет концепцию и структуру Всемирной организации здравоохранения (ВОЗ) для поддержки национальных заинтересованных сторон в </a:t>
            </a:r>
            <a:r>
              <a:rPr lang="ru-RU" b="1" dirty="0">
                <a:solidFill>
                  <a:srgbClr val="3C4245"/>
                </a:solidFill>
                <a:latin typeface="Arial" panose="020B0604020202020204" pitchFamily="34" charset="0"/>
              </a:rPr>
              <a:t>ускорении разработки, реализации и мониторинга Национальных планов действий по охране здоровья</a:t>
            </a:r>
            <a:r>
              <a:rPr lang="ru-RU" dirty="0">
                <a:solidFill>
                  <a:srgbClr val="3C4245"/>
                </a:solidFill>
                <a:latin typeface="Arial" panose="020B0604020202020204" pitchFamily="34" charset="0"/>
              </a:rPr>
              <a:t> (NAPHS) на 2022–2026 годы.</a:t>
            </a:r>
          </a:p>
          <a:p>
            <a:pPr marL="0" indent="0" algn="ctr">
              <a:buNone/>
            </a:pPr>
            <a:endParaRPr lang="en-US" sz="1600" dirty="0"/>
          </a:p>
        </p:txBody>
      </p:sp>
      <p:sp>
        <p:nvSpPr>
          <p:cNvPr id="7" name="Rectangle 6">
            <a:extLst>
              <a:ext uri="{FF2B5EF4-FFF2-40B4-BE49-F238E27FC236}">
                <a16:creationId xmlns:a16="http://schemas.microsoft.com/office/drawing/2014/main" id="{D6000C63-AB55-A8A1-8462-3F4866535D5C}"/>
              </a:ext>
            </a:extLst>
          </p:cNvPr>
          <p:cNvSpPr/>
          <p:nvPr/>
        </p:nvSpPr>
        <p:spPr>
          <a:xfrm>
            <a:off x="830094" y="2503252"/>
            <a:ext cx="10583693" cy="2133600"/>
          </a:xfrm>
          <a:prstGeom prst="rect">
            <a:avLst/>
          </a:prstGeom>
          <a:ln>
            <a:noFill/>
          </a:ln>
        </p:spPr>
        <p:txBody>
          <a:bodyPr wrap="square" numCol="2" rtlCol="0" anchor="ctr">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2400" b="1" i="0" u="none" strike="noStrike" kern="1200" cap="none" spc="0" normalizeH="0" baseline="0" noProof="0">
              <a:ln>
                <a:noFill/>
              </a:ln>
              <a:solidFill>
                <a:prstClr val="black">
                  <a:lumMod val="65000"/>
                  <a:lumOff val="35000"/>
                </a:prstClr>
              </a:solidFill>
              <a:effectLst/>
              <a:uLnTx/>
              <a:uFillTx/>
              <a:latin typeface="Segoe Condensed" panose="020B0606040200020203" pitchFamily="34" charset="0"/>
              <a:ea typeface="+mn-ea"/>
              <a:cs typeface="+mn-cs"/>
            </a:endParaRPr>
          </a:p>
        </p:txBody>
      </p:sp>
    </p:spTree>
    <p:extLst>
      <p:ext uri="{BB962C8B-B14F-4D97-AF65-F5344CB8AC3E}">
        <p14:creationId xmlns:p14="http://schemas.microsoft.com/office/powerpoint/2010/main" val="32672346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SHAPENAME" val="5. Source"/>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5. Sourc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7.xml><?xml version="1.0" encoding="utf-8"?>
<p:tagLst xmlns:a="http://schemas.openxmlformats.org/drawingml/2006/main" xmlns:r="http://schemas.openxmlformats.org/officeDocument/2006/relationships" xmlns:p="http://schemas.openxmlformats.org/presentationml/2006/main">
  <p:tag name="SHAPENAME" val="Subtitle"/>
</p:tagLst>
</file>

<file path=ppt/tags/tag148.xml><?xml version="1.0" encoding="utf-8"?>
<p:tagLst xmlns:a="http://schemas.openxmlformats.org/drawingml/2006/main" xmlns:r="http://schemas.openxmlformats.org/officeDocument/2006/relationships" xmlns:p="http://schemas.openxmlformats.org/presentationml/2006/main">
  <p:tag name="SHAPENAME" val="Titl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NAME" val="ACET"/>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ANGLE" val="5"/>
</p:tagLst>
</file>

<file path=ppt/tags/tag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0.xml><?xml version="1.0" encoding="utf-8"?>
<p:tagLst xmlns:a="http://schemas.openxmlformats.org/drawingml/2006/main" xmlns:r="http://schemas.openxmlformats.org/officeDocument/2006/relationships" xmlns:p="http://schemas.openxmlformats.org/presentationml/2006/main">
  <p:tag name="ANGLE" val="5"/>
</p:tagLst>
</file>

<file path=ppt/tags/tag161.xml><?xml version="1.0" encoding="utf-8"?>
<p:tagLst xmlns:a="http://schemas.openxmlformats.org/drawingml/2006/main" xmlns:r="http://schemas.openxmlformats.org/officeDocument/2006/relationships" xmlns:p="http://schemas.openxmlformats.org/presentationml/2006/main">
  <p:tag name="ANGLE" val="4"/>
</p:tagLst>
</file>

<file path=ppt/tags/tag162.xml><?xml version="1.0" encoding="utf-8"?>
<p:tagLst xmlns:a="http://schemas.openxmlformats.org/drawingml/2006/main" xmlns:r="http://schemas.openxmlformats.org/officeDocument/2006/relationships" xmlns:p="http://schemas.openxmlformats.org/presentationml/2006/main">
  <p:tag name="ANGLE" val="4"/>
</p:tagLst>
</file>

<file path=ppt/tags/tag163.xml><?xml version="1.0" encoding="utf-8"?>
<p:tagLst xmlns:a="http://schemas.openxmlformats.org/drawingml/2006/main" xmlns:r="http://schemas.openxmlformats.org/officeDocument/2006/relationships" xmlns:p="http://schemas.openxmlformats.org/presentationml/2006/main">
  <p:tag name="ANGLE" val="3"/>
</p:tagLst>
</file>

<file path=ppt/tags/tag164.xml><?xml version="1.0" encoding="utf-8"?>
<p:tagLst xmlns:a="http://schemas.openxmlformats.org/drawingml/2006/main" xmlns:r="http://schemas.openxmlformats.org/officeDocument/2006/relationships" xmlns:p="http://schemas.openxmlformats.org/presentationml/2006/main">
  <p:tag name="ANGLE" val="3"/>
</p:tagLst>
</file>

<file path=ppt/tags/tag165.xml><?xml version="1.0" encoding="utf-8"?>
<p:tagLst xmlns:a="http://schemas.openxmlformats.org/drawingml/2006/main" xmlns:r="http://schemas.openxmlformats.org/officeDocument/2006/relationships" xmlns:p="http://schemas.openxmlformats.org/presentationml/2006/main">
  <p:tag name="ANGLE" val="2"/>
</p:tagLst>
</file>

<file path=ppt/tags/tag166.xml><?xml version="1.0" encoding="utf-8"?>
<p:tagLst xmlns:a="http://schemas.openxmlformats.org/drawingml/2006/main" xmlns:r="http://schemas.openxmlformats.org/officeDocument/2006/relationships" xmlns:p="http://schemas.openxmlformats.org/presentationml/2006/main">
  <p:tag name="ANGLE" val="2"/>
</p:tagLst>
</file>

<file path=ppt/tags/tag167.xml><?xml version="1.0" encoding="utf-8"?>
<p:tagLst xmlns:a="http://schemas.openxmlformats.org/drawingml/2006/main" xmlns:r="http://schemas.openxmlformats.org/officeDocument/2006/relationships" xmlns:p="http://schemas.openxmlformats.org/presentationml/2006/main">
  <p:tag name="ANGLE" val="1"/>
</p:tagLst>
</file>

<file path=ppt/tags/tag168.xml><?xml version="1.0" encoding="utf-8"?>
<p:tagLst xmlns:a="http://schemas.openxmlformats.org/drawingml/2006/main" xmlns:r="http://schemas.openxmlformats.org/officeDocument/2006/relationships" xmlns:p="http://schemas.openxmlformats.org/presentationml/2006/main">
  <p:tag name="ANGLE" val="1"/>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2.xml><?xml version="1.0" encoding="utf-8"?>
<p:tagLst xmlns:a="http://schemas.openxmlformats.org/drawingml/2006/main" xmlns:r="http://schemas.openxmlformats.org/officeDocument/2006/relationships" xmlns:p="http://schemas.openxmlformats.org/presentationml/2006/main">
  <p:tag name="SHAPENAME" val="Subtitle"/>
</p:tagLst>
</file>

<file path=ppt/tags/tag173.xml><?xml version="1.0" encoding="utf-8"?>
<p:tagLst xmlns:a="http://schemas.openxmlformats.org/drawingml/2006/main" xmlns:r="http://schemas.openxmlformats.org/officeDocument/2006/relationships" xmlns:p="http://schemas.openxmlformats.org/presentationml/2006/main">
  <p:tag name="SHAPENAME" val="Titl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SHAPENAME" val="5. Source"/>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6.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xml><?xml version="1.0" encoding="utf-8"?>
<p:tagLst xmlns:a="http://schemas.openxmlformats.org/drawingml/2006/main" xmlns:r="http://schemas.openxmlformats.org/officeDocument/2006/relationships" xmlns:p="http://schemas.openxmlformats.org/presentationml/2006/main">
  <p:tag name="SHAPENAME" val="5. Source"/>
</p:tagLst>
</file>

<file path=ppt/tags/tag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5. Sourc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0.xml><?xml version="1.0" encoding="utf-8"?>
<p:tagLst xmlns:a="http://schemas.openxmlformats.org/drawingml/2006/main" xmlns:r="http://schemas.openxmlformats.org/officeDocument/2006/relationships" xmlns:p="http://schemas.openxmlformats.org/presentationml/2006/main">
  <p:tag name="MTTABLE" val="HTitleDiv"/>
  <p:tag name="MTNUMBER" val="0.071192534673583"/>
</p:tagLst>
</file>

<file path=ppt/tags/tag261.xml><?xml version="1.0" encoding="utf-8"?>
<p:tagLst xmlns:a="http://schemas.openxmlformats.org/drawingml/2006/main" xmlns:r="http://schemas.openxmlformats.org/officeDocument/2006/relationships" xmlns:p="http://schemas.openxmlformats.org/presentationml/2006/main">
  <p:tag name="MTTABLE" val="Cell"/>
  <p:tag name="MTNUMBER" val="0.071192534673583"/>
  <p:tag name="LEFT" val="341.6667"/>
  <p:tag name="WIDTH" val="276.6667"/>
  <p:tag name="HEIGHT" val="19.38748"/>
  <p:tag name="TOP" val="110"/>
</p:tagLst>
</file>

<file path=ppt/tags/tag262.xml><?xml version="1.0" encoding="utf-8"?>
<p:tagLst xmlns:a="http://schemas.openxmlformats.org/drawingml/2006/main" xmlns:r="http://schemas.openxmlformats.org/officeDocument/2006/relationships" xmlns:p="http://schemas.openxmlformats.org/presentationml/2006/main">
  <p:tag name="MTTABLE" val="Cell"/>
  <p:tag name="MTNUMBER" val="0.071192534673583"/>
  <p:tag name="LEFT" val="341.6667"/>
  <p:tag name="WIDTH" val="276.6667"/>
  <p:tag name="HEIGHT" val="19.38748"/>
  <p:tag name="TOP" val="110"/>
</p:tagLst>
</file>

<file path=ppt/tags/tag263.xml><?xml version="1.0" encoding="utf-8"?>
<p:tagLst xmlns:a="http://schemas.openxmlformats.org/drawingml/2006/main" xmlns:r="http://schemas.openxmlformats.org/officeDocument/2006/relationships" xmlns:p="http://schemas.openxmlformats.org/presentationml/2006/main">
  <p:tag name="MTTABLE" val="Cell"/>
  <p:tag name="MTNUMBER" val="0.071192534673583"/>
  <p:tag name="LEFT" val="341.6667"/>
  <p:tag name="WIDTH" val="276.6667"/>
  <p:tag name="TOP" val="309.3875"/>
  <p:tag name="HEIGHT" val="-0.8812491"/>
</p:tagLst>
</file>

<file path=ppt/tags/tag264.xml><?xml version="1.0" encoding="utf-8"?>
<p:tagLst xmlns:a="http://schemas.openxmlformats.org/drawingml/2006/main" xmlns:r="http://schemas.openxmlformats.org/officeDocument/2006/relationships" xmlns:p="http://schemas.openxmlformats.org/presentationml/2006/main">
  <p:tag name="MTTABLE" val="VDiv"/>
  <p:tag name="MTNUMBER" val="0.071192534673583"/>
</p:tagLst>
</file>

<file path=ppt/tags/tag265.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66.xml><?xml version="1.0" encoding="utf-8"?>
<p:tagLst xmlns:a="http://schemas.openxmlformats.org/drawingml/2006/main" xmlns:r="http://schemas.openxmlformats.org/officeDocument/2006/relationships" xmlns:p="http://schemas.openxmlformats.org/presentationml/2006/main">
  <p:tag name="MTTABLE" val="Cell"/>
  <p:tag name="MTNUMBER" val="0.071192534673583"/>
  <p:tag name="LEFT" val="341.6667"/>
  <p:tag name="WIDTH" val="276.6667"/>
  <p:tag name="TOP" val="309.3875"/>
  <p:tag name="HEIGHT" val="-0.8812491"/>
</p:tagLst>
</file>

<file path=ppt/tags/tag267.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1.xml><?xml version="1.0" encoding="utf-8"?>
<p:tagLst xmlns:a="http://schemas.openxmlformats.org/drawingml/2006/main" xmlns:r="http://schemas.openxmlformats.org/officeDocument/2006/relationships" xmlns:p="http://schemas.openxmlformats.org/presentationml/2006/main">
  <p:tag name="SHAPENAME" val="Titl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3.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86.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9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91.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4.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5.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6.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7.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0.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01.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02.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03.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04.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NAME" val="ACET"/>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ANGLE" val="5"/>
</p:tagLst>
</file>

<file path=ppt/tags/tag39.xml><?xml version="1.0" encoding="utf-8"?>
<p:tagLst xmlns:a="http://schemas.openxmlformats.org/drawingml/2006/main" xmlns:r="http://schemas.openxmlformats.org/officeDocument/2006/relationships" xmlns:p="http://schemas.openxmlformats.org/presentationml/2006/main">
  <p:tag name="ANGLE" val="5"/>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40.xml><?xml version="1.0" encoding="utf-8"?>
<p:tagLst xmlns:a="http://schemas.openxmlformats.org/drawingml/2006/main" xmlns:r="http://schemas.openxmlformats.org/officeDocument/2006/relationships" xmlns:p="http://schemas.openxmlformats.org/presentationml/2006/main">
  <p:tag name="ANGLE" val="4"/>
</p:tagLst>
</file>

<file path=ppt/tags/tag41.xml><?xml version="1.0" encoding="utf-8"?>
<p:tagLst xmlns:a="http://schemas.openxmlformats.org/drawingml/2006/main" xmlns:r="http://schemas.openxmlformats.org/officeDocument/2006/relationships" xmlns:p="http://schemas.openxmlformats.org/presentationml/2006/main">
  <p:tag name="ANGLE" val="4"/>
</p:tagLst>
</file>

<file path=ppt/tags/tag42.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ANGLE" val="3"/>
</p:tagLst>
</file>

<file path=ppt/tags/tag44.xml><?xml version="1.0" encoding="utf-8"?>
<p:tagLst xmlns:a="http://schemas.openxmlformats.org/drawingml/2006/main" xmlns:r="http://schemas.openxmlformats.org/officeDocument/2006/relationships" xmlns:p="http://schemas.openxmlformats.org/presentationml/2006/main">
  <p:tag name="ANGLE" val="2"/>
</p:tagLst>
</file>

<file path=ppt/tags/tag45.xml><?xml version="1.0" encoding="utf-8"?>
<p:tagLst xmlns:a="http://schemas.openxmlformats.org/drawingml/2006/main" xmlns:r="http://schemas.openxmlformats.org/officeDocument/2006/relationships" xmlns:p="http://schemas.openxmlformats.org/presentationml/2006/main">
  <p:tag name="ANGLE" val="2"/>
</p:tagLst>
</file>

<file path=ppt/tags/tag46.xml><?xml version="1.0" encoding="utf-8"?>
<p:tagLst xmlns:a="http://schemas.openxmlformats.org/drawingml/2006/main" xmlns:r="http://schemas.openxmlformats.org/officeDocument/2006/relationships" xmlns:p="http://schemas.openxmlformats.org/presentationml/2006/main">
  <p:tag name="ANGLE" val="1"/>
</p:tagLst>
</file>

<file path=ppt/tags/tag47.xml><?xml version="1.0" encoding="utf-8"?>
<p:tagLst xmlns:a="http://schemas.openxmlformats.org/drawingml/2006/main" xmlns:r="http://schemas.openxmlformats.org/officeDocument/2006/relationships" xmlns:p="http://schemas.openxmlformats.org/presentationml/2006/main">
  <p:tag name="ANG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5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1.xml><?xml version="1.0" encoding="utf-8"?>
<p:tagLst xmlns:a="http://schemas.openxmlformats.org/drawingml/2006/main" xmlns:r="http://schemas.openxmlformats.org/officeDocument/2006/relationships" xmlns:p="http://schemas.openxmlformats.org/presentationml/2006/main">
  <p:tag name="SHAPENAME" val="Subtitle"/>
</p:tagLst>
</file>

<file path=ppt/tags/tag52.xml><?xml version="1.0" encoding="utf-8"?>
<p:tagLst xmlns:a="http://schemas.openxmlformats.org/drawingml/2006/main" xmlns:r="http://schemas.openxmlformats.org/officeDocument/2006/relationships" xmlns:p="http://schemas.openxmlformats.org/presentationml/2006/main">
  <p:tag name="SHAPENAME" val="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hite">
  <a:themeElements>
    <a:clrScheme name="Scheme1">
      <a:dk1>
        <a:srgbClr val="000000"/>
      </a:dk1>
      <a:lt1>
        <a:srgbClr val="FFFFFF"/>
      </a:lt1>
      <a:dk2>
        <a:srgbClr val="FFFFFF"/>
      </a:dk2>
      <a:lt2>
        <a:srgbClr val="FFFFFF"/>
      </a:lt2>
      <a:accent1>
        <a:srgbClr val="002060"/>
      </a:accent1>
      <a:accent2>
        <a:srgbClr val="31859C"/>
      </a:accent2>
      <a:accent3>
        <a:srgbClr val="29BA74"/>
      </a:accent3>
      <a:accent4>
        <a:srgbClr val="93CCDD"/>
      </a:accent4>
      <a:accent5>
        <a:srgbClr val="414145"/>
      </a:accent5>
      <a:accent6>
        <a:srgbClr val="30C1D7"/>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2060"/>
        </a:accent1>
        <a:accent2>
          <a:srgbClr val="31859C"/>
        </a:accent2>
        <a:accent3>
          <a:srgbClr val="29BA74"/>
        </a:accent3>
        <a:accent4>
          <a:srgbClr val="93CCDD"/>
        </a:accent4>
        <a:accent5>
          <a:srgbClr val="414145"/>
        </a:accent5>
        <a:accent6>
          <a:srgbClr val="30C1D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E3558"/>
    </a:custClr>
    <a:custClr name="Custom Color7">
      <a:srgbClr val="670F31"/>
    </a:custClr>
    <a:custClr name="Custom Color8">
      <a:srgbClr val="E71C57"/>
    </a:custClr>
  </a:custClrLst>
  <a:extLst>
    <a:ext uri="{05A4C25C-085E-4340-85A3-A5531E510DB2}">
      <thm15:themeFamily xmlns:thm15="http://schemas.microsoft.com/office/thememl/2012/main" name="GV0436_OFF.potx" id="{D8D137ED-94D6-4674-906D-CBDC57C98381}" vid="{8A07C103-092E-423F-8DE7-DDC34C6E6CA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eme1">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CFF66"/>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104306" tIns="52153" rIns="104306" bIns="52153" numCol="1" anchor="t" anchorCtr="0" compatLnSpc="1">
        <a:prstTxWarp prst="textNoShape">
          <a:avLst/>
        </a:prstTxWarp>
        <a:spAutoFit/>
      </a:bodyPr>
      <a:lstStyle>
        <a:defPPr marL="0" marR="0" indent="0" algn="ctr" defTabSz="1042988" rtl="0" eaLnBrk="1" fontAlgn="base" latinLnBrk="0" hangingPunct="1">
          <a:lnSpc>
            <a:spcPct val="100000"/>
          </a:lnSpc>
          <a:spcBef>
            <a:spcPct val="50000"/>
          </a:spcBef>
          <a:spcAft>
            <a:spcPct val="0"/>
          </a:spcAft>
          <a:buClrTx/>
          <a:buSzTx/>
          <a:buFontTx/>
          <a:buNone/>
          <a:tabLst/>
          <a:defRPr kumimoji="0" lang="en-US" sz="2700" b="0" i="0" u="none" strike="noStrike" cap="none" normalizeH="0" baseline="0" smtClean="0">
            <a:ln>
              <a:noFill/>
            </a:ln>
            <a:solidFill>
              <a:schemeClr val="tx1"/>
            </a:solidFill>
            <a:effectLst/>
            <a:latin typeface="Times New Roman" pitchFamily="18" charset="0"/>
            <a:cs typeface="Arial" charset="0"/>
          </a:defRPr>
        </a:defPPr>
      </a:lstStyle>
    </a:spDef>
    <a:lnDef>
      <a:spPr bwMode="auto">
        <a:xfrm>
          <a:off x="0" y="0"/>
          <a:ext cx="1" cy="1"/>
        </a:xfrm>
        <a:custGeom>
          <a:avLst/>
          <a:gdLst/>
          <a:ahLst/>
          <a:cxnLst/>
          <a:rect l="0" t="0" r="0" b="0"/>
          <a:pathLst/>
        </a:custGeom>
        <a:solidFill>
          <a:srgbClr val="CCFF66"/>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104306" tIns="52153" rIns="104306" bIns="52153" numCol="1" anchor="t" anchorCtr="0" compatLnSpc="1">
        <a:prstTxWarp prst="textNoShape">
          <a:avLst/>
        </a:prstTxWarp>
        <a:spAutoFit/>
      </a:bodyPr>
      <a:lstStyle>
        <a:defPPr marL="0" marR="0" indent="0" algn="ctr" defTabSz="1042988" rtl="0" eaLnBrk="1" fontAlgn="base" latinLnBrk="0" hangingPunct="1">
          <a:lnSpc>
            <a:spcPct val="100000"/>
          </a:lnSpc>
          <a:spcBef>
            <a:spcPct val="50000"/>
          </a:spcBef>
          <a:spcAft>
            <a:spcPct val="0"/>
          </a:spcAft>
          <a:buClrTx/>
          <a:buSzTx/>
          <a:buFontTx/>
          <a:buNone/>
          <a:tabLst/>
          <a:defRPr kumimoji="0" lang="en-US" sz="2700" b="0" i="0" u="none" strike="noStrike" cap="none" normalizeH="0" baseline="0" smtClean="0">
            <a:ln>
              <a:noFill/>
            </a:ln>
            <a:solidFill>
              <a:schemeClr val="tx1"/>
            </a:solidFill>
            <a:effectLst/>
            <a:latin typeface="Times New Roman" pitchFamily="18"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0D5A8DDA-178A-4EBE-B62D-60E04A739EA6}" vid="{E5259AD7-F158-4DF3-BC8C-1D9F072DEBAF}"/>
    </a:ext>
  </a:extLst>
</a:theme>
</file>

<file path=ppt/theme/theme6.xml><?xml version="1.0" encoding="utf-8"?>
<a:theme xmlns:a="http://schemas.openxmlformats.org/drawingml/2006/main" name="5_Office Theme">
  <a:themeElements>
    <a:clrScheme name="Custom 15">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7F7F7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wrap="square" numCol="2">
        <a:spAutoFit/>
      </a:bodyPr>
      <a:lstStyle>
        <a:defPPr marL="0" algn="l">
          <a:spcBef>
            <a:spcPts val="0"/>
          </a:spcBef>
          <a:spcAft>
            <a:spcPts val="1200"/>
          </a:spcAft>
          <a:defRPr sz="2400" b="1" dirty="0" smtClean="0">
            <a:solidFill>
              <a:schemeClr val="tx1">
                <a:lumMod val="65000"/>
                <a:lumOff val="35000"/>
              </a:schemeClr>
            </a:solidFill>
            <a:latin typeface="Segoe Condensed" panose="020B0606040200020203" pitchFamily="34" charset="0"/>
          </a:defRPr>
        </a:defPPr>
      </a:lstStyle>
    </a:spDef>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White">
  <a:themeElements>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BDF53"/>
    </a:custClr>
    <a:custClr name="Custom Color7">
      <a:srgbClr val="20313B"/>
    </a:custClr>
  </a:custClrLst>
  <a:extLst>
    <a:ext uri="{05A4C25C-085E-4340-85A3-A5531E510DB2}">
      <thm15:themeFamily xmlns:thm15="http://schemas.microsoft.com/office/thememl/2012/main" name="WHO Template" id="{CFABA306-933C-4E6F-8C88-FCB9328AE916}" vid="{13A16DDB-7135-4C00-9DA2-3F271ABB4368}"/>
    </a:ext>
  </a:extLst>
</a:theme>
</file>

<file path=ppt/theme/themeOverride1.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BBB8FE9DFA9147A1088D072D403381" ma:contentTypeVersion="16" ma:contentTypeDescription="Create a new document." ma:contentTypeScope="" ma:versionID="d278385f9559ba87a1e26e9e3987c041">
  <xsd:schema xmlns:xsd="http://www.w3.org/2001/XMLSchema" xmlns:xs="http://www.w3.org/2001/XMLSchema" xmlns:p="http://schemas.microsoft.com/office/2006/metadata/properties" xmlns:ns2="327581f0-1550-4a13-a957-24a965aff0bc" xmlns:ns3="0aa5b13f-8332-4ce8-81c0-ace68ee4aa2b" targetNamespace="http://schemas.microsoft.com/office/2006/metadata/properties" ma:root="true" ma:fieldsID="7c7943da8e303c0136b3ceed87aacd14" ns2:_="" ns3:_="">
    <xsd:import namespace="327581f0-1550-4a13-a957-24a965aff0bc"/>
    <xsd:import namespace="0aa5b13f-8332-4ce8-81c0-ace68ee4aa2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LengthInSeconds" minOccurs="0"/>
                <xsd:element ref="ns2:MediaServiceDateTaken"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7581f0-1550-4a13-a957-24a965aff0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aa5b13f-8332-4ce8-81c0-ace68ee4aa2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f558785-c2be-47eb-9f5b-6ecb4f701152}" ma:internalName="TaxCatchAll" ma:showField="CatchAllData" ma:web="0aa5b13f-8332-4ce8-81c0-ace68ee4aa2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aa5b13f-8332-4ce8-81c0-ace68ee4aa2b" xsi:nil="true"/>
    <lcf76f155ced4ddcb4097134ff3c332f xmlns="327581f0-1550-4a13-a957-24a965aff0b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A9F18F-2AD8-4150-BAA2-125456AEA608}">
  <ds:schemaRefs>
    <ds:schemaRef ds:uri="0aa5b13f-8332-4ce8-81c0-ace68ee4aa2b"/>
    <ds:schemaRef ds:uri="327581f0-1550-4a13-a957-24a965aff0b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6C49C78-CB46-4C03-A214-33FA0BA1A5B2}">
  <ds:schemaRefs>
    <ds:schemaRef ds:uri="0aa5b13f-8332-4ce8-81c0-ace68ee4aa2b"/>
    <ds:schemaRef ds:uri="327581f0-1550-4a13-a957-24a965aff0b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D722B03-5C63-44B7-ABA7-17B939A7B3F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92</TotalTime>
  <Words>4822</Words>
  <Application>Microsoft Office PowerPoint</Application>
  <PresentationFormat>Широкоэкранный</PresentationFormat>
  <Paragraphs>588</Paragraphs>
  <Slides>26</Slides>
  <Notes>21</Notes>
  <HiddenSlides>0</HiddenSlides>
  <MMClips>0</MMClips>
  <ScaleCrop>false</ScaleCrop>
  <HeadingPairs>
    <vt:vector size="8" baseType="variant">
      <vt:variant>
        <vt:lpstr>Использованные шрифты</vt:lpstr>
      </vt:variant>
      <vt:variant>
        <vt:i4>20</vt:i4>
      </vt:variant>
      <vt:variant>
        <vt:lpstr>Тема</vt:lpstr>
      </vt:variant>
      <vt:variant>
        <vt:i4>10</vt:i4>
      </vt:variant>
      <vt:variant>
        <vt:lpstr>Внедренные серверы OLE</vt:lpstr>
      </vt:variant>
      <vt:variant>
        <vt:i4>1</vt:i4>
      </vt:variant>
      <vt:variant>
        <vt:lpstr>Заголовки слайдов</vt:lpstr>
      </vt:variant>
      <vt:variant>
        <vt:i4>26</vt:i4>
      </vt:variant>
    </vt:vector>
  </HeadingPairs>
  <TitlesOfParts>
    <vt:vector size="57" baseType="lpstr">
      <vt:lpstr>Abadi</vt:lpstr>
      <vt:lpstr>Times New Roman</vt:lpstr>
      <vt:lpstr>Helvetica</vt:lpstr>
      <vt:lpstr>Calibri Light</vt:lpstr>
      <vt:lpstr>Segoe Condensed</vt:lpstr>
      <vt:lpstr>ProximaNova-Semibold</vt:lpstr>
      <vt:lpstr>Arial Nova</vt:lpstr>
      <vt:lpstr>Segoe UI</vt:lpstr>
      <vt:lpstr>Trebuchet MS</vt:lpstr>
      <vt:lpstr>Calibri</vt:lpstr>
      <vt:lpstr>Ebrima</vt:lpstr>
      <vt:lpstr>Georgia</vt:lpstr>
      <vt:lpstr>Corbel</vt:lpstr>
      <vt:lpstr>Leelawadee</vt:lpstr>
      <vt:lpstr>Arial</vt:lpstr>
      <vt:lpstr>Roboto</vt:lpstr>
      <vt:lpstr>Wingdings</vt:lpstr>
      <vt:lpstr>Arial Narrow</vt:lpstr>
      <vt:lpstr>Open Sans</vt:lpstr>
      <vt:lpstr>ProximaNova-Regular</vt:lpstr>
      <vt:lpstr>Office Theme</vt:lpstr>
      <vt:lpstr>2_Office Theme</vt:lpstr>
      <vt:lpstr>3_Office Theme</vt:lpstr>
      <vt:lpstr>4_Office Theme</vt:lpstr>
      <vt:lpstr>Theme1</vt:lpstr>
      <vt:lpstr>5_Office Theme</vt:lpstr>
      <vt:lpstr>1_Office Theme</vt:lpstr>
      <vt:lpstr>6_Office Theme</vt:lpstr>
      <vt:lpstr>1_White</vt:lpstr>
      <vt:lpstr>White</vt:lpstr>
      <vt:lpstr>think-cell Slide</vt:lpstr>
      <vt:lpstr>Национальный план действий по охране здоровья: где мы сейчас и куда мы идем?</vt:lpstr>
      <vt:lpstr>Система мониторинга и оценки ММСП (MEF)</vt:lpstr>
      <vt:lpstr>Инструмент ежегодной отчетности государства-участника по самооценке (SPAR)</vt:lpstr>
      <vt:lpstr>Обзор SPAR ВОЗ по Европейскому региону 2021 </vt:lpstr>
      <vt:lpstr>Совместная внешняя оценка (СВО)</vt:lpstr>
      <vt:lpstr>Совместная внешняя оценка, 3-е издание (19 технических областей,  56 показателей)</vt:lpstr>
      <vt:lpstr>Совместные внешние оценки в Европейском регионе ВОЗ</vt:lpstr>
      <vt:lpstr>Национальный план действий по охране здоровья (NAPHS)</vt:lpstr>
      <vt:lpstr>Стратегия ВОЗ NAPHS на 2022–2026 гг.</vt:lpstr>
      <vt:lpstr>5-летний NAPHS и План приоритетных действий на 12-24 месяца</vt:lpstr>
      <vt:lpstr>5-летний NAPHS и План приоритетных действий на 12-24 месяца</vt:lpstr>
      <vt:lpstr>Связь STAR (Стратегический инструмент оценки рисков) с существующими механизмами планирования</vt:lpstr>
      <vt:lpstr>Презентация PowerPoint</vt:lpstr>
      <vt:lpstr>Обновление статуса NAPHS в Европейском регионе </vt:lpstr>
      <vt:lpstr>Отзывы по NAPHS от государств-членов Европейского региона</vt:lpstr>
      <vt:lpstr>Презентация PowerPoint</vt:lpstr>
      <vt:lpstr>Укрепление Глобальной архитектуры готовности к чрезвычайным ситуациям в области здравоохранения и реагирования на них (HEPR)</vt:lpstr>
      <vt:lpstr>Презентация PowerPoint</vt:lpstr>
      <vt:lpstr>Тщательный анализ: готовность к чрезвычайным ситуациям в области здравоохранения, реагирование и устойчивость требуют межотраслевой координации….</vt:lpstr>
      <vt:lpstr>Готовность и реагирование на чрезвычайные ситуации в области здравоохранения основаны на подходе первичной медико-санитарной помощи …</vt:lpstr>
      <vt:lpstr>Чрезвычайные ситуации в области здравоохранения начинаются и заканчиваются в сообществах …</vt:lpstr>
      <vt:lpstr>В официальном документе генерального директора представлены решения по укреплению глобальной архитектуры HEPR</vt:lpstr>
      <vt:lpstr>Тщательный анализ: взаимосвязанные основные возможности и решения для систем HEPR</vt:lpstr>
      <vt:lpstr>Системы должны быть взаимосвязаны горизонтально и вертикально…</vt:lpstr>
      <vt:lpstr>Комплексная система, реализованная через центры инклюзивного партнерства для коллаборации и совместного созидания</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len Anoushian</dc:creator>
  <cp:lastModifiedBy>Janna Ustemirova</cp:lastModifiedBy>
  <cp:revision>23</cp:revision>
  <dcterms:created xsi:type="dcterms:W3CDTF">2022-01-05T17:32:59Z</dcterms:created>
  <dcterms:modified xsi:type="dcterms:W3CDTF">2022-11-28T05:5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BBB8FE9DFA9147A1088D072D403381</vt:lpwstr>
  </property>
  <property fmtid="{D5CDD505-2E9C-101B-9397-08002B2CF9AE}" pid="3" name="MediaServiceImageTags">
    <vt:lpwstr/>
  </property>
</Properties>
</file>